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6.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7.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8.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ink/ink1.xml" ContentType="application/inkml+xml"/>
  <Override PartName="/ppt/ink/ink2.xml" ContentType="application/inkml+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3" r:id="rId5"/>
    <p:sldMasterId id="2147483674" r:id="rId6"/>
    <p:sldMasterId id="2147483761" r:id="rId7"/>
    <p:sldMasterId id="2147483831" r:id="rId8"/>
    <p:sldMasterId id="2147483847" r:id="rId9"/>
    <p:sldMasterId id="2147483886" r:id="rId10"/>
    <p:sldMasterId id="2147483926" r:id="rId11"/>
    <p:sldMasterId id="2147483936" r:id="rId12"/>
  </p:sldMasterIdLst>
  <p:notesMasterIdLst>
    <p:notesMasterId r:id="rId63"/>
  </p:notesMasterIdLst>
  <p:handoutMasterIdLst>
    <p:handoutMasterId r:id="rId64"/>
  </p:handoutMasterIdLst>
  <p:sldIdLst>
    <p:sldId id="463" r:id="rId13"/>
    <p:sldId id="2076136882" r:id="rId14"/>
    <p:sldId id="8387" r:id="rId15"/>
    <p:sldId id="8351" r:id="rId16"/>
    <p:sldId id="11045" r:id="rId17"/>
    <p:sldId id="11047" r:id="rId18"/>
    <p:sldId id="2076136874" r:id="rId19"/>
    <p:sldId id="2076136876" r:id="rId20"/>
    <p:sldId id="2076136881" r:id="rId21"/>
    <p:sldId id="9938" r:id="rId22"/>
    <p:sldId id="4354" r:id="rId23"/>
    <p:sldId id="495" r:id="rId24"/>
    <p:sldId id="1963" r:id="rId25"/>
    <p:sldId id="8377" r:id="rId26"/>
    <p:sldId id="2076136875" r:id="rId27"/>
    <p:sldId id="1856" r:id="rId28"/>
    <p:sldId id="1971" r:id="rId29"/>
    <p:sldId id="2076136320" r:id="rId30"/>
    <p:sldId id="2076136880" r:id="rId31"/>
    <p:sldId id="2076136877" r:id="rId32"/>
    <p:sldId id="4612" r:id="rId33"/>
    <p:sldId id="2076137218" r:id="rId34"/>
    <p:sldId id="1287" r:id="rId35"/>
    <p:sldId id="4632" r:id="rId36"/>
    <p:sldId id="4631" r:id="rId37"/>
    <p:sldId id="4634" r:id="rId38"/>
    <p:sldId id="2076136277" r:id="rId39"/>
    <p:sldId id="2076136878" r:id="rId40"/>
    <p:sldId id="2076136324" r:id="rId41"/>
    <p:sldId id="297" r:id="rId42"/>
    <p:sldId id="375" r:id="rId43"/>
    <p:sldId id="2076137213" r:id="rId44"/>
    <p:sldId id="2076136354" r:id="rId45"/>
    <p:sldId id="2076137215" r:id="rId46"/>
    <p:sldId id="2076137216" r:id="rId47"/>
    <p:sldId id="2076137217" r:id="rId48"/>
    <p:sldId id="2076136870" r:id="rId49"/>
    <p:sldId id="2076136879" r:id="rId50"/>
    <p:sldId id="10035" r:id="rId51"/>
    <p:sldId id="2005" r:id="rId52"/>
    <p:sldId id="2076137212" r:id="rId53"/>
    <p:sldId id="2076136883" r:id="rId54"/>
    <p:sldId id="2388" r:id="rId55"/>
    <p:sldId id="2076136873" r:id="rId56"/>
    <p:sldId id="2309" r:id="rId57"/>
    <p:sldId id="2076137169" r:id="rId58"/>
    <p:sldId id="10033" r:id="rId59"/>
    <p:sldId id="330" r:id="rId60"/>
    <p:sldId id="2076137190" r:id="rId61"/>
    <p:sldId id="558" r:id="rId62"/>
  </p:sldIdLst>
  <p:sldSz cx="9144000" cy="5143500" type="screen16x9"/>
  <p:notesSz cx="7315200" cy="9601200"/>
  <p:defaultTextStyle>
    <a:defPPr>
      <a:defRPr lang="en-US"/>
    </a:defPPr>
    <a:lvl1pPr algn="l" rtl="0" eaLnBrk="0" fontAlgn="base" hangingPunct="0">
      <a:spcBef>
        <a:spcPct val="0"/>
      </a:spcBef>
      <a:spcAft>
        <a:spcPct val="0"/>
      </a:spcAft>
      <a:defRPr kern="1200">
        <a:solidFill>
          <a:schemeClr val="tx1"/>
        </a:solidFill>
        <a:latin typeface="Arial" pitchFamily="34" charset="0"/>
        <a:ea typeface="+mn-ea"/>
        <a:cs typeface="+mn-cs"/>
      </a:defRPr>
    </a:lvl1pPr>
    <a:lvl2pPr marL="457200" algn="l" rtl="0" eaLnBrk="0" fontAlgn="base" hangingPunct="0">
      <a:spcBef>
        <a:spcPct val="0"/>
      </a:spcBef>
      <a:spcAft>
        <a:spcPct val="0"/>
      </a:spcAft>
      <a:defRPr kern="1200">
        <a:solidFill>
          <a:schemeClr val="tx1"/>
        </a:solidFill>
        <a:latin typeface="Arial" pitchFamily="34" charset="0"/>
        <a:ea typeface="+mn-ea"/>
        <a:cs typeface="+mn-cs"/>
      </a:defRPr>
    </a:lvl2pPr>
    <a:lvl3pPr marL="914400" algn="l" rtl="0" eaLnBrk="0" fontAlgn="base" hangingPunct="0">
      <a:spcBef>
        <a:spcPct val="0"/>
      </a:spcBef>
      <a:spcAft>
        <a:spcPct val="0"/>
      </a:spcAft>
      <a:defRPr kern="1200">
        <a:solidFill>
          <a:schemeClr val="tx1"/>
        </a:solidFill>
        <a:latin typeface="Arial"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521415D9-36F7-43E2-AB2F-B90AF26B5E84}">
      <p14:sectionLst xmlns:p14="http://schemas.microsoft.com/office/powerpoint/2010/main">
        <p14:section name="Default Section" id="{7FF1CEDE-8733-465F-987F-CD4C7D145846}">
          <p14:sldIdLst>
            <p14:sldId id="463"/>
            <p14:sldId id="2076136882"/>
            <p14:sldId id="8387"/>
            <p14:sldId id="8351"/>
            <p14:sldId id="11045"/>
            <p14:sldId id="11047"/>
            <p14:sldId id="2076136874"/>
            <p14:sldId id="2076136876"/>
            <p14:sldId id="2076136881"/>
            <p14:sldId id="9938"/>
            <p14:sldId id="4354"/>
            <p14:sldId id="495"/>
            <p14:sldId id="1963"/>
            <p14:sldId id="8377"/>
            <p14:sldId id="2076136875"/>
            <p14:sldId id="1856"/>
            <p14:sldId id="1971"/>
            <p14:sldId id="2076136320"/>
            <p14:sldId id="2076136880"/>
            <p14:sldId id="2076136877"/>
            <p14:sldId id="4612"/>
            <p14:sldId id="2076137218"/>
            <p14:sldId id="1287"/>
            <p14:sldId id="4632"/>
            <p14:sldId id="4631"/>
            <p14:sldId id="4634"/>
            <p14:sldId id="2076136277"/>
            <p14:sldId id="2076136878"/>
            <p14:sldId id="2076136324"/>
            <p14:sldId id="297"/>
            <p14:sldId id="375"/>
            <p14:sldId id="2076137213"/>
            <p14:sldId id="2076136354"/>
            <p14:sldId id="2076137215"/>
            <p14:sldId id="2076137216"/>
            <p14:sldId id="2076137217"/>
            <p14:sldId id="2076136870"/>
            <p14:sldId id="2076136879"/>
            <p14:sldId id="10035"/>
            <p14:sldId id="2005"/>
            <p14:sldId id="2076137212"/>
            <p14:sldId id="2076136883"/>
            <p14:sldId id="2388"/>
            <p14:sldId id="2076136873"/>
            <p14:sldId id="2309"/>
            <p14:sldId id="2076137169"/>
            <p14:sldId id="10033"/>
            <p14:sldId id="330"/>
            <p14:sldId id="2076137190"/>
            <p14:sldId id="558"/>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imberly" initials="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F32"/>
    <a:srgbClr val="418F89"/>
    <a:srgbClr val="133D80"/>
    <a:srgbClr val="882483"/>
    <a:srgbClr val="8935C8"/>
    <a:srgbClr val="22AFE7"/>
    <a:srgbClr val="005087"/>
    <a:srgbClr val="336699"/>
    <a:srgbClr val="FFFFCC"/>
    <a:srgbClr val="EF8B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79" autoAdjust="0"/>
    <p:restoredTop sz="86123" autoAdjust="0"/>
  </p:normalViewPr>
  <p:slideViewPr>
    <p:cSldViewPr>
      <p:cViewPr>
        <p:scale>
          <a:sx n="135" d="100"/>
          <a:sy n="135" d="100"/>
        </p:scale>
        <p:origin x="1016" y="280"/>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p:cViewPr>
        <p:scale>
          <a:sx n="100" d="100"/>
          <a:sy n="100" d="100"/>
        </p:scale>
        <p:origin x="-3408" y="-7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 y="9120190"/>
            <a:ext cx="7313613" cy="479425"/>
          </a:xfrm>
          <a:prstGeom prst="rect">
            <a:avLst/>
          </a:prstGeom>
        </p:spPr>
        <p:txBody>
          <a:bodyPr vert="horz" lIns="91417" tIns="45708" rIns="91417" bIns="45708" rtlCol="0" anchor="b"/>
          <a:lstStyle>
            <a:lvl1pPr algn="r">
              <a:defRPr sz="1200"/>
            </a:lvl1pPr>
          </a:lstStyle>
          <a:p>
            <a:pPr algn="ctr"/>
            <a:fld id="{F403B382-5E20-4D88-A964-1D6629C87BBB}" type="slidenum">
              <a:rPr lang="en-US" smtClean="0">
                <a:latin typeface="Calibri Light" pitchFamily="34" charset="0"/>
              </a:rPr>
              <a:pPr algn="ctr"/>
              <a:t>‹#›</a:t>
            </a:fld>
            <a:endParaRPr lang="en-US" dirty="0">
              <a:latin typeface="Calibri Light" pitchFamily="34" charset="0"/>
            </a:endParaRPr>
          </a:p>
        </p:txBody>
      </p:sp>
      <p:cxnSp>
        <p:nvCxnSpPr>
          <p:cNvPr id="8" name="Straight Connector 7"/>
          <p:cNvCxnSpPr/>
          <p:nvPr/>
        </p:nvCxnSpPr>
        <p:spPr>
          <a:xfrm>
            <a:off x="1" y="9134475"/>
            <a:ext cx="2971801" cy="0"/>
          </a:xfrm>
          <a:prstGeom prst="line">
            <a:avLst/>
          </a:prstGeom>
          <a:ln w="31750"/>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0" y="8915400"/>
            <a:ext cx="1219200" cy="516610"/>
          </a:xfrm>
          <a:prstGeom prst="rect">
            <a:avLst/>
          </a:prstGeom>
        </p:spPr>
      </p:pic>
      <p:cxnSp>
        <p:nvCxnSpPr>
          <p:cNvPr id="10" name="Straight Connector 9"/>
          <p:cNvCxnSpPr/>
          <p:nvPr/>
        </p:nvCxnSpPr>
        <p:spPr>
          <a:xfrm>
            <a:off x="4343401" y="9134475"/>
            <a:ext cx="2971801" cy="0"/>
          </a:xfrm>
          <a:prstGeom prst="line">
            <a:avLst/>
          </a:prstGeom>
          <a:ln w="31750"/>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 name="Header Placeholder 1"/>
          <p:cNvSpPr>
            <a:spLocks noGrp="1"/>
          </p:cNvSpPr>
          <p:nvPr>
            <p:ph type="hdr" sz="quarter"/>
          </p:nvPr>
        </p:nvSpPr>
        <p:spPr>
          <a:xfrm>
            <a:off x="2072482" y="152402"/>
            <a:ext cx="3170238" cy="479425"/>
          </a:xfrm>
          <a:prstGeom prst="rect">
            <a:avLst/>
          </a:prstGeom>
        </p:spPr>
        <p:txBody>
          <a:bodyPr vert="horz" lIns="91417" tIns="45708" rIns="91417" bIns="45708" rtlCol="0"/>
          <a:lstStyle>
            <a:lvl1pPr algn="l">
              <a:defRPr sz="1200"/>
            </a:lvl1pPr>
          </a:lstStyle>
          <a:p>
            <a:pPr algn="ctr"/>
            <a:endParaRPr lang="en-US" sz="1400" dirty="0">
              <a:latin typeface="Calibri Light" pitchFamily="34" charset="0"/>
            </a:endParaRPr>
          </a:p>
        </p:txBody>
      </p:sp>
    </p:spTree>
    <p:extLst>
      <p:ext uri="{BB962C8B-B14F-4D97-AF65-F5344CB8AC3E}">
        <p14:creationId xmlns:p14="http://schemas.microsoft.com/office/powerpoint/2010/main" val="49384192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3-13T23:01:10.326"/>
    </inkml:context>
    <inkml:brush xml:id="br0">
      <inkml:brushProperty name="width" value="0.05" units="cm"/>
      <inkml:brushProperty name="height" value="0.05" units="cm"/>
      <inkml:brushProperty name="color" value="#E8F90B"/>
      <inkml:brushProperty name="ignorePressure" value="1"/>
    </inkml:brush>
  </inkml:definitions>
  <inkml:trace contextRef="#ctx0" brushRef="#br0">0 1,'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9-03-13T23:01:14.458"/>
    </inkml:context>
    <inkml:brush xml:id="br0">
      <inkml:brushProperty name="width" value="0.05" units="cm"/>
      <inkml:brushProperty name="height" value="0.05" units="cm"/>
      <inkml:brushProperty name="color" value="#E8F90B"/>
      <inkml:brushProperty name="ignorePressure" value="1"/>
    </inkml:brush>
  </inkml:definitions>
  <inkml:trace contextRef="#ctx0" brushRef="#br0">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842" name="Rectangle 2"/>
          <p:cNvSpPr>
            <a:spLocks noGrp="1" noChangeArrowheads="1"/>
          </p:cNvSpPr>
          <p:nvPr>
            <p:ph type="hdr" sz="quarter"/>
          </p:nvPr>
        </p:nvSpPr>
        <p:spPr bwMode="auto">
          <a:xfrm>
            <a:off x="1" y="3"/>
            <a:ext cx="3170238" cy="479425"/>
          </a:xfrm>
          <a:prstGeom prst="rect">
            <a:avLst/>
          </a:prstGeom>
          <a:noFill/>
          <a:ln w="9525">
            <a:noFill/>
            <a:miter lim="800000"/>
            <a:headEnd/>
            <a:tailEnd/>
          </a:ln>
          <a:effectLst/>
        </p:spPr>
        <p:txBody>
          <a:bodyPr vert="horz" wrap="square" lIns="96636" tIns="48318" rIns="96636" bIns="48318" numCol="1" anchor="t" anchorCtr="0" compatLnSpc="1">
            <a:prstTxWarp prst="textNoShape">
              <a:avLst/>
            </a:prstTxWarp>
          </a:bodyPr>
          <a:lstStyle>
            <a:lvl1pPr defTabSz="966537" eaLnBrk="1" hangingPunct="1">
              <a:defRPr sz="1200">
                <a:latin typeface="Calibri Light" pitchFamily="34" charset="0"/>
              </a:defRPr>
            </a:lvl1pPr>
          </a:lstStyle>
          <a:p>
            <a:pPr>
              <a:defRPr/>
            </a:pPr>
            <a:endParaRPr lang="en-US" dirty="0"/>
          </a:p>
        </p:txBody>
      </p:sp>
      <p:sp>
        <p:nvSpPr>
          <p:cNvPr id="35843" name="Rectangle 3"/>
          <p:cNvSpPr>
            <a:spLocks noGrp="1" noChangeArrowheads="1"/>
          </p:cNvSpPr>
          <p:nvPr>
            <p:ph type="dt" idx="1"/>
          </p:nvPr>
        </p:nvSpPr>
        <p:spPr bwMode="auto">
          <a:xfrm>
            <a:off x="4143375" y="3"/>
            <a:ext cx="3170238" cy="479425"/>
          </a:xfrm>
          <a:prstGeom prst="rect">
            <a:avLst/>
          </a:prstGeom>
          <a:noFill/>
          <a:ln w="9525">
            <a:noFill/>
            <a:miter lim="800000"/>
            <a:headEnd/>
            <a:tailEnd/>
          </a:ln>
          <a:effectLst/>
        </p:spPr>
        <p:txBody>
          <a:bodyPr vert="horz" wrap="square" lIns="96636" tIns="48318" rIns="96636" bIns="48318" numCol="1" anchor="t" anchorCtr="0" compatLnSpc="1">
            <a:prstTxWarp prst="textNoShape">
              <a:avLst/>
            </a:prstTxWarp>
          </a:bodyPr>
          <a:lstStyle>
            <a:lvl1pPr algn="r" defTabSz="966537" eaLnBrk="1" hangingPunct="1">
              <a:defRPr sz="1200">
                <a:latin typeface="Calibri Light" pitchFamily="34" charset="0"/>
              </a:defRPr>
            </a:lvl1pPr>
          </a:lstStyle>
          <a:p>
            <a:pPr>
              <a:defRPr/>
            </a:pPr>
            <a:endParaRPr lang="en-US" dirty="0"/>
          </a:p>
        </p:txBody>
      </p:sp>
      <p:sp>
        <p:nvSpPr>
          <p:cNvPr id="34820" name="Rectangle 4"/>
          <p:cNvSpPr>
            <a:spLocks noGrp="1" noRot="1" noChangeAspect="1" noChangeArrowheads="1" noTextEdit="1"/>
          </p:cNvSpPr>
          <p:nvPr>
            <p:ph type="sldImg" idx="2"/>
          </p:nvPr>
        </p:nvSpPr>
        <p:spPr bwMode="auto">
          <a:xfrm>
            <a:off x="458788" y="720725"/>
            <a:ext cx="6397625" cy="3598863"/>
          </a:xfrm>
          <a:prstGeom prst="rect">
            <a:avLst/>
          </a:prstGeom>
          <a:noFill/>
          <a:ln w="9525">
            <a:solidFill>
              <a:srgbClr val="000000"/>
            </a:solidFill>
            <a:miter lim="800000"/>
            <a:headEnd/>
            <a:tailEnd/>
          </a:ln>
        </p:spPr>
      </p:sp>
      <p:sp>
        <p:nvSpPr>
          <p:cNvPr id="35845" name="Rectangle 5"/>
          <p:cNvSpPr>
            <a:spLocks noGrp="1" noChangeArrowheads="1"/>
          </p:cNvSpPr>
          <p:nvPr>
            <p:ph type="body" sz="quarter" idx="3"/>
          </p:nvPr>
        </p:nvSpPr>
        <p:spPr bwMode="auto">
          <a:xfrm>
            <a:off x="731840" y="4560890"/>
            <a:ext cx="5851525" cy="4319587"/>
          </a:xfrm>
          <a:prstGeom prst="rect">
            <a:avLst/>
          </a:prstGeom>
          <a:noFill/>
          <a:ln w="9525">
            <a:noFill/>
            <a:miter lim="800000"/>
            <a:headEnd/>
            <a:tailEnd/>
          </a:ln>
          <a:effectLst/>
        </p:spPr>
        <p:txBody>
          <a:bodyPr vert="horz" wrap="square" lIns="96636" tIns="48318" rIns="96636" bIns="48318"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5846" name="Rectangle 6"/>
          <p:cNvSpPr>
            <a:spLocks noGrp="1" noChangeArrowheads="1"/>
          </p:cNvSpPr>
          <p:nvPr>
            <p:ph type="ftr" sz="quarter" idx="4"/>
          </p:nvPr>
        </p:nvSpPr>
        <p:spPr bwMode="auto">
          <a:xfrm>
            <a:off x="1" y="9120190"/>
            <a:ext cx="3170238" cy="479425"/>
          </a:xfrm>
          <a:prstGeom prst="rect">
            <a:avLst/>
          </a:prstGeom>
          <a:noFill/>
          <a:ln w="9525">
            <a:noFill/>
            <a:miter lim="800000"/>
            <a:headEnd/>
            <a:tailEnd/>
          </a:ln>
          <a:effectLst/>
        </p:spPr>
        <p:txBody>
          <a:bodyPr vert="horz" wrap="square" lIns="96636" tIns="48318" rIns="96636" bIns="48318" numCol="1" anchor="b" anchorCtr="0" compatLnSpc="1">
            <a:prstTxWarp prst="textNoShape">
              <a:avLst/>
            </a:prstTxWarp>
          </a:bodyPr>
          <a:lstStyle>
            <a:lvl1pPr defTabSz="966537" eaLnBrk="1" hangingPunct="1">
              <a:defRPr sz="1200">
                <a:latin typeface="Calibri Light" pitchFamily="34" charset="0"/>
              </a:defRPr>
            </a:lvl1pPr>
          </a:lstStyle>
          <a:p>
            <a:pPr>
              <a:defRPr/>
            </a:pPr>
            <a:endParaRPr lang="en-US" dirty="0"/>
          </a:p>
        </p:txBody>
      </p:sp>
      <p:sp>
        <p:nvSpPr>
          <p:cNvPr id="35847" name="Rectangle 7"/>
          <p:cNvSpPr>
            <a:spLocks noGrp="1" noChangeArrowheads="1"/>
          </p:cNvSpPr>
          <p:nvPr>
            <p:ph type="sldNum" sz="quarter" idx="5"/>
          </p:nvPr>
        </p:nvSpPr>
        <p:spPr bwMode="auto">
          <a:xfrm>
            <a:off x="4143375" y="9120190"/>
            <a:ext cx="3170238" cy="479425"/>
          </a:xfrm>
          <a:prstGeom prst="rect">
            <a:avLst/>
          </a:prstGeom>
          <a:noFill/>
          <a:ln w="9525">
            <a:noFill/>
            <a:miter lim="800000"/>
            <a:headEnd/>
            <a:tailEnd/>
          </a:ln>
          <a:effectLst/>
        </p:spPr>
        <p:txBody>
          <a:bodyPr vert="horz" wrap="square" lIns="96636" tIns="48318" rIns="96636" bIns="48318" numCol="1" anchor="b" anchorCtr="0" compatLnSpc="1">
            <a:prstTxWarp prst="textNoShape">
              <a:avLst/>
            </a:prstTxWarp>
          </a:bodyPr>
          <a:lstStyle>
            <a:lvl1pPr algn="r" defTabSz="966537" eaLnBrk="1" hangingPunct="1">
              <a:defRPr sz="1200">
                <a:latin typeface="Calibri Light" pitchFamily="34" charset="0"/>
              </a:defRPr>
            </a:lvl1pPr>
          </a:lstStyle>
          <a:p>
            <a:pPr>
              <a:defRPr/>
            </a:pPr>
            <a:fld id="{47C584BF-6945-4E60-B2A7-1638FF8EA8EE}" type="slidenum">
              <a:rPr lang="en-US" smtClean="0"/>
              <a:pPr>
                <a:defRPr/>
              </a:pPr>
              <a:t>‹#›</a:t>
            </a:fld>
            <a:endParaRPr lang="en-US" dirty="0"/>
          </a:p>
        </p:txBody>
      </p:sp>
    </p:spTree>
    <p:extLst>
      <p:ext uri="{BB962C8B-B14F-4D97-AF65-F5344CB8AC3E}">
        <p14:creationId xmlns:p14="http://schemas.microsoft.com/office/powerpoint/2010/main" val="33460990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Calibri Light"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Calibri Light"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Calibri Light"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Calibri Light"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Calibri Light"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ocs.microsoft.com/en-us/azure/sentinel/connect-windows-security-event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cs.microsoft.com/en-us/azure/sentinel/connect-windows-security-event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zure.microsoft.com/services/security-center/"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ocs.microsoft.com/en-us/azure/storage/common/storage-auth-aad-rbac-portal" TargetMode="External"/><Relationship Id="rId2" Type="http://schemas.openxmlformats.org/officeDocument/2006/relationships/slide" Target="../slides/slide33.xml"/><Relationship Id="rId1" Type="http://schemas.openxmlformats.org/officeDocument/2006/relationships/notesMaster" Target="../notesMasters/notesMaster1.xml"/><Relationship Id="rId5" Type="http://schemas.openxmlformats.org/officeDocument/2006/relationships/hyperlink" Target="https://docs.microsoft.com/en-us/azure/storage/common/storage-auth-aad-rbac-powershell" TargetMode="External"/><Relationship Id="rId4" Type="http://schemas.openxmlformats.org/officeDocument/2006/relationships/hyperlink" Target="https://docs.microsoft.com/en-us/azure/storage/common/storage-auth-aad-rbac-cli"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r>
              <a:rPr lang="en-US" sz="1200" b="0" i="0" kern="1200" dirty="0">
                <a:solidFill>
                  <a:schemeClr val="tx1"/>
                </a:solidFill>
                <a:effectLst/>
                <a:latin typeface="Calibri Light" pitchFamily="34" charset="0"/>
                <a:ea typeface="+mn-ea"/>
                <a:cs typeface="+mn-cs"/>
              </a:rPr>
              <a:t>n this session, you will learn the many different ways Azure helps you to protect your deployments. Using a sample architecture you will learn how to use Azure’s tools and implement defense in depth. This implementation will include security features including Networking, Firewalls, Key Vault, Managed Identity, RBAC, Roles, and Policies amongst others. Next, we will examine how to evaluate and monitor the environment which has been deployed. Tools such as Azure Security Center, Azure Monitor, Log Analytics and Network Watcher will be introduced.</a:t>
            </a:r>
            <a:endParaRPr lang="en-US" dirty="0"/>
          </a:p>
        </p:txBody>
      </p:sp>
      <p:sp>
        <p:nvSpPr>
          <p:cNvPr id="4" name="Slide Number Placeholder 3"/>
          <p:cNvSpPr>
            <a:spLocks noGrp="1"/>
          </p:cNvSpPr>
          <p:nvPr>
            <p:ph type="sldNum" sz="quarter" idx="10"/>
          </p:nvPr>
        </p:nvSpPr>
        <p:spPr/>
        <p:txBody>
          <a:bodyPr/>
          <a:lstStyle/>
          <a:p>
            <a:pPr>
              <a:defRPr/>
            </a:pPr>
            <a:fld id="{47C584BF-6945-4E60-B2A7-1638FF8EA8EE}"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882" kern="1200" dirty="0">
                <a:solidFill>
                  <a:schemeClr val="tx1"/>
                </a:solidFill>
                <a:effectLst/>
                <a:latin typeface="Segoe UI Light" pitchFamily="34" charset="0"/>
                <a:ea typeface="+mn-ea"/>
                <a:cs typeface="+mn-cs"/>
              </a:rPr>
              <a:t>✔️ Do you know how many subscriptions your organization has? Do you know how resources are organized into resource groups?</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21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49343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82"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21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1089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kern="1200" dirty="0">
                <a:solidFill>
                  <a:schemeClr val="tx1"/>
                </a:solidFill>
                <a:effectLst/>
                <a:latin typeface="Segoe UI Light" pitchFamily="34" charset="0"/>
                <a:ea typeface="+mn-ea"/>
                <a:cs typeface="+mn-cs"/>
              </a:rPr>
              <a:t>Improved security and compliance (SGX, Azure Sentinel for SEIM, Blueprint </a:t>
            </a:r>
            <a:r>
              <a:rPr lang="en-US" sz="882" kern="1200" dirty="0" err="1">
                <a:solidFill>
                  <a:schemeClr val="tx1"/>
                </a:solidFill>
                <a:effectLst/>
                <a:latin typeface="Segoe UI Light" pitchFamily="34" charset="0"/>
                <a:ea typeface="+mn-ea"/>
                <a:cs typeface="+mn-cs"/>
              </a:rPr>
              <a:t>etc</a:t>
            </a:r>
            <a:r>
              <a:rPr lang="en-US" sz="882" kern="1200" dirty="0">
                <a:solidFill>
                  <a:schemeClr val="tx1"/>
                </a:solidFill>
                <a:effectLst/>
                <a:latin typeface="Segoe UI Light" pitchFamily="34" charset="0"/>
                <a:ea typeface="+mn-ea"/>
                <a:cs typeface="+mn-cs"/>
              </a:rPr>
              <a:t>)</a:t>
            </a: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8/21 11:4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7423857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4100" indent="-344100">
              <a:buFont typeface="Arial" panose="020B0604020202020204" pitchFamily="34" charset="0"/>
              <a:buChar char="•"/>
            </a:pPr>
            <a:r>
              <a:rPr lang="en-US" b="0"/>
              <a:t>Just because you’re moving fast, doesn’t mean you have to lose control – even if you have some Shadow-Ops happening</a:t>
            </a:r>
          </a:p>
          <a:p>
            <a:pPr marL="344100" indent="-344100">
              <a:buFont typeface="Arial" panose="020B0604020202020204" pitchFamily="34" charset="0"/>
              <a:buChar char="•"/>
            </a:pPr>
            <a:r>
              <a:rPr lang="en-US" b="0"/>
              <a:t>Azure security gives you visibility and control of your entire cloud security state</a:t>
            </a:r>
          </a:p>
          <a:p>
            <a:pPr marL="344100" indent="-344100">
              <a:buFont typeface="Arial" panose="020B0604020202020204" pitchFamily="34" charset="0"/>
              <a:buChar char="•"/>
            </a:pPr>
            <a:r>
              <a:rPr lang="en-US" b="0"/>
              <a:t>Using analytics to provide pro-active recommendations across both Windows and Linux</a:t>
            </a:r>
          </a:p>
          <a:p>
            <a:pPr marL="344100" indent="-344100">
              <a:buFont typeface="Arial" panose="020B0604020202020204" pitchFamily="34" charset="0"/>
              <a:buChar char="•"/>
            </a:pPr>
            <a:r>
              <a:rPr lang="en-US" b="0"/>
              <a:t>Leverage services like Azure Event Viewer also to track access, see who change what and when.</a:t>
            </a:r>
          </a:p>
          <a:p>
            <a:endParaRPr lang="en-US" b="1"/>
          </a:p>
          <a:p>
            <a:r>
              <a:rPr lang="en-US" b="1"/>
              <a:t>------ (additional product context) ------</a:t>
            </a:r>
          </a:p>
          <a:p>
            <a:endParaRPr lang="en-US" b="1"/>
          </a:p>
          <a:p>
            <a:r>
              <a:rPr lang="en-US" b="1"/>
              <a:t>Secure</a:t>
            </a:r>
            <a:r>
              <a:rPr lang="en-US" b="1" baseline="0"/>
              <a:t> your cloud resources with Azure Security Center</a:t>
            </a:r>
          </a:p>
          <a:p>
            <a:endParaRPr lang="en-US" b="1" baseline="0"/>
          </a:p>
          <a:p>
            <a:pPr lvl="0"/>
            <a:r>
              <a:rPr lang="en-US" sz="1800"/>
              <a:t>With Azure Security Center you can gain full visibility and control of your cloud security state with a single, unified view:</a:t>
            </a:r>
            <a:endParaRPr lang="en-US" sz="2200"/>
          </a:p>
          <a:p>
            <a:pPr lvl="1"/>
            <a:r>
              <a:rPr lang="en-US" sz="1800" b="1"/>
              <a:t>Collect security data from multiple sources: </a:t>
            </a:r>
            <a:r>
              <a:rPr lang="en-US" sz="1800"/>
              <a:t>Collect, search, and analyze security data from a variety of sources, including connected partner solutions like network firewalls and other Microsoft services.</a:t>
            </a:r>
            <a:endParaRPr lang="en-US" sz="2200"/>
          </a:p>
          <a:p>
            <a:pPr lvl="1"/>
            <a:r>
              <a:rPr lang="en-US" sz="1800" b="1"/>
              <a:t>Integration with existing security workflows: </a:t>
            </a:r>
            <a:r>
              <a:rPr lang="en-US" sz="1800"/>
              <a:t>Access, integrate, and analyze security information using REST APIs to connect existing tools and processes.</a:t>
            </a:r>
            <a:endParaRPr lang="en-US" sz="2200"/>
          </a:p>
          <a:p>
            <a:pPr lvl="1"/>
            <a:r>
              <a:rPr lang="en-US" sz="1800" b="1"/>
              <a:t>Easily onboard cloud resources: </a:t>
            </a:r>
            <a:r>
              <a:rPr lang="en-US" sz="1800"/>
              <a:t>Keep pace with rapidly changing cloud workloads. Automatically discover and onboard new resources created in your Azure subscriptions. </a:t>
            </a:r>
            <a:endParaRPr lang="en-US" sz="2200"/>
          </a:p>
          <a:p>
            <a:pPr lvl="1"/>
            <a:r>
              <a:rPr lang="en-US" sz="1800" b="1"/>
              <a:t>Continuous security assessment: </a:t>
            </a:r>
            <a:r>
              <a:rPr lang="en-US" sz="1800"/>
              <a:t>monitor the security of virtual machines, networks, and Azure services using hundreds of built-in security assessments or create your own.</a:t>
            </a:r>
            <a:endParaRPr lang="en-US" sz="2200"/>
          </a:p>
          <a:p>
            <a:pPr lvl="1"/>
            <a:r>
              <a:rPr lang="en-US" sz="1800"/>
              <a:t>Built-in dashboards provide instant insights into security issues that require attention.</a:t>
            </a:r>
            <a:endParaRPr lang="en-US" sz="2200"/>
          </a:p>
          <a:p>
            <a:pPr lvl="1"/>
            <a:r>
              <a:rPr lang="en-US" sz="1800" b="1"/>
              <a:t>Centralized policy management: </a:t>
            </a:r>
            <a:r>
              <a:rPr lang="en-US" sz="1800"/>
              <a:t>Ensure compliance with company or regulatory security requirements by centrally managing security policies across all your cloud workloads.</a:t>
            </a:r>
            <a:endParaRPr lang="en-US" sz="2200"/>
          </a:p>
          <a:p>
            <a:pPr lvl="1"/>
            <a:r>
              <a:rPr lang="en-US" sz="1800" b="1"/>
              <a:t>Compliance reporting</a:t>
            </a:r>
            <a:r>
              <a:rPr lang="en-US" sz="1800"/>
              <a:t>: Use security data and insights to demonstrate compliance and easily generate evidence for auditors.</a:t>
            </a:r>
            <a:endParaRPr lang="en-US" sz="2200"/>
          </a:p>
          <a:p>
            <a:pPr lvl="1"/>
            <a:r>
              <a:rPr lang="en-US" sz="1800" b="1"/>
              <a:t>(If asked whether Azure Security Center supports hybrid workloads, the answer is yes: </a:t>
            </a:r>
            <a:r>
              <a:rPr lang="en-US" sz="1800"/>
              <a:t>manage security across all your hybrid cloud workloads – on-premises, Azure, and other cloud platforms – in one console.)</a:t>
            </a:r>
            <a:endParaRPr lang="en-US" sz="2200"/>
          </a:p>
          <a:p>
            <a:pPr lvl="0"/>
            <a:r>
              <a:rPr lang="en-US" sz="1800"/>
              <a:t>You can also identify and mitigate risks proactively to reduce your exposure to security threats:</a:t>
            </a:r>
            <a:endParaRPr lang="en-US" sz="2200"/>
          </a:p>
          <a:p>
            <a:pPr lvl="1"/>
            <a:r>
              <a:rPr lang="en-US" sz="1800" b="1"/>
              <a:t>Proactive security assessment: </a:t>
            </a:r>
            <a:r>
              <a:rPr lang="en-US" sz="1800"/>
              <a:t>Identify software and configurations that are vulnerable to attack.</a:t>
            </a:r>
            <a:endParaRPr lang="en-US" sz="2200"/>
          </a:p>
          <a:p>
            <a:pPr lvl="1"/>
            <a:r>
              <a:rPr lang="en-US" sz="1800" b="1"/>
              <a:t>Actionable recommendations: </a:t>
            </a:r>
            <a:r>
              <a:rPr lang="en-US" sz="1800"/>
              <a:t>Remediate security vulnerabilities before they can be exploited by attackers with prioritized, actionable security recommendations and built-in automation playbooks.</a:t>
            </a:r>
            <a:endParaRPr lang="en-US" sz="2200"/>
          </a:p>
          <a:p>
            <a:pPr lvl="1"/>
            <a:r>
              <a:rPr lang="en-US" sz="1800" b="1"/>
              <a:t>Adaptive application controls: </a:t>
            </a:r>
            <a:r>
              <a:rPr lang="en-US" sz="1800"/>
              <a:t>Block malware and other unwanted applications by applying whitelisting recommendations adapted to your specific workloads and powered by machine learning. </a:t>
            </a:r>
            <a:endParaRPr lang="en-US" sz="2200"/>
          </a:p>
          <a:p>
            <a:pPr lvl="1"/>
            <a:r>
              <a:rPr lang="en-US" sz="1800" b="1"/>
              <a:t>Controlled network access: </a:t>
            </a:r>
            <a:r>
              <a:rPr lang="en-US" sz="1800"/>
              <a:t>Reduce the network attack surface with just-in-time, controlled access to management ports on Azure VMs, drastically reducing exposure to brute force and other network attacks.</a:t>
            </a:r>
            <a:endParaRPr lang="en-US" sz="2200"/>
          </a:p>
          <a:p>
            <a:pPr lvl="0"/>
            <a:r>
              <a:rPr lang="en-US" sz="1800"/>
              <a:t>Azure Security Center has robust capabilities to prevent attacks. When threats do happen, Security Center can quickly detect and respond to threats with advanced analytics and Microsoft Intelligent Security Graph.</a:t>
            </a:r>
            <a:endParaRPr lang="en-US" sz="2200"/>
          </a:p>
          <a:p>
            <a:pPr lvl="1"/>
            <a:r>
              <a:rPr lang="en-US" sz="1800" b="1"/>
              <a:t>Industry’s most extensive threat intelligence: </a:t>
            </a:r>
            <a:r>
              <a:rPr lang="en-US" sz="1800"/>
              <a:t>Tap into the Microsoft Intelligent Security Graph, which uses trillions of signals from Microsoft services and systems around the globe to identify new and evolving threats. </a:t>
            </a:r>
            <a:endParaRPr lang="en-US" sz="2200"/>
          </a:p>
          <a:p>
            <a:pPr lvl="1"/>
            <a:r>
              <a:rPr lang="en-US" sz="1800" b="1"/>
              <a:t>Advanced threat detection: </a:t>
            </a:r>
            <a:r>
              <a:rPr lang="en-US" sz="1800"/>
              <a:t>Use built-in behavioral analytics and machine learning to identify attacks and zero-day exploits. Monitor networks, machines, and cloud services for known attack patterns and post-breach activity. </a:t>
            </a:r>
            <a:endParaRPr lang="en-US" sz="2200"/>
          </a:p>
          <a:p>
            <a:pPr lvl="1"/>
            <a:r>
              <a:rPr lang="en-US" sz="1800" b="1"/>
              <a:t>Prioritized alerts and incidents: </a:t>
            </a:r>
            <a:r>
              <a:rPr lang="en-US" sz="1800"/>
              <a:t>Focus on the most critical threats first with prioritized security alerts and incidents that map alerts of different types into a single attack campaign. Create your own custom security alerts as well. </a:t>
            </a:r>
            <a:endParaRPr lang="en-US" sz="2200"/>
          </a:p>
          <a:p>
            <a:pPr lvl="1"/>
            <a:r>
              <a:rPr lang="en-US" sz="1800" b="1"/>
              <a:t>Streamlined investigation: </a:t>
            </a:r>
            <a:r>
              <a:rPr lang="en-US" sz="1800"/>
              <a:t>Quickly assess the scope and impact of an attack with a visual, interactive experience. Use predefined or ad hoc queries for deeper exploration of security data.</a:t>
            </a:r>
            <a:endParaRPr lang="en-US" sz="2200"/>
          </a:p>
          <a:p>
            <a:pPr lvl="1"/>
            <a:r>
              <a:rPr lang="en-US" sz="1800" b="1"/>
              <a:t>Contextual threat intelligence</a:t>
            </a:r>
            <a:r>
              <a:rPr lang="en-US" sz="1800"/>
              <a:t>: Visualize the source of attacks on an interactive world map. Use built-in threat intelligence reports to gain valuable insight into the techniques and objectives of known malicious actors.</a:t>
            </a:r>
            <a:endParaRPr lang="en-US" sz="2200"/>
          </a:p>
          <a:p>
            <a:pPr marL="466090" lvl="1"/>
            <a:endParaRPr lang="en-US" sz="1800">
              <a:cs typeface="Calibri"/>
            </a:endParaRPr>
          </a:p>
          <a:p>
            <a:pPr marL="466090" lvl="1"/>
            <a:endParaRPr lang="en-US" sz="1800">
              <a:cs typeface="Calibri"/>
            </a:endParaRPr>
          </a:p>
          <a:p>
            <a:pPr marL="466090" lvl="1"/>
            <a:r>
              <a:rPr lang="en-US" sz="1200"/>
              <a:t>At Microsoft, we analyze 300 billion user authentications and check 200 billion emails for spam and malware monthly. We also have unprecedented visibility into cloud infrastructure choices, platforms and the activity therein. Such visibility has no precedent in the on-premises world.</a:t>
            </a:r>
            <a:endParaRPr lang="en-US" sz="1200">
              <a:cs typeface="Calibri"/>
            </a:endParaRPr>
          </a:p>
          <a:p>
            <a:pPr marL="780145" lvl="1" indent="-344100"/>
            <a:endParaRPr lang="en-US" b="1">
              <a:cs typeface="Calibri"/>
            </a:endParaRPr>
          </a:p>
        </p:txBody>
      </p:sp>
      <p:sp>
        <p:nvSpPr>
          <p:cNvPr id="4" name="Header Placeholder 3"/>
          <p:cNvSpPr>
            <a:spLocks noGrp="1"/>
          </p:cNvSpPr>
          <p:nvPr>
            <p:ph type="hdr" sz="quarter" idx="10"/>
          </p:nvPr>
        </p:nvSpPr>
        <p:spPr/>
        <p:txBody>
          <a:bodyPr/>
          <a:lstStyle/>
          <a:p>
            <a:pPr defTabSz="1872013">
              <a:defRPr/>
            </a:pPr>
            <a:r>
              <a:rPr lang="en-US">
                <a:solidFill>
                  <a:prstClr val="black"/>
                </a:solidFill>
              </a:rPr>
              <a:t>Microsoft Worldwide Partner Conference 2016</a:t>
            </a:r>
          </a:p>
        </p:txBody>
      </p:sp>
      <p:sp>
        <p:nvSpPr>
          <p:cNvPr id="5" name="Footer Placeholder 4"/>
          <p:cNvSpPr>
            <a:spLocks noGrp="1"/>
          </p:cNvSpPr>
          <p:nvPr>
            <p:ph type="ftr" sz="quarter" idx="11"/>
          </p:nvPr>
        </p:nvSpPr>
        <p:spPr/>
        <p:txBody>
          <a:bodyPr/>
          <a:lstStyle/>
          <a:p>
            <a:pPr defTabSz="1834597" eaLnBrk="0" hangingPunct="0">
              <a:defRPr/>
            </a:pPr>
            <a:r>
              <a:rPr lang="en-US" sz="8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872013">
              <a:defRPr/>
            </a:pPr>
            <a:fld id="{C260C86A-B365-4C6C-881D-14DBC5DBBC4E}" type="datetime8">
              <a:rPr lang="en-US">
                <a:solidFill>
                  <a:prstClr val="black"/>
                </a:solidFill>
              </a:rPr>
              <a:pPr defTabSz="1872013">
                <a:defRPr/>
              </a:pPr>
              <a:t>12/8/21 11:40 AM</a:t>
            </a:fld>
            <a:endParaRPr lang="en-US">
              <a:solidFill>
                <a:prstClr val="black"/>
              </a:solidFill>
            </a:endParaRPr>
          </a:p>
        </p:txBody>
      </p:sp>
      <p:sp>
        <p:nvSpPr>
          <p:cNvPr id="7" name="Slide Number Placeholder 6"/>
          <p:cNvSpPr>
            <a:spLocks noGrp="1"/>
          </p:cNvSpPr>
          <p:nvPr>
            <p:ph type="sldNum" sz="quarter" idx="13"/>
          </p:nvPr>
        </p:nvSpPr>
        <p:spPr/>
        <p:txBody>
          <a:bodyPr/>
          <a:lstStyle/>
          <a:p>
            <a:pPr defTabSz="1872013">
              <a:defRPr/>
            </a:pPr>
            <a:fld id="{B4008EB6-D09E-4580-8CD6-DDB14511944F}" type="slidenum">
              <a:rPr lang="en-US">
                <a:solidFill>
                  <a:prstClr val="black"/>
                </a:solidFill>
              </a:rPr>
              <a:pPr defTabSz="1872013">
                <a:defRPr/>
              </a:pPr>
              <a:t>23</a:t>
            </a:fld>
            <a:endParaRPr lang="en-US">
              <a:solidFill>
                <a:prstClr val="black"/>
              </a:solidFill>
            </a:endParaRPr>
          </a:p>
        </p:txBody>
      </p:sp>
    </p:spTree>
    <p:extLst>
      <p:ext uri="{BB962C8B-B14F-4D97-AF65-F5344CB8AC3E}">
        <p14:creationId xmlns:p14="http://schemas.microsoft.com/office/powerpoint/2010/main" val="33320904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8/21 12:38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46264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hlinkClick r:id="rId3"/>
              </a:rPr>
              <a:t>https://docs.microsoft.com/en-us/azure/sentinel/connect-windows-security-events</a:t>
            </a: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8/21 11:4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42184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hlinkClick r:id="rId3"/>
              </a:rPr>
              <a:t>https://docs.microsoft.com/en-us/azure/sentinel/connect-windows-security-events</a:t>
            </a:r>
            <a:endParaRPr lang="en-US" dirty="0"/>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8/21 11:4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9910963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Calibri Light" pitchFamily="34" charset="0"/>
                <a:ea typeface="+mn-ea"/>
                <a:cs typeface="+mn-cs"/>
              </a:rPr>
              <a:t>Advanced threat protection for Azure Storage provides an additional layer of security intelligence that detects unusual and potentially harmful attempts to access or exploit storage accounts. This layer of protection allows you to address threats without being a security expert or managing security monitoring systems.</a:t>
            </a:r>
          </a:p>
          <a:p>
            <a:r>
              <a:rPr lang="en-US" sz="1200" b="0" i="0" kern="1200" dirty="0">
                <a:solidFill>
                  <a:schemeClr val="tx1"/>
                </a:solidFill>
                <a:effectLst/>
                <a:latin typeface="Calibri Light" pitchFamily="34" charset="0"/>
                <a:ea typeface="+mn-ea"/>
                <a:cs typeface="+mn-cs"/>
              </a:rPr>
              <a:t>Security alerts are triggered when anomalies in activity occur. These security alerts are integrated with </a:t>
            </a:r>
            <a:r>
              <a:rPr lang="en-US" sz="1200" b="0" i="0" u="sng" kern="1200" dirty="0">
                <a:solidFill>
                  <a:schemeClr val="tx1"/>
                </a:solidFill>
                <a:effectLst/>
                <a:latin typeface="Calibri Light" pitchFamily="34" charset="0"/>
                <a:ea typeface="+mn-ea"/>
                <a:cs typeface="+mn-cs"/>
                <a:hlinkClick r:id="rId3"/>
              </a:rPr>
              <a:t>Azure Security Center</a:t>
            </a:r>
            <a:r>
              <a:rPr lang="en-US" sz="1200" b="0" i="0" kern="1200" dirty="0">
                <a:solidFill>
                  <a:schemeClr val="tx1"/>
                </a:solidFill>
                <a:effectLst/>
                <a:latin typeface="Calibri Light" pitchFamily="34" charset="0"/>
                <a:ea typeface="+mn-ea"/>
                <a:cs typeface="+mn-cs"/>
              </a:rPr>
              <a:t>, and are also sent via email to subscription administrators, with details of suspicious activity and recommendations on how to investigate and remediate threats.</a:t>
            </a:r>
          </a:p>
          <a:p>
            <a:endParaRPr lang="en-US" dirty="0"/>
          </a:p>
        </p:txBody>
      </p:sp>
      <p:sp>
        <p:nvSpPr>
          <p:cNvPr id="4" name="Slide Number Placeholder 3"/>
          <p:cNvSpPr>
            <a:spLocks noGrp="1"/>
          </p:cNvSpPr>
          <p:nvPr>
            <p:ph type="sldNum" sz="quarter" idx="5"/>
          </p:nvPr>
        </p:nvSpPr>
        <p:spPr/>
        <p:txBody>
          <a:bodyPr/>
          <a:lstStyle/>
          <a:p>
            <a:pPr>
              <a:defRPr/>
            </a:pPr>
            <a:fld id="{47C584BF-6945-4E60-B2A7-1638FF8EA8EE}" type="slidenum">
              <a:rPr lang="en-US" smtClean="0"/>
              <a:pPr>
                <a:defRPr/>
              </a:pPr>
              <a:t>32</a:t>
            </a:fld>
            <a:endParaRPr lang="en-US" dirty="0"/>
          </a:p>
        </p:txBody>
      </p:sp>
    </p:spTree>
    <p:extLst>
      <p:ext uri="{BB962C8B-B14F-4D97-AF65-F5344CB8AC3E}">
        <p14:creationId xmlns:p14="http://schemas.microsoft.com/office/powerpoint/2010/main" val="38982118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dirty="0">
                <a:solidFill>
                  <a:schemeClr val="tx1"/>
                </a:solidFill>
                <a:effectLst/>
                <a:latin typeface="Segoe UI Light" pitchFamily="34" charset="0"/>
                <a:ea typeface="+mn-ea"/>
                <a:cs typeface="+mn-cs"/>
                <a:hlinkClick r:id="rId3"/>
              </a:rPr>
              <a:t>Grant access to Azure blob and queue data with RBAC in the Azure portal</a:t>
            </a:r>
            <a:endParaRPr lang="en-US" sz="882" b="0" i="0" kern="1200" dirty="0">
              <a:solidFill>
                <a:schemeClr val="tx1"/>
              </a:solidFill>
              <a:effectLst/>
              <a:latin typeface="Segoe UI Light" pitchFamily="34" charset="0"/>
              <a:ea typeface="+mn-ea"/>
              <a:cs typeface="+mn-cs"/>
            </a:endParaRPr>
          </a:p>
          <a:p>
            <a:r>
              <a:rPr lang="en-US" sz="882" b="0" i="0" u="none" strike="noStrike" kern="1200" dirty="0">
                <a:solidFill>
                  <a:schemeClr val="tx1"/>
                </a:solidFill>
                <a:effectLst/>
                <a:latin typeface="Segoe UI Light" pitchFamily="34" charset="0"/>
                <a:ea typeface="+mn-ea"/>
                <a:cs typeface="+mn-cs"/>
                <a:hlinkClick r:id="rId4"/>
              </a:rPr>
              <a:t>Grant access to Azure blob and queue data with RBAC using Azure CLI</a:t>
            </a:r>
            <a:endParaRPr lang="en-US" sz="882" b="0" i="0" kern="1200" dirty="0">
              <a:solidFill>
                <a:schemeClr val="tx1"/>
              </a:solidFill>
              <a:effectLst/>
              <a:latin typeface="Segoe UI Light" pitchFamily="34" charset="0"/>
              <a:ea typeface="+mn-ea"/>
              <a:cs typeface="+mn-cs"/>
            </a:endParaRPr>
          </a:p>
          <a:p>
            <a:r>
              <a:rPr lang="en-US" sz="882" b="0" i="0" u="none" strike="noStrike" kern="1200" dirty="0">
                <a:solidFill>
                  <a:schemeClr val="tx1"/>
                </a:solidFill>
                <a:effectLst/>
                <a:latin typeface="Segoe UI Light" pitchFamily="34" charset="0"/>
                <a:ea typeface="+mn-ea"/>
                <a:cs typeface="+mn-cs"/>
                <a:hlinkClick r:id="rId5"/>
              </a:rPr>
              <a:t>Grant access to Azure blob and queue data with RBAC using PowerShell</a:t>
            </a:r>
            <a:endParaRPr lang="en-US" sz="882" b="0" i="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21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961049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7C584BF-6945-4E60-B2A7-1638FF8EA8EE}" type="slidenum">
              <a:rPr lang="en-US" smtClean="0"/>
              <a:pPr>
                <a:defRPr/>
              </a:pPr>
              <a:t>36</a:t>
            </a:fld>
            <a:endParaRPr lang="en-US" dirty="0"/>
          </a:p>
        </p:txBody>
      </p:sp>
    </p:spTree>
    <p:extLst>
      <p:ext uri="{BB962C8B-B14F-4D97-AF65-F5344CB8AC3E}">
        <p14:creationId xmlns:p14="http://schemas.microsoft.com/office/powerpoint/2010/main" val="2682223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7C584BF-6945-4E60-B2A7-1638FF8EA8EE}" type="slidenum">
              <a:rPr lang="en-US" smtClean="0"/>
              <a:pPr>
                <a:defRPr/>
              </a:pPr>
              <a:t>2</a:t>
            </a:fld>
            <a:endParaRPr lang="en-US" dirty="0"/>
          </a:p>
        </p:txBody>
      </p:sp>
    </p:spTree>
    <p:extLst>
      <p:ext uri="{BB962C8B-B14F-4D97-AF65-F5344CB8AC3E}">
        <p14:creationId xmlns:p14="http://schemas.microsoft.com/office/powerpoint/2010/main" val="1509259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A0A9261-0F98-48E7-A3AA-DB84CE2FFB75}" type="slidenum">
              <a:rPr lang="en-US" smtClean="0"/>
              <a:t>37</a:t>
            </a:fld>
            <a:endParaRPr lang="en-US"/>
          </a:p>
        </p:txBody>
      </p:sp>
    </p:spTree>
    <p:extLst>
      <p:ext uri="{BB962C8B-B14F-4D97-AF65-F5344CB8AC3E}">
        <p14:creationId xmlns:p14="http://schemas.microsoft.com/office/powerpoint/2010/main" val="761472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37711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448050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21 11:40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60548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20137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21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17683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12/8/21 11:4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3454477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an you see a use for service endpoints in your organization?</a:t>
            </a:r>
          </a:p>
          <a:p>
            <a:endParaRPr lang="en-US" dirty="0"/>
          </a:p>
          <a:p>
            <a:r>
              <a:rPr lang="en-US" dirty="0"/>
              <a:t>For more information, you can see:</a:t>
            </a:r>
          </a:p>
          <a:p>
            <a:r>
              <a:rPr lang="en-US" dirty="0"/>
              <a:t>Virtual network service endpoints - https://docs.microsoft.com/en-us/azure/virtual-network/virtual-network-service-endpoints-overview</a:t>
            </a: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21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17052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21 11: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248842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8/21 11:40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41346413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7C584BF-6945-4E60-B2A7-1638FF8EA8EE}" type="slidenum">
              <a:rPr lang="en-US" smtClean="0"/>
              <a:pPr>
                <a:defRPr/>
              </a:pPr>
              <a:t>3</a:t>
            </a:fld>
            <a:endParaRPr lang="en-US" dirty="0"/>
          </a:p>
        </p:txBody>
      </p:sp>
    </p:spTree>
    <p:extLst>
      <p:ext uri="{BB962C8B-B14F-4D97-AF65-F5344CB8AC3E}">
        <p14:creationId xmlns:p14="http://schemas.microsoft.com/office/powerpoint/2010/main" val="4230899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4912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7C584BF-6945-4E60-B2A7-1638FF8EA8EE}" type="slidenum">
              <a:rPr lang="en-US" smtClean="0"/>
              <a:pPr>
                <a:defRPr/>
              </a:pPr>
              <a:t>7</a:t>
            </a:fld>
            <a:endParaRPr lang="en-US" dirty="0"/>
          </a:p>
        </p:txBody>
      </p:sp>
    </p:spTree>
    <p:extLst>
      <p:ext uri="{BB962C8B-B14F-4D97-AF65-F5344CB8AC3E}">
        <p14:creationId xmlns:p14="http://schemas.microsoft.com/office/powerpoint/2010/main" val="3463439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82" b="0" i="0" u="none" strike="noStrike" kern="1200">
                <a:solidFill>
                  <a:schemeClr val="tx1"/>
                </a:solidFill>
                <a:effectLst/>
                <a:latin typeface="Segoe UI Light" pitchFamily="34" charset="0"/>
                <a:ea typeface="+mn-ea"/>
                <a:cs typeface="+mn-cs"/>
              </a:rPr>
              <a:t>The first thing you need to do is to connect your on-premises Active Directory to the cloud with Azure AD Connect. Azure AD Connect is the Microsoft tool designed to meet and accomplish your hybrid identity goals. This allows you to provide a common identity for your users for Office 365, Azure, and SaaS applications integrated with Azure AD. At its core, it enables synchronization between on-premises and cloud identity infrastructures.  Specifically, it creates users, groups, and other objects and ensures data is consistent between directories.  Once user data is extended with the sync engine, the next consideration is a secure method to authenticate users.</a:t>
            </a:r>
          </a:p>
          <a:p>
            <a:endParaRPr lang="en-US" sz="882" b="0" i="0" u="none" strike="noStrike" kern="1200">
              <a:solidFill>
                <a:schemeClr val="tx1"/>
              </a:solidFill>
              <a:effectLst/>
              <a:latin typeface="Segoe UI Light" pitchFamily="34" charset="0"/>
              <a:ea typeface="+mn-ea"/>
              <a:cs typeface="+mn-cs"/>
            </a:endParaRPr>
          </a:p>
          <a:p>
            <a:r>
              <a:rPr lang="en-US" sz="900"/>
              <a:t>App Proxy lets you use Azure AD as your authentication and authorization service for your on-premises apps as well as your cloud apps. This lets users who are remote from your business to get back to on-premises apps that are claims aware. We’ll use lightweight connectors in your firewall to do this, which lets you expose just the apps you want a user to get into out wherever they are out in the world while applying all of your common policies and security posture to them, without having to open up a VPN.</a:t>
            </a:r>
          </a:p>
          <a:p>
            <a:endParaRPr lang="en-US" sz="900"/>
          </a:p>
          <a:p>
            <a:r>
              <a:rPr lang="en-US" sz="900"/>
              <a:t>And let’s be real, VPNs are scary. Most corporate hacks start by compromising a user account, and then immediately heading to a VPN.  And once I’m on your VPN, I’m in the network and I can take over pretty much whatever I want.</a:t>
            </a:r>
          </a:p>
          <a:p>
            <a:endParaRPr lang="en-US" sz="900"/>
          </a:p>
          <a:p>
            <a:pPr marL="0" marR="0" lvl="0" indent="0" algn="l" defTabSz="932742" rtl="0" eaLnBrk="1" fontAlgn="auto" latinLnBrk="0" hangingPunct="1">
              <a:lnSpc>
                <a:spcPct val="90000"/>
              </a:lnSpc>
              <a:spcBef>
                <a:spcPts val="0"/>
              </a:spcBef>
              <a:spcAft>
                <a:spcPts val="340"/>
              </a:spcAft>
              <a:buClrTx/>
              <a:buSzTx/>
              <a:buFontTx/>
              <a:buNone/>
              <a:tabLst/>
              <a:defRPr/>
            </a:pPr>
            <a:r>
              <a:rPr lang="en-US"/>
              <a:t>Accelerate adoption of your apps. As organizations move their identity systems to the cloud, you need applications that you use and develop to integrate with your enterprise identity system. With Azure AD your platform, it provides a tremendous opportunity for developers to integrate into this ecosystem.  </a:t>
            </a:r>
          </a:p>
          <a:p>
            <a:endParaRPr lang="en-US" sz="900"/>
          </a:p>
          <a:p>
            <a:endParaRPr lang="en-US" sz="882" b="0" i="0" u="none" strike="noStrike" kern="1200">
              <a:solidFill>
                <a:schemeClr val="tx1"/>
              </a:solidFill>
              <a:effectLst/>
              <a:latin typeface="Segoe UI Light" pitchFamily="34" charset="0"/>
              <a:ea typeface="+mn-ea"/>
              <a:cs typeface="+mn-cs"/>
            </a:endParaRP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A37879C-4997-47C7-BA89-D16BFC8031E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8/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4418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1866296" rtl="0" eaLnBrk="1" fontAlgn="auto" latinLnBrk="0" hangingPunct="1">
              <a:lnSpc>
                <a:spcPct val="100000"/>
              </a:lnSpc>
              <a:spcBef>
                <a:spcPts val="0"/>
              </a:spcBef>
              <a:spcAft>
                <a:spcPts val="0"/>
              </a:spcAft>
              <a:buClrTx/>
              <a:buSzTx/>
              <a:buFontTx/>
              <a:buNone/>
              <a:tabLst/>
              <a:defRPr/>
            </a:pPr>
            <a:fld id="{4E4D531F-42C9-4D67-9080-B14D75B014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866296"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0181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see the relationship between Identity in Azure AD and RBAC.</a:t>
            </a:r>
            <a:r>
              <a:rPr lang="en-US" baseline="0" dirty="0"/>
              <a:t>  Users and Groups that live in Azure AD can be used to provide privileges in Azure for administration purpose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A41F1F-90BE-488A-B820-D47438566D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49929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8/21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555543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4.jpe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6.png"/><Relationship Id="rId1" Type="http://schemas.openxmlformats.org/officeDocument/2006/relationships/slideMaster" Target="../slideMasters/slideMaster8.xml"/><Relationship Id="rId4" Type="http://schemas.openxmlformats.org/officeDocument/2006/relationships/image" Target="../media/image1.emf"/></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10.emf"/><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tif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tif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Master" Target="../slideMasters/slideMaster4.xml"/><Relationship Id="rId4" Type="http://schemas.openxmlformats.org/officeDocument/2006/relationships/image" Target="../media/image22.jp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Master" Target="../slideMasters/slideMaster4.xml"/><Relationship Id="rId4" Type="http://schemas.openxmlformats.org/officeDocument/2006/relationships/image" Target="../media/image22.jp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685800" y="400050"/>
            <a:ext cx="7772400" cy="1885950"/>
          </a:xfrm>
          <a:noFill/>
        </p:spPr>
        <p:txBody>
          <a:bodyPr anchor="b"/>
          <a:lstStyle>
            <a:lvl1pPr algn="r">
              <a:defRPr sz="3200" b="1">
                <a:solidFill>
                  <a:schemeClr val="accent2"/>
                </a:solidFill>
                <a:latin typeface="Calibri Light" pitchFamily="34" charset="0"/>
                <a:cs typeface="Segoe UI" pitchFamily="34" charset="0"/>
              </a:defRPr>
            </a:lvl1pPr>
          </a:lstStyle>
          <a:p>
            <a:r>
              <a:rPr lang="en-US" dirty="0"/>
              <a:t>Click to edit Master title style</a:t>
            </a:r>
          </a:p>
        </p:txBody>
      </p:sp>
      <p:sp>
        <p:nvSpPr>
          <p:cNvPr id="32781" name="Subtitle 32780"/>
          <p:cNvSpPr>
            <a:spLocks noGrp="1" noChangeArrowheads="1"/>
          </p:cNvSpPr>
          <p:nvPr>
            <p:ph type="subTitle" idx="1"/>
          </p:nvPr>
        </p:nvSpPr>
        <p:spPr>
          <a:xfrm>
            <a:off x="2057400" y="2343150"/>
            <a:ext cx="6400800" cy="971550"/>
          </a:xfrm>
        </p:spPr>
        <p:txBody>
          <a:bodyPr/>
          <a:lstStyle>
            <a:lvl1pPr marL="0" indent="0" algn="r">
              <a:buNone/>
              <a:defRPr b="0">
                <a:latin typeface="Calibri Light" pitchFamily="34" charset="0"/>
                <a:cs typeface="Segoe UI" pitchFamily="34" charset="0"/>
              </a:defRPr>
            </a:lvl1pPr>
          </a:lstStyle>
          <a:p>
            <a:r>
              <a:rPr lang="en-US"/>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0" y="3625850"/>
            <a:ext cx="3162300" cy="1358900"/>
          </a:xfrm>
          <a:prstGeom prst="rect">
            <a:avLst/>
          </a:prstGeom>
        </p:spPr>
      </p:pic>
    </p:spTree>
    <p:extLst>
      <p:ext uri="{BB962C8B-B14F-4D97-AF65-F5344CB8AC3E}">
        <p14:creationId xmlns:p14="http://schemas.microsoft.com/office/powerpoint/2010/main" val="327403780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Instructor - white">
    <p:spTree>
      <p:nvGrpSpPr>
        <p:cNvPr id="1" name=""/>
        <p:cNvGrpSpPr/>
        <p:nvPr/>
      </p:nvGrpSpPr>
      <p:grpSpPr>
        <a:xfrm>
          <a:off x="0" y="0"/>
          <a:ext cx="0" cy="0"/>
          <a:chOff x="0" y="0"/>
          <a:chExt cx="0" cy="0"/>
        </a:xfrm>
      </p:grpSpPr>
      <p:sp>
        <p:nvSpPr>
          <p:cNvPr id="3" name="Rectangle 2"/>
          <p:cNvSpPr/>
          <p:nvPr/>
        </p:nvSpPr>
        <p:spPr bwMode="auto">
          <a:xfrm>
            <a:off x="1" y="0"/>
            <a:ext cx="3991356" cy="51435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eaLnBrk="0" fontAlgn="base" hangingPunct="0">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Rectangle 1"/>
          <p:cNvSpPr/>
          <p:nvPr/>
        </p:nvSpPr>
        <p:spPr bwMode="auto">
          <a:xfrm>
            <a:off x="3991357" y="0"/>
            <a:ext cx="5200649" cy="514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eaLnBrk="0" fontAlgn="base" hangingPunct="0">
              <a:spcBef>
                <a:spcPct val="0"/>
              </a:spcBef>
              <a:spcAft>
                <a:spcPct val="0"/>
              </a:spcAft>
            </a:pPr>
            <a:endParaRPr lang="en-US" sz="1650" dirty="0">
              <a:gradFill>
                <a:gsLst>
                  <a:gs pos="0">
                    <a:srgbClr val="FFFFFF"/>
                  </a:gs>
                  <a:gs pos="100000">
                    <a:srgbClr val="FFFFFF"/>
                  </a:gs>
                </a:gsLst>
                <a:lin ang="5400000" scaled="0"/>
              </a:gradFill>
            </a:endParaRPr>
          </a:p>
        </p:txBody>
      </p:sp>
      <p:sp>
        <p:nvSpPr>
          <p:cNvPr id="5" name="Picture Placeholder 4"/>
          <p:cNvSpPr>
            <a:spLocks noGrp="1"/>
          </p:cNvSpPr>
          <p:nvPr>
            <p:ph type="pic" sz="quarter" idx="10"/>
          </p:nvPr>
        </p:nvSpPr>
        <p:spPr>
          <a:xfrm>
            <a:off x="1130028" y="1090994"/>
            <a:ext cx="1305745" cy="1698255"/>
          </a:xfrm>
          <a:ln w="25400">
            <a:noFill/>
          </a:ln>
          <a:effectLst>
            <a:outerShdw blurRad="50800" dist="38100" dir="5400000" algn="t" rotWithShape="0">
              <a:prstClr val="black">
                <a:alpha val="40000"/>
              </a:prstClr>
            </a:outerShdw>
          </a:effectLst>
        </p:spPr>
        <p:txBody>
          <a:bodyPr/>
          <a:lstStyle/>
          <a:p>
            <a:r>
              <a:rPr lang="en-US"/>
              <a:t>Click icon to add picture</a:t>
            </a:r>
          </a:p>
        </p:txBody>
      </p:sp>
      <p:sp>
        <p:nvSpPr>
          <p:cNvPr id="7" name="Text Placeholder 6"/>
          <p:cNvSpPr>
            <a:spLocks noGrp="1"/>
          </p:cNvSpPr>
          <p:nvPr>
            <p:ph type="body" sz="quarter" idx="11" hasCustomPrompt="1"/>
          </p:nvPr>
        </p:nvSpPr>
        <p:spPr>
          <a:xfrm>
            <a:off x="435245" y="3373850"/>
            <a:ext cx="3264503" cy="1357295"/>
          </a:xfrm>
          <a:ln>
            <a:noFill/>
          </a:ln>
        </p:spPr>
        <p:txBody>
          <a:bodyPr/>
          <a:lstStyle>
            <a:lvl1pPr marL="0" indent="0">
              <a:buNone/>
              <a:defRPr sz="2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tructor Name</a:t>
            </a:r>
          </a:p>
          <a:p>
            <a:pPr lvl="0"/>
            <a:r>
              <a:rPr lang="en-US" dirty="0"/>
              <a:t>@</a:t>
            </a:r>
            <a:r>
              <a:rPr lang="en-US" dirty="0" err="1"/>
              <a:t>twitterhandle</a:t>
            </a:r>
            <a:endParaRPr lang="en-US" dirty="0"/>
          </a:p>
          <a:p>
            <a:pPr lvl="0"/>
            <a:r>
              <a:rPr lang="en-US" dirty="0"/>
              <a:t>your@email.com</a:t>
            </a:r>
          </a:p>
          <a:p>
            <a:pPr lvl="0"/>
            <a:r>
              <a:rPr lang="en-US" dirty="0"/>
              <a:t>www.yourwebsite.com</a:t>
            </a:r>
          </a:p>
        </p:txBody>
      </p:sp>
      <p:sp>
        <p:nvSpPr>
          <p:cNvPr id="10" name="Text Placeholder 9"/>
          <p:cNvSpPr>
            <a:spLocks noGrp="1"/>
          </p:cNvSpPr>
          <p:nvPr>
            <p:ph type="body" sz="quarter" idx="12" hasCustomPrompt="1"/>
          </p:nvPr>
        </p:nvSpPr>
        <p:spPr>
          <a:xfrm>
            <a:off x="4282966" y="1090993"/>
            <a:ext cx="4773215" cy="2423741"/>
          </a:xfrm>
        </p:spPr>
        <p:txBody>
          <a:bodyPr/>
          <a:lstStyle>
            <a:lvl1pPr marL="0" marR="0" indent="0" algn="l" defTabSz="685522" rtl="0" eaLnBrk="1" fontAlgn="auto" latinLnBrk="0" hangingPunct="1">
              <a:lnSpc>
                <a:spcPct val="90000"/>
              </a:lnSpc>
              <a:spcBef>
                <a:spcPct val="20000"/>
              </a:spcBef>
              <a:spcAft>
                <a:spcPts val="0"/>
              </a:spcAft>
              <a:buClrTx/>
              <a:buSzPct val="80000"/>
              <a:buFontTx/>
              <a:buNone/>
              <a:tabLst/>
              <a:defRPr sz="2100" baseline="0"/>
            </a:lvl1pPr>
            <a:lvl2pPr marL="345152" indent="0">
              <a:buFontTx/>
              <a:buNone/>
              <a:defRPr/>
            </a:lvl2pPr>
            <a:lvl3pPr marL="641511" indent="0">
              <a:buFontTx/>
              <a:buNone/>
              <a:defRPr/>
            </a:lvl3pPr>
            <a:lvl4pPr marL="943816" indent="0">
              <a:buFontTx/>
              <a:buNone/>
              <a:defRPr/>
            </a:lvl4pPr>
            <a:lvl5pPr marL="1203283" indent="0">
              <a:buFontTx/>
              <a:buNone/>
              <a:defRPr/>
            </a:lvl5pPr>
          </a:lstStyle>
          <a:p>
            <a:pPr lvl="0"/>
            <a:r>
              <a:rPr lang="en-US" dirty="0"/>
              <a:t>Instructor bio goes here </a:t>
            </a:r>
          </a:p>
          <a:p>
            <a:pPr lvl="0"/>
            <a:r>
              <a:rPr lang="en-US" dirty="0"/>
              <a:t>Instructor bio goes here </a:t>
            </a:r>
          </a:p>
          <a:p>
            <a:pPr marL="0" marR="0" lvl="0" indent="0" algn="l" defTabSz="685522"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685522"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685522"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685522"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lvl="0"/>
            <a:endParaRPr lang="en-US" dirty="0"/>
          </a:p>
        </p:txBody>
      </p:sp>
    </p:spTree>
    <p:extLst>
      <p:ext uri="{BB962C8B-B14F-4D97-AF65-F5344CB8AC3E}">
        <p14:creationId xmlns:p14="http://schemas.microsoft.com/office/powerpoint/2010/main" val="1891524418"/>
      </p:ext>
    </p:extLst>
  </p:cSld>
  <p:clrMapOvr>
    <a:masterClrMapping/>
  </p:clrMapOvr>
  <p:transition>
    <p:fade/>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9B6E0AA-E4F2-41D6-A6A5-5FB77A4F23EC}"/>
              </a:ext>
            </a:extLst>
          </p:cNvPr>
          <p:cNvSpPr>
            <a:spLocks noGrp="1"/>
          </p:cNvSpPr>
          <p:nvPr>
            <p:ph type="body" sz="quarter" idx="10"/>
          </p:nvPr>
        </p:nvSpPr>
        <p:spPr>
          <a:xfrm>
            <a:off x="377458" y="497757"/>
            <a:ext cx="8389085" cy="369332"/>
          </a:xfrm>
          <a:prstGeom prst="rect">
            <a:avLst/>
          </a:prstGeom>
        </p:spPr>
        <p:txBody>
          <a:bodyPr wrap="square" lIns="0" tIns="0" rIns="0" bIns="0">
            <a:spAutoFit/>
          </a:bodyPr>
          <a:lstStyle>
            <a:lvl1pPr marL="0" indent="0">
              <a:buNone/>
              <a:defRPr sz="2400">
                <a:solidFill>
                  <a:schemeClr val="accent2"/>
                </a:solidFill>
                <a:latin typeface="Segoe UI Semibold" panose="020B0702040204020203" pitchFamily="34" charset="0"/>
                <a:cs typeface="Segoe UI Semibold" panose="020B0702040204020203" pitchFamily="34" charset="0"/>
              </a:defRPr>
            </a:lvl1pPr>
            <a:lvl2pPr marL="342834" indent="0">
              <a:buNone/>
              <a:defRPr sz="3300">
                <a:latin typeface="Segoe UI Light" panose="020B0502040204020203" pitchFamily="34" charset="0"/>
                <a:cs typeface="Segoe UI Light" panose="020B0502040204020203" pitchFamily="34" charset="0"/>
              </a:defRPr>
            </a:lvl2pPr>
            <a:lvl3pPr marL="685669" indent="0">
              <a:buNone/>
              <a:defRPr sz="3000">
                <a:latin typeface="Segoe UI Light" panose="020B0502040204020203" pitchFamily="34" charset="0"/>
                <a:cs typeface="Segoe UI Light" panose="020B0502040204020203" pitchFamily="34" charset="0"/>
              </a:defRPr>
            </a:lvl3pPr>
            <a:lvl4pPr marL="1028503" indent="0">
              <a:buNone/>
              <a:defRPr sz="2700">
                <a:latin typeface="Segoe UI Light" panose="020B0502040204020203" pitchFamily="34" charset="0"/>
                <a:cs typeface="Segoe UI Light" panose="020B0502040204020203" pitchFamily="34" charset="0"/>
              </a:defRPr>
            </a:lvl4pPr>
            <a:lvl5pPr marL="1371337" indent="0">
              <a:buNone/>
              <a:defRPr sz="2700">
                <a:latin typeface="Segoe UI Light" panose="020B0502040204020203" pitchFamily="34" charset="0"/>
                <a:cs typeface="Segoe UI Light" panose="020B0502040204020203" pitchFamily="34" charset="0"/>
              </a:defRPr>
            </a:lvl5pPr>
          </a:lstStyle>
          <a:p>
            <a:pPr lvl="0"/>
            <a:r>
              <a:rPr lang="en-US"/>
              <a:t>Edit Master text styles</a:t>
            </a:r>
          </a:p>
        </p:txBody>
      </p:sp>
      <p:sp>
        <p:nvSpPr>
          <p:cNvPr id="9" name="Text Placeholder 8">
            <a:extLst>
              <a:ext uri="{FF2B5EF4-FFF2-40B4-BE49-F238E27FC236}">
                <a16:creationId xmlns:a16="http://schemas.microsoft.com/office/drawing/2014/main" id="{7137777D-2E74-45FA-9043-4D43B344EFA5}"/>
              </a:ext>
            </a:extLst>
          </p:cNvPr>
          <p:cNvSpPr>
            <a:spLocks noGrp="1"/>
          </p:cNvSpPr>
          <p:nvPr>
            <p:ph type="body" sz="quarter" idx="11" hasCustomPrompt="1"/>
          </p:nvPr>
        </p:nvSpPr>
        <p:spPr>
          <a:xfrm>
            <a:off x="377458" y="1561177"/>
            <a:ext cx="8389085" cy="1384994"/>
          </a:xfrm>
          <a:prstGeom prst="rect">
            <a:avLst/>
          </a:prstGeom>
        </p:spPr>
        <p:txBody>
          <a:bodyPr wrap="square" lIns="0" tIns="0" rIns="0" bIns="0">
            <a:spAutoFit/>
          </a:bodyPr>
          <a:lstStyle>
            <a:lvl1pPr marL="342834" marR="0" indent="-342834" algn="l" defTabSz="685669" rtl="0" eaLnBrk="1" fontAlgn="auto" latinLnBrk="0" hangingPunct="1">
              <a:lnSpc>
                <a:spcPct val="100000"/>
              </a:lnSpc>
              <a:spcBef>
                <a:spcPts val="0"/>
              </a:spcBef>
              <a:spcAft>
                <a:spcPts val="900"/>
              </a:spcAft>
              <a:buClrTx/>
              <a:buSzTx/>
              <a:buFont typeface="+mj-lt"/>
              <a:buAutoNum type="arabicPeriod"/>
              <a:tabLst/>
              <a:defRPr sz="1200" b="0">
                <a:solidFill>
                  <a:schemeClr val="accent2"/>
                </a:solidFill>
                <a:latin typeface="Segoe UI Semibold" panose="020B0702040204020203" pitchFamily="34" charset="0"/>
                <a:cs typeface="Segoe UI Semibold" panose="020B0702040204020203" pitchFamily="34" charset="0"/>
              </a:defRPr>
            </a:lvl1pPr>
            <a:lvl2pPr>
              <a:defRPr sz="1500"/>
            </a:lvl2pPr>
            <a:lvl3pPr>
              <a:defRPr sz="1350"/>
            </a:lvl3pPr>
            <a:lvl4pPr>
              <a:defRPr sz="1200"/>
            </a:lvl4pPr>
            <a:lvl5pPr>
              <a:defRPr sz="1200"/>
            </a:lvl5pPr>
          </a:lstStyle>
          <a:p>
            <a:pPr lvl="0"/>
            <a:r>
              <a:rPr lang="en-US"/>
              <a:t>Enter line one content</a:t>
            </a:r>
          </a:p>
          <a:p>
            <a:pPr lvl="0"/>
            <a:r>
              <a:rPr lang="en-US"/>
              <a:t>Enter line two content</a:t>
            </a:r>
          </a:p>
          <a:p>
            <a:pPr lvl="0"/>
            <a:r>
              <a:rPr lang="en-US"/>
              <a:t>Enter line three content</a:t>
            </a:r>
          </a:p>
          <a:p>
            <a:pPr lvl="0"/>
            <a:r>
              <a:rPr lang="en-US"/>
              <a:t>Enter line four content</a:t>
            </a:r>
          </a:p>
          <a:p>
            <a:pPr lvl="0"/>
            <a:endParaRPr lang="en-US"/>
          </a:p>
        </p:txBody>
      </p:sp>
    </p:spTree>
    <p:extLst>
      <p:ext uri="{BB962C8B-B14F-4D97-AF65-F5344CB8AC3E}">
        <p14:creationId xmlns:p14="http://schemas.microsoft.com/office/powerpoint/2010/main" val="216805409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9B6E0AA-E4F2-41D6-A6A5-5FB77A4F23EC}"/>
              </a:ext>
            </a:extLst>
          </p:cNvPr>
          <p:cNvSpPr>
            <a:spLocks noGrp="1"/>
          </p:cNvSpPr>
          <p:nvPr>
            <p:ph type="body" sz="quarter" idx="10"/>
          </p:nvPr>
        </p:nvSpPr>
        <p:spPr>
          <a:xfrm>
            <a:off x="377458" y="497757"/>
            <a:ext cx="8389085" cy="369332"/>
          </a:xfrm>
          <a:prstGeom prst="rect">
            <a:avLst/>
          </a:prstGeom>
        </p:spPr>
        <p:txBody>
          <a:bodyPr wrap="square" lIns="0" tIns="0" rIns="0" bIns="0">
            <a:spAutoFit/>
          </a:bodyPr>
          <a:lstStyle>
            <a:lvl1pPr marL="0" indent="0">
              <a:buNone/>
              <a:defRPr sz="2400">
                <a:solidFill>
                  <a:schemeClr val="accent2"/>
                </a:solidFill>
                <a:latin typeface="Segoe UI Semibold" panose="020B0702040204020203" pitchFamily="34" charset="0"/>
                <a:cs typeface="Segoe UI Semibold" panose="020B0702040204020203" pitchFamily="34" charset="0"/>
              </a:defRPr>
            </a:lvl1pPr>
            <a:lvl2pPr marL="342834" indent="0">
              <a:buNone/>
              <a:defRPr sz="3300">
                <a:latin typeface="Segoe UI Light" panose="020B0502040204020203" pitchFamily="34" charset="0"/>
                <a:cs typeface="Segoe UI Light" panose="020B0502040204020203" pitchFamily="34" charset="0"/>
              </a:defRPr>
            </a:lvl2pPr>
            <a:lvl3pPr marL="685669" indent="0">
              <a:buNone/>
              <a:defRPr sz="3000">
                <a:latin typeface="Segoe UI Light" panose="020B0502040204020203" pitchFamily="34" charset="0"/>
                <a:cs typeface="Segoe UI Light" panose="020B0502040204020203" pitchFamily="34" charset="0"/>
              </a:defRPr>
            </a:lvl3pPr>
            <a:lvl4pPr marL="1028503" indent="0">
              <a:buNone/>
              <a:defRPr sz="2700">
                <a:latin typeface="Segoe UI Light" panose="020B0502040204020203" pitchFamily="34" charset="0"/>
                <a:cs typeface="Segoe UI Light" panose="020B0502040204020203" pitchFamily="34" charset="0"/>
              </a:defRPr>
            </a:lvl4pPr>
            <a:lvl5pPr marL="1371337" indent="0">
              <a:buNone/>
              <a:defRPr sz="2700">
                <a:latin typeface="Segoe UI Light" panose="020B0502040204020203" pitchFamily="34" charset="0"/>
                <a:cs typeface="Segoe UI Light" panose="020B0502040204020203" pitchFamily="34" charset="0"/>
              </a:defRPr>
            </a:lvl5pPr>
          </a:lstStyle>
          <a:p>
            <a:pPr lvl="0"/>
            <a:r>
              <a:rPr lang="en-US"/>
              <a:t>Edit Master text styles</a:t>
            </a:r>
          </a:p>
        </p:txBody>
      </p:sp>
    </p:spTree>
    <p:extLst>
      <p:ext uri="{BB962C8B-B14F-4D97-AF65-F5344CB8AC3E}">
        <p14:creationId xmlns:p14="http://schemas.microsoft.com/office/powerpoint/2010/main" val="15024155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137777D-2E74-45FA-9043-4D43B344EFA5}"/>
              </a:ext>
            </a:extLst>
          </p:cNvPr>
          <p:cNvSpPr>
            <a:spLocks noGrp="1"/>
          </p:cNvSpPr>
          <p:nvPr>
            <p:ph type="body" sz="quarter" idx="11" hasCustomPrompt="1"/>
          </p:nvPr>
        </p:nvSpPr>
        <p:spPr>
          <a:xfrm>
            <a:off x="377458" y="1943666"/>
            <a:ext cx="2178671" cy="184666"/>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200" b="1">
                <a:solidFill>
                  <a:schemeClr val="tx2"/>
                </a:solidFill>
                <a:latin typeface="Segoe UI Semibold" panose="020B0702040204020203" pitchFamily="34" charset="0"/>
                <a:cs typeface="Segoe UI Semibold" panose="020B0702040204020203" pitchFamily="34" charset="0"/>
              </a:defRPr>
            </a:lvl1pPr>
            <a:lvl2pPr>
              <a:defRPr sz="1500"/>
            </a:lvl2pPr>
            <a:lvl3pPr>
              <a:defRPr sz="1350"/>
            </a:lvl3pPr>
            <a:lvl4pPr>
              <a:defRPr sz="1200"/>
            </a:lvl4pPr>
            <a:lvl5pPr>
              <a:defRPr sz="1200"/>
            </a:lvl5pPr>
          </a:lstStyle>
          <a:p>
            <a:pPr lvl="0"/>
            <a:r>
              <a:rPr lang="en-US"/>
              <a:t>Enter title here</a:t>
            </a:r>
          </a:p>
        </p:txBody>
      </p:sp>
      <p:sp>
        <p:nvSpPr>
          <p:cNvPr id="25" name="Text Placeholder 8">
            <a:extLst>
              <a:ext uri="{FF2B5EF4-FFF2-40B4-BE49-F238E27FC236}">
                <a16:creationId xmlns:a16="http://schemas.microsoft.com/office/drawing/2014/main" id="{D8DE1C34-6B5E-4059-BA7D-70145A9B1F48}"/>
              </a:ext>
            </a:extLst>
          </p:cNvPr>
          <p:cNvSpPr>
            <a:spLocks noGrp="1"/>
          </p:cNvSpPr>
          <p:nvPr>
            <p:ph type="body" sz="quarter" idx="14" hasCustomPrompt="1"/>
          </p:nvPr>
        </p:nvSpPr>
        <p:spPr>
          <a:xfrm>
            <a:off x="3347021" y="1943666"/>
            <a:ext cx="2178671" cy="184666"/>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200" b="1">
                <a:solidFill>
                  <a:schemeClr val="tx2"/>
                </a:solidFill>
                <a:latin typeface="Segoe UI Semibold" panose="020B0702040204020203" pitchFamily="34" charset="0"/>
                <a:cs typeface="Segoe UI Semibold" panose="020B0702040204020203" pitchFamily="34" charset="0"/>
              </a:defRPr>
            </a:lvl1pPr>
            <a:lvl2pPr>
              <a:defRPr sz="1500"/>
            </a:lvl2pPr>
            <a:lvl3pPr>
              <a:defRPr sz="1350"/>
            </a:lvl3pPr>
            <a:lvl4pPr>
              <a:defRPr sz="1200"/>
            </a:lvl4pPr>
            <a:lvl5pPr>
              <a:defRPr sz="1200"/>
            </a:lvl5pPr>
          </a:lstStyle>
          <a:p>
            <a:pPr lvl="0"/>
            <a:r>
              <a:rPr lang="en-US"/>
              <a:t>Enter title here</a:t>
            </a:r>
          </a:p>
        </p:txBody>
      </p:sp>
      <p:sp>
        <p:nvSpPr>
          <p:cNvPr id="26" name="Text Placeholder 8">
            <a:extLst>
              <a:ext uri="{FF2B5EF4-FFF2-40B4-BE49-F238E27FC236}">
                <a16:creationId xmlns:a16="http://schemas.microsoft.com/office/drawing/2014/main" id="{ADB6AF5F-2C6D-4CE5-A252-7EBB51733092}"/>
              </a:ext>
            </a:extLst>
          </p:cNvPr>
          <p:cNvSpPr>
            <a:spLocks noGrp="1"/>
          </p:cNvSpPr>
          <p:nvPr>
            <p:ph type="body" sz="quarter" idx="15" hasCustomPrompt="1"/>
          </p:nvPr>
        </p:nvSpPr>
        <p:spPr>
          <a:xfrm>
            <a:off x="377458" y="3397382"/>
            <a:ext cx="2178671" cy="184666"/>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200" b="1">
                <a:solidFill>
                  <a:schemeClr val="tx2"/>
                </a:solidFill>
                <a:latin typeface="Segoe UI Semibold" panose="020B0702040204020203" pitchFamily="34" charset="0"/>
                <a:cs typeface="Segoe UI Semibold" panose="020B0702040204020203" pitchFamily="34" charset="0"/>
              </a:defRPr>
            </a:lvl1pPr>
            <a:lvl2pPr>
              <a:defRPr sz="1500"/>
            </a:lvl2pPr>
            <a:lvl3pPr>
              <a:defRPr sz="1350"/>
            </a:lvl3pPr>
            <a:lvl4pPr>
              <a:defRPr sz="1200"/>
            </a:lvl4pPr>
            <a:lvl5pPr>
              <a:defRPr sz="1200"/>
            </a:lvl5pPr>
          </a:lstStyle>
          <a:p>
            <a:pPr lvl="0"/>
            <a:r>
              <a:rPr lang="en-US"/>
              <a:t>Enter title here</a:t>
            </a:r>
          </a:p>
        </p:txBody>
      </p:sp>
      <p:sp>
        <p:nvSpPr>
          <p:cNvPr id="27" name="Text Placeholder 8">
            <a:extLst>
              <a:ext uri="{FF2B5EF4-FFF2-40B4-BE49-F238E27FC236}">
                <a16:creationId xmlns:a16="http://schemas.microsoft.com/office/drawing/2014/main" id="{E91C6071-A470-459F-9B75-F915BCABAB87}"/>
              </a:ext>
            </a:extLst>
          </p:cNvPr>
          <p:cNvSpPr>
            <a:spLocks noGrp="1"/>
          </p:cNvSpPr>
          <p:nvPr>
            <p:ph type="body" sz="quarter" idx="16" hasCustomPrompt="1"/>
          </p:nvPr>
        </p:nvSpPr>
        <p:spPr>
          <a:xfrm>
            <a:off x="3347021" y="3397382"/>
            <a:ext cx="2178671" cy="184666"/>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200" b="1">
                <a:solidFill>
                  <a:schemeClr val="tx2"/>
                </a:solidFill>
                <a:latin typeface="Segoe UI Semibold" panose="020B0702040204020203" pitchFamily="34" charset="0"/>
                <a:cs typeface="Segoe UI Semibold" panose="020B0702040204020203" pitchFamily="34" charset="0"/>
              </a:defRPr>
            </a:lvl1pPr>
            <a:lvl2pPr>
              <a:defRPr sz="1500"/>
            </a:lvl2pPr>
            <a:lvl3pPr>
              <a:defRPr sz="1350"/>
            </a:lvl3pPr>
            <a:lvl4pPr>
              <a:defRPr sz="1200"/>
            </a:lvl4pPr>
            <a:lvl5pPr>
              <a:defRPr sz="1200"/>
            </a:lvl5pPr>
          </a:lstStyle>
          <a:p>
            <a:pPr lvl="0"/>
            <a:r>
              <a:rPr lang="en-US"/>
              <a:t>Enter title here</a:t>
            </a:r>
          </a:p>
        </p:txBody>
      </p:sp>
      <p:sp>
        <p:nvSpPr>
          <p:cNvPr id="28" name="Text Placeholder 8">
            <a:extLst>
              <a:ext uri="{FF2B5EF4-FFF2-40B4-BE49-F238E27FC236}">
                <a16:creationId xmlns:a16="http://schemas.microsoft.com/office/drawing/2014/main" id="{6CC18E57-3DCA-4009-A503-FDBA22EF69FB}"/>
              </a:ext>
            </a:extLst>
          </p:cNvPr>
          <p:cNvSpPr>
            <a:spLocks noGrp="1"/>
          </p:cNvSpPr>
          <p:nvPr>
            <p:ph type="body" sz="quarter" idx="17" hasCustomPrompt="1"/>
          </p:nvPr>
        </p:nvSpPr>
        <p:spPr>
          <a:xfrm>
            <a:off x="377458" y="2252677"/>
            <a:ext cx="2178671" cy="161583"/>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050" b="0">
                <a:solidFill>
                  <a:schemeClr val="accent3"/>
                </a:solidFill>
                <a:latin typeface="Segoe UI Semilight" panose="020B0402040204020203" pitchFamily="34" charset="0"/>
                <a:cs typeface="Segoe UI Semilight" panose="020B0402040204020203" pitchFamily="34" charset="0"/>
              </a:defRPr>
            </a:lvl1pPr>
            <a:lvl2pPr>
              <a:defRPr sz="1500"/>
            </a:lvl2pPr>
            <a:lvl3pPr>
              <a:defRPr sz="1350"/>
            </a:lvl3pPr>
            <a:lvl4pPr>
              <a:defRPr sz="1200"/>
            </a:lvl4pPr>
            <a:lvl5pPr>
              <a:defRPr sz="1200"/>
            </a:lvl5pPr>
          </a:lstStyle>
          <a:p>
            <a:pPr lvl="0"/>
            <a:r>
              <a:rPr lang="en-US"/>
              <a:t>Enter paragraph content here</a:t>
            </a:r>
          </a:p>
        </p:txBody>
      </p:sp>
      <p:sp>
        <p:nvSpPr>
          <p:cNvPr id="29" name="Text Placeholder 8">
            <a:extLst>
              <a:ext uri="{FF2B5EF4-FFF2-40B4-BE49-F238E27FC236}">
                <a16:creationId xmlns:a16="http://schemas.microsoft.com/office/drawing/2014/main" id="{DAA9FBE3-9008-4168-B6EE-62D3A4BE8791}"/>
              </a:ext>
            </a:extLst>
          </p:cNvPr>
          <p:cNvSpPr>
            <a:spLocks noGrp="1"/>
          </p:cNvSpPr>
          <p:nvPr>
            <p:ph type="body" sz="quarter" idx="18" hasCustomPrompt="1"/>
          </p:nvPr>
        </p:nvSpPr>
        <p:spPr>
          <a:xfrm>
            <a:off x="3347021" y="2252677"/>
            <a:ext cx="2178671" cy="161583"/>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050" b="0">
                <a:solidFill>
                  <a:schemeClr val="accent3"/>
                </a:solidFill>
                <a:latin typeface="Segoe UI Semilight" panose="020B0402040204020203" pitchFamily="34" charset="0"/>
                <a:cs typeface="Segoe UI Semilight" panose="020B0402040204020203" pitchFamily="34" charset="0"/>
              </a:defRPr>
            </a:lvl1pPr>
            <a:lvl2pPr>
              <a:defRPr sz="1500"/>
            </a:lvl2pPr>
            <a:lvl3pPr>
              <a:defRPr sz="1350"/>
            </a:lvl3pPr>
            <a:lvl4pPr>
              <a:defRPr sz="1200"/>
            </a:lvl4pPr>
            <a:lvl5pPr>
              <a:defRPr sz="1200"/>
            </a:lvl5pPr>
          </a:lstStyle>
          <a:p>
            <a:pPr lvl="0"/>
            <a:r>
              <a:rPr lang="en-US"/>
              <a:t>Enter paragraph content here</a:t>
            </a:r>
          </a:p>
        </p:txBody>
      </p:sp>
      <p:sp>
        <p:nvSpPr>
          <p:cNvPr id="30" name="Text Placeholder 8">
            <a:extLst>
              <a:ext uri="{FF2B5EF4-FFF2-40B4-BE49-F238E27FC236}">
                <a16:creationId xmlns:a16="http://schemas.microsoft.com/office/drawing/2014/main" id="{CB80BD76-55E7-470A-B254-80CB4E770840}"/>
              </a:ext>
            </a:extLst>
          </p:cNvPr>
          <p:cNvSpPr>
            <a:spLocks noGrp="1"/>
          </p:cNvSpPr>
          <p:nvPr>
            <p:ph type="body" sz="quarter" idx="19" hasCustomPrompt="1"/>
          </p:nvPr>
        </p:nvSpPr>
        <p:spPr>
          <a:xfrm>
            <a:off x="377458" y="3676658"/>
            <a:ext cx="2178671" cy="161583"/>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050" b="0">
                <a:solidFill>
                  <a:schemeClr val="accent3"/>
                </a:solidFill>
                <a:latin typeface="Segoe UI Semilight" panose="020B0402040204020203" pitchFamily="34" charset="0"/>
                <a:cs typeface="Segoe UI Semilight" panose="020B0402040204020203" pitchFamily="34" charset="0"/>
              </a:defRPr>
            </a:lvl1pPr>
            <a:lvl2pPr>
              <a:defRPr sz="1500"/>
            </a:lvl2pPr>
            <a:lvl3pPr>
              <a:defRPr sz="1350"/>
            </a:lvl3pPr>
            <a:lvl4pPr>
              <a:defRPr sz="1200"/>
            </a:lvl4pPr>
            <a:lvl5pPr>
              <a:defRPr sz="1200"/>
            </a:lvl5pPr>
          </a:lstStyle>
          <a:p>
            <a:pPr lvl="0"/>
            <a:r>
              <a:rPr lang="en-US"/>
              <a:t>Enter paragraph content here</a:t>
            </a:r>
          </a:p>
        </p:txBody>
      </p:sp>
      <p:sp>
        <p:nvSpPr>
          <p:cNvPr id="31" name="Text Placeholder 8">
            <a:extLst>
              <a:ext uri="{FF2B5EF4-FFF2-40B4-BE49-F238E27FC236}">
                <a16:creationId xmlns:a16="http://schemas.microsoft.com/office/drawing/2014/main" id="{23006E18-95C1-4437-922A-8A528443EFB7}"/>
              </a:ext>
            </a:extLst>
          </p:cNvPr>
          <p:cNvSpPr>
            <a:spLocks noGrp="1"/>
          </p:cNvSpPr>
          <p:nvPr>
            <p:ph type="body" sz="quarter" idx="20" hasCustomPrompt="1"/>
          </p:nvPr>
        </p:nvSpPr>
        <p:spPr>
          <a:xfrm>
            <a:off x="3347021" y="3676658"/>
            <a:ext cx="2178671" cy="161583"/>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050" b="0">
                <a:solidFill>
                  <a:schemeClr val="accent3"/>
                </a:solidFill>
                <a:latin typeface="Segoe UI Semilight" panose="020B0402040204020203" pitchFamily="34" charset="0"/>
                <a:cs typeface="Segoe UI Semilight" panose="020B0402040204020203" pitchFamily="34" charset="0"/>
              </a:defRPr>
            </a:lvl1pPr>
            <a:lvl2pPr>
              <a:defRPr sz="1500"/>
            </a:lvl2pPr>
            <a:lvl3pPr>
              <a:defRPr sz="1350"/>
            </a:lvl3pPr>
            <a:lvl4pPr>
              <a:defRPr sz="1200"/>
            </a:lvl4pPr>
            <a:lvl5pPr>
              <a:defRPr sz="1200"/>
            </a:lvl5pPr>
          </a:lstStyle>
          <a:p>
            <a:pPr lvl="0"/>
            <a:r>
              <a:rPr lang="en-US"/>
              <a:t>Enter paragraph content here</a:t>
            </a:r>
          </a:p>
        </p:txBody>
      </p:sp>
      <p:sp>
        <p:nvSpPr>
          <p:cNvPr id="14" name="Text Placeholder 8">
            <a:extLst>
              <a:ext uri="{FF2B5EF4-FFF2-40B4-BE49-F238E27FC236}">
                <a16:creationId xmlns:a16="http://schemas.microsoft.com/office/drawing/2014/main" id="{F99353E4-98CA-4C2F-87D0-51C868862F88}"/>
              </a:ext>
            </a:extLst>
          </p:cNvPr>
          <p:cNvSpPr>
            <a:spLocks noGrp="1"/>
          </p:cNvSpPr>
          <p:nvPr>
            <p:ph type="body" sz="quarter" idx="21" hasCustomPrompt="1"/>
          </p:nvPr>
        </p:nvSpPr>
        <p:spPr>
          <a:xfrm>
            <a:off x="6080953" y="1943666"/>
            <a:ext cx="2178671" cy="184666"/>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200" b="1">
                <a:solidFill>
                  <a:schemeClr val="tx2"/>
                </a:solidFill>
                <a:latin typeface="Segoe UI Semibold" panose="020B0702040204020203" pitchFamily="34" charset="0"/>
                <a:cs typeface="Segoe UI Semibold" panose="020B0702040204020203" pitchFamily="34" charset="0"/>
              </a:defRPr>
            </a:lvl1pPr>
            <a:lvl2pPr>
              <a:defRPr sz="1500"/>
            </a:lvl2pPr>
            <a:lvl3pPr>
              <a:defRPr sz="1350"/>
            </a:lvl3pPr>
            <a:lvl4pPr>
              <a:defRPr sz="1200"/>
            </a:lvl4pPr>
            <a:lvl5pPr>
              <a:defRPr sz="1200"/>
            </a:lvl5pPr>
          </a:lstStyle>
          <a:p>
            <a:pPr lvl="0"/>
            <a:r>
              <a:rPr lang="en-US"/>
              <a:t>Enter title here</a:t>
            </a:r>
          </a:p>
        </p:txBody>
      </p:sp>
      <p:sp>
        <p:nvSpPr>
          <p:cNvPr id="15" name="Text Placeholder 8">
            <a:extLst>
              <a:ext uri="{FF2B5EF4-FFF2-40B4-BE49-F238E27FC236}">
                <a16:creationId xmlns:a16="http://schemas.microsoft.com/office/drawing/2014/main" id="{CCAB69E1-75A6-4636-A69D-EFEEDBF2F4AD}"/>
              </a:ext>
            </a:extLst>
          </p:cNvPr>
          <p:cNvSpPr>
            <a:spLocks noGrp="1"/>
          </p:cNvSpPr>
          <p:nvPr>
            <p:ph type="body" sz="quarter" idx="22" hasCustomPrompt="1"/>
          </p:nvPr>
        </p:nvSpPr>
        <p:spPr>
          <a:xfrm>
            <a:off x="6080953" y="3397382"/>
            <a:ext cx="2178671" cy="184666"/>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200" b="1">
                <a:solidFill>
                  <a:schemeClr val="tx2"/>
                </a:solidFill>
                <a:latin typeface="Segoe UI Semibold" panose="020B0702040204020203" pitchFamily="34" charset="0"/>
                <a:cs typeface="Segoe UI Semibold" panose="020B0702040204020203" pitchFamily="34" charset="0"/>
              </a:defRPr>
            </a:lvl1pPr>
            <a:lvl2pPr>
              <a:defRPr sz="1500"/>
            </a:lvl2pPr>
            <a:lvl3pPr>
              <a:defRPr sz="1350"/>
            </a:lvl3pPr>
            <a:lvl4pPr>
              <a:defRPr sz="1200"/>
            </a:lvl4pPr>
            <a:lvl5pPr>
              <a:defRPr sz="1200"/>
            </a:lvl5pPr>
          </a:lstStyle>
          <a:p>
            <a:pPr lvl="0"/>
            <a:r>
              <a:rPr lang="en-US"/>
              <a:t>Enter title here</a:t>
            </a:r>
          </a:p>
        </p:txBody>
      </p:sp>
      <p:sp>
        <p:nvSpPr>
          <p:cNvPr id="16" name="Text Placeholder 8">
            <a:extLst>
              <a:ext uri="{FF2B5EF4-FFF2-40B4-BE49-F238E27FC236}">
                <a16:creationId xmlns:a16="http://schemas.microsoft.com/office/drawing/2014/main" id="{008D5CE4-A5FB-400E-98AB-A69236EEFBF9}"/>
              </a:ext>
            </a:extLst>
          </p:cNvPr>
          <p:cNvSpPr>
            <a:spLocks noGrp="1"/>
          </p:cNvSpPr>
          <p:nvPr>
            <p:ph type="body" sz="quarter" idx="23" hasCustomPrompt="1"/>
          </p:nvPr>
        </p:nvSpPr>
        <p:spPr>
          <a:xfrm>
            <a:off x="6080953" y="2252677"/>
            <a:ext cx="2178671" cy="161583"/>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050" b="0">
                <a:solidFill>
                  <a:schemeClr val="accent3"/>
                </a:solidFill>
                <a:latin typeface="Segoe UI Semilight" panose="020B0402040204020203" pitchFamily="34" charset="0"/>
                <a:cs typeface="Segoe UI Semilight" panose="020B0402040204020203" pitchFamily="34" charset="0"/>
              </a:defRPr>
            </a:lvl1pPr>
            <a:lvl2pPr>
              <a:defRPr sz="1500"/>
            </a:lvl2pPr>
            <a:lvl3pPr>
              <a:defRPr sz="1350"/>
            </a:lvl3pPr>
            <a:lvl4pPr>
              <a:defRPr sz="1200"/>
            </a:lvl4pPr>
            <a:lvl5pPr>
              <a:defRPr sz="1200"/>
            </a:lvl5pPr>
          </a:lstStyle>
          <a:p>
            <a:pPr lvl="0"/>
            <a:r>
              <a:rPr lang="en-US"/>
              <a:t>Enter paragraph content here</a:t>
            </a:r>
          </a:p>
        </p:txBody>
      </p:sp>
      <p:sp>
        <p:nvSpPr>
          <p:cNvPr id="17" name="Text Placeholder 8">
            <a:extLst>
              <a:ext uri="{FF2B5EF4-FFF2-40B4-BE49-F238E27FC236}">
                <a16:creationId xmlns:a16="http://schemas.microsoft.com/office/drawing/2014/main" id="{1E0F357F-6020-4256-8238-59F1B19794FF}"/>
              </a:ext>
            </a:extLst>
          </p:cNvPr>
          <p:cNvSpPr>
            <a:spLocks noGrp="1"/>
          </p:cNvSpPr>
          <p:nvPr>
            <p:ph type="body" sz="quarter" idx="24" hasCustomPrompt="1"/>
          </p:nvPr>
        </p:nvSpPr>
        <p:spPr>
          <a:xfrm>
            <a:off x="6080953" y="3676658"/>
            <a:ext cx="2178671" cy="161583"/>
          </a:xfrm>
          <a:prstGeom prst="rect">
            <a:avLst/>
          </a:prstGeom>
        </p:spPr>
        <p:txBody>
          <a:bodyPr lIns="0" tIns="0" rIns="0" bIns="0">
            <a:spAutoFit/>
          </a:bodyPr>
          <a:lstStyle>
            <a:lvl1pPr marL="0" marR="0" indent="0" algn="l" defTabSz="685669" rtl="0" eaLnBrk="1" fontAlgn="auto" latinLnBrk="0" hangingPunct="1">
              <a:lnSpc>
                <a:spcPct val="100000"/>
              </a:lnSpc>
              <a:spcBef>
                <a:spcPts val="0"/>
              </a:spcBef>
              <a:spcAft>
                <a:spcPts val="900"/>
              </a:spcAft>
              <a:buClrTx/>
              <a:buSzTx/>
              <a:buFont typeface="+mj-lt"/>
              <a:buNone/>
              <a:tabLst/>
              <a:defRPr sz="1050" b="0">
                <a:solidFill>
                  <a:schemeClr val="accent3"/>
                </a:solidFill>
                <a:latin typeface="Segoe UI Semilight" panose="020B0402040204020203" pitchFamily="34" charset="0"/>
                <a:cs typeface="Segoe UI Semilight" panose="020B0402040204020203" pitchFamily="34" charset="0"/>
              </a:defRPr>
            </a:lvl1pPr>
            <a:lvl2pPr>
              <a:defRPr sz="1500"/>
            </a:lvl2pPr>
            <a:lvl3pPr>
              <a:defRPr sz="1350"/>
            </a:lvl3pPr>
            <a:lvl4pPr>
              <a:defRPr sz="1200"/>
            </a:lvl4pPr>
            <a:lvl5pPr>
              <a:defRPr sz="1200"/>
            </a:lvl5pPr>
          </a:lstStyle>
          <a:p>
            <a:pPr lvl="0"/>
            <a:r>
              <a:rPr lang="en-US"/>
              <a:t>Enter paragraph content here</a:t>
            </a:r>
          </a:p>
        </p:txBody>
      </p:sp>
      <p:sp>
        <p:nvSpPr>
          <p:cNvPr id="20" name="Title 9">
            <a:extLst>
              <a:ext uri="{FF2B5EF4-FFF2-40B4-BE49-F238E27FC236}">
                <a16:creationId xmlns:a16="http://schemas.microsoft.com/office/drawing/2014/main" id="{5698A417-C916-4F3D-89ED-3E8A3A26DC37}"/>
              </a:ext>
            </a:extLst>
          </p:cNvPr>
          <p:cNvSpPr>
            <a:spLocks noGrp="1"/>
          </p:cNvSpPr>
          <p:nvPr>
            <p:ph type="title"/>
          </p:nvPr>
        </p:nvSpPr>
        <p:spPr>
          <a:xfrm>
            <a:off x="377457" y="497757"/>
            <a:ext cx="4302492" cy="332399"/>
          </a:xfrm>
          <a:prstGeom prst="rect">
            <a:avLst/>
          </a:prstGeom>
        </p:spPr>
        <p:txBody>
          <a:bodyPr wrap="square" lIns="0" tIns="0" rIns="0" bIns="0">
            <a:spAutoFit/>
          </a:bodyPr>
          <a:lstStyle>
            <a:lvl1pPr>
              <a:defRPr sz="2400">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21" name="Text Placeholder 12">
            <a:extLst>
              <a:ext uri="{FF2B5EF4-FFF2-40B4-BE49-F238E27FC236}">
                <a16:creationId xmlns:a16="http://schemas.microsoft.com/office/drawing/2014/main" id="{2BF0F590-1780-41B4-B2F0-15E83C83EEB5}"/>
              </a:ext>
            </a:extLst>
          </p:cNvPr>
          <p:cNvSpPr>
            <a:spLocks noGrp="1"/>
          </p:cNvSpPr>
          <p:nvPr>
            <p:ph type="body" sz="quarter" idx="10" hasCustomPrompt="1"/>
          </p:nvPr>
        </p:nvSpPr>
        <p:spPr>
          <a:xfrm>
            <a:off x="377458" y="910038"/>
            <a:ext cx="2299854" cy="207749"/>
          </a:xfrm>
          <a:prstGeom prst="rect">
            <a:avLst/>
          </a:prstGeom>
        </p:spPr>
        <p:txBody>
          <a:bodyPr wrap="square" lIns="0" tIns="0" rIns="0" bIns="0">
            <a:spAutoFit/>
          </a:bodyPr>
          <a:lstStyle>
            <a:lvl1pPr marL="0" indent="0">
              <a:buNone/>
              <a:defRPr sz="1350"/>
            </a:lvl1pPr>
          </a:lstStyle>
          <a:p>
            <a:pPr lvl="0"/>
            <a:r>
              <a:rPr lang="en-US"/>
              <a:t>Insert subtitle down here</a:t>
            </a:r>
          </a:p>
        </p:txBody>
      </p:sp>
    </p:spTree>
    <p:extLst>
      <p:ext uri="{BB962C8B-B14F-4D97-AF65-F5344CB8AC3E}">
        <p14:creationId xmlns:p14="http://schemas.microsoft.com/office/powerpoint/2010/main" val="314751514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7137777D-2E74-45FA-9043-4D43B344EFA5}"/>
              </a:ext>
            </a:extLst>
          </p:cNvPr>
          <p:cNvSpPr>
            <a:spLocks noGrp="1"/>
          </p:cNvSpPr>
          <p:nvPr>
            <p:ph type="body" sz="quarter" idx="11" hasCustomPrompt="1"/>
          </p:nvPr>
        </p:nvSpPr>
        <p:spPr>
          <a:xfrm>
            <a:off x="377457" y="2175111"/>
            <a:ext cx="2434452" cy="1384995"/>
          </a:xfrm>
          <a:prstGeom prst="rect">
            <a:avLst/>
          </a:prstGeom>
        </p:spPr>
        <p:txBody>
          <a:bodyPr wrap="square" lIns="0">
            <a:spAutoFit/>
          </a:bodyPr>
          <a:lstStyle>
            <a:lvl1pPr marL="342834" marR="0" indent="-342834" algn="l" defTabSz="685669" rtl="0" eaLnBrk="1" fontAlgn="auto" latinLnBrk="0" hangingPunct="1">
              <a:lnSpc>
                <a:spcPct val="100000"/>
              </a:lnSpc>
              <a:spcBef>
                <a:spcPts val="0"/>
              </a:spcBef>
              <a:spcAft>
                <a:spcPts val="900"/>
              </a:spcAft>
              <a:buClrTx/>
              <a:buSzTx/>
              <a:buFont typeface="+mj-lt"/>
              <a:buAutoNum type="arabicPeriod"/>
              <a:tabLst/>
              <a:defRPr sz="1200" b="0">
                <a:solidFill>
                  <a:schemeClr val="accent3"/>
                </a:solidFill>
                <a:latin typeface="Segoe UI Semilight" panose="020B0402040204020203" pitchFamily="34" charset="0"/>
                <a:cs typeface="Segoe UI Semilight" panose="020B0402040204020203" pitchFamily="34" charset="0"/>
              </a:defRPr>
            </a:lvl1pPr>
            <a:lvl2pPr>
              <a:defRPr sz="1500"/>
            </a:lvl2pPr>
            <a:lvl3pPr>
              <a:defRPr sz="1350"/>
            </a:lvl3pPr>
            <a:lvl4pPr>
              <a:defRPr sz="1200"/>
            </a:lvl4pPr>
            <a:lvl5pPr>
              <a:defRPr sz="1200"/>
            </a:lvl5pPr>
          </a:lstStyle>
          <a:p>
            <a:pPr lvl="0"/>
            <a:r>
              <a:rPr lang="en-US"/>
              <a:t>Enter line one content</a:t>
            </a:r>
          </a:p>
          <a:p>
            <a:pPr lvl="0"/>
            <a:r>
              <a:rPr lang="en-US"/>
              <a:t>Enter line two content</a:t>
            </a:r>
          </a:p>
          <a:p>
            <a:pPr lvl="0"/>
            <a:r>
              <a:rPr lang="en-US"/>
              <a:t>Enter line three content</a:t>
            </a:r>
          </a:p>
          <a:p>
            <a:pPr lvl="0"/>
            <a:r>
              <a:rPr lang="en-US"/>
              <a:t>Enter line four content</a:t>
            </a:r>
          </a:p>
          <a:p>
            <a:pPr lvl="0"/>
            <a:endParaRPr lang="en-US"/>
          </a:p>
        </p:txBody>
      </p:sp>
      <p:sp>
        <p:nvSpPr>
          <p:cNvPr id="7" name="Text Placeholder 8">
            <a:extLst>
              <a:ext uri="{FF2B5EF4-FFF2-40B4-BE49-F238E27FC236}">
                <a16:creationId xmlns:a16="http://schemas.microsoft.com/office/drawing/2014/main" id="{15AAB6E8-3A57-402A-8ECA-1114A7862362}"/>
              </a:ext>
            </a:extLst>
          </p:cNvPr>
          <p:cNvSpPr>
            <a:spLocks noGrp="1"/>
          </p:cNvSpPr>
          <p:nvPr>
            <p:ph type="body" sz="quarter" idx="12" hasCustomPrompt="1"/>
          </p:nvPr>
        </p:nvSpPr>
        <p:spPr>
          <a:xfrm>
            <a:off x="3270689" y="2175111"/>
            <a:ext cx="2434452" cy="1384995"/>
          </a:xfrm>
          <a:prstGeom prst="rect">
            <a:avLst/>
          </a:prstGeom>
        </p:spPr>
        <p:txBody>
          <a:bodyPr wrap="square" lIns="0">
            <a:spAutoFit/>
          </a:bodyPr>
          <a:lstStyle>
            <a:lvl1pPr marL="342834" marR="0" indent="-342834" algn="l" defTabSz="685669" rtl="0" eaLnBrk="1" fontAlgn="auto" latinLnBrk="0" hangingPunct="1">
              <a:lnSpc>
                <a:spcPct val="100000"/>
              </a:lnSpc>
              <a:spcBef>
                <a:spcPts val="0"/>
              </a:spcBef>
              <a:spcAft>
                <a:spcPts val="900"/>
              </a:spcAft>
              <a:buClrTx/>
              <a:buSzTx/>
              <a:buFont typeface="+mj-lt"/>
              <a:buAutoNum type="arabicPeriod"/>
              <a:tabLst/>
              <a:defRPr sz="1200" b="0">
                <a:solidFill>
                  <a:schemeClr val="accent3"/>
                </a:solidFill>
                <a:latin typeface="Segoe UI Semilight" panose="020B0402040204020203" pitchFamily="34" charset="0"/>
                <a:cs typeface="Segoe UI Semilight" panose="020B0402040204020203" pitchFamily="34" charset="0"/>
              </a:defRPr>
            </a:lvl1pPr>
            <a:lvl2pPr>
              <a:defRPr sz="1500"/>
            </a:lvl2pPr>
            <a:lvl3pPr>
              <a:defRPr sz="1350"/>
            </a:lvl3pPr>
            <a:lvl4pPr>
              <a:defRPr sz="1200"/>
            </a:lvl4pPr>
            <a:lvl5pPr>
              <a:defRPr sz="1200"/>
            </a:lvl5pPr>
          </a:lstStyle>
          <a:p>
            <a:pPr lvl="0"/>
            <a:r>
              <a:rPr lang="en-US"/>
              <a:t>Enter line one content</a:t>
            </a:r>
          </a:p>
          <a:p>
            <a:pPr lvl="0"/>
            <a:r>
              <a:rPr lang="en-US"/>
              <a:t>Enter line two content</a:t>
            </a:r>
          </a:p>
          <a:p>
            <a:pPr lvl="0"/>
            <a:r>
              <a:rPr lang="en-US"/>
              <a:t>Enter line three content</a:t>
            </a:r>
          </a:p>
          <a:p>
            <a:pPr lvl="0"/>
            <a:r>
              <a:rPr lang="en-US"/>
              <a:t>Enter line four content</a:t>
            </a:r>
          </a:p>
          <a:p>
            <a:pPr lvl="0"/>
            <a:endParaRPr lang="en-US"/>
          </a:p>
        </p:txBody>
      </p:sp>
      <p:sp>
        <p:nvSpPr>
          <p:cNvPr id="6" name="Text Placeholder 8">
            <a:extLst>
              <a:ext uri="{FF2B5EF4-FFF2-40B4-BE49-F238E27FC236}">
                <a16:creationId xmlns:a16="http://schemas.microsoft.com/office/drawing/2014/main" id="{344852DD-F4B5-425E-B05A-00C9BC89C8A4}"/>
              </a:ext>
            </a:extLst>
          </p:cNvPr>
          <p:cNvSpPr>
            <a:spLocks noGrp="1"/>
          </p:cNvSpPr>
          <p:nvPr>
            <p:ph type="body" sz="quarter" idx="13" hasCustomPrompt="1"/>
          </p:nvPr>
        </p:nvSpPr>
        <p:spPr>
          <a:xfrm>
            <a:off x="6163920" y="2175111"/>
            <a:ext cx="2434452" cy="1384995"/>
          </a:xfrm>
          <a:prstGeom prst="rect">
            <a:avLst/>
          </a:prstGeom>
        </p:spPr>
        <p:txBody>
          <a:bodyPr wrap="square" lIns="0">
            <a:spAutoFit/>
          </a:bodyPr>
          <a:lstStyle>
            <a:lvl1pPr marL="342834" marR="0" indent="-342834" algn="l" defTabSz="685669" rtl="0" eaLnBrk="1" fontAlgn="auto" latinLnBrk="0" hangingPunct="1">
              <a:lnSpc>
                <a:spcPct val="100000"/>
              </a:lnSpc>
              <a:spcBef>
                <a:spcPts val="0"/>
              </a:spcBef>
              <a:spcAft>
                <a:spcPts val="900"/>
              </a:spcAft>
              <a:buClrTx/>
              <a:buSzTx/>
              <a:buFont typeface="+mj-lt"/>
              <a:buAutoNum type="arabicPeriod"/>
              <a:tabLst/>
              <a:defRPr sz="1200" b="0">
                <a:solidFill>
                  <a:schemeClr val="accent3"/>
                </a:solidFill>
                <a:latin typeface="Segoe UI Semilight" panose="020B0402040204020203" pitchFamily="34" charset="0"/>
                <a:cs typeface="Segoe UI Semilight" panose="020B0402040204020203" pitchFamily="34" charset="0"/>
              </a:defRPr>
            </a:lvl1pPr>
            <a:lvl2pPr>
              <a:defRPr sz="1500"/>
            </a:lvl2pPr>
            <a:lvl3pPr>
              <a:defRPr sz="1350"/>
            </a:lvl3pPr>
            <a:lvl4pPr>
              <a:defRPr sz="1200"/>
            </a:lvl4pPr>
            <a:lvl5pPr>
              <a:defRPr sz="1200"/>
            </a:lvl5pPr>
          </a:lstStyle>
          <a:p>
            <a:pPr lvl="0"/>
            <a:r>
              <a:rPr lang="en-US"/>
              <a:t>Enter line one content</a:t>
            </a:r>
          </a:p>
          <a:p>
            <a:pPr lvl="0"/>
            <a:r>
              <a:rPr lang="en-US"/>
              <a:t>Enter line two content</a:t>
            </a:r>
          </a:p>
          <a:p>
            <a:pPr lvl="0"/>
            <a:r>
              <a:rPr lang="en-US"/>
              <a:t>Enter line three content</a:t>
            </a:r>
          </a:p>
          <a:p>
            <a:pPr lvl="0"/>
            <a:r>
              <a:rPr lang="en-US"/>
              <a:t>Enter line four content</a:t>
            </a:r>
          </a:p>
          <a:p>
            <a:pPr lvl="0"/>
            <a:endParaRPr lang="en-US"/>
          </a:p>
        </p:txBody>
      </p:sp>
      <p:sp>
        <p:nvSpPr>
          <p:cNvPr id="8" name="Text Placeholder 8">
            <a:extLst>
              <a:ext uri="{FF2B5EF4-FFF2-40B4-BE49-F238E27FC236}">
                <a16:creationId xmlns:a16="http://schemas.microsoft.com/office/drawing/2014/main" id="{17A17963-98DC-4BA8-8F2F-C24761A51C10}"/>
              </a:ext>
            </a:extLst>
          </p:cNvPr>
          <p:cNvSpPr>
            <a:spLocks noGrp="1"/>
          </p:cNvSpPr>
          <p:nvPr>
            <p:ph type="body" sz="quarter" idx="14" hasCustomPrompt="1"/>
          </p:nvPr>
        </p:nvSpPr>
        <p:spPr>
          <a:xfrm>
            <a:off x="377456" y="1766570"/>
            <a:ext cx="2434452" cy="184666"/>
          </a:xfrm>
          <a:prstGeom prst="rect">
            <a:avLst/>
          </a:prstGeom>
        </p:spPr>
        <p:txBody>
          <a:bodyPr wrap="square" lIns="0">
            <a:spAutoFit/>
          </a:bodyPr>
          <a:lstStyle>
            <a:lvl1pPr marL="0" marR="0" indent="0" algn="l" defTabSz="685669" rtl="0" eaLnBrk="1" fontAlgn="auto" latinLnBrk="0" hangingPunct="1">
              <a:lnSpc>
                <a:spcPct val="100000"/>
              </a:lnSpc>
              <a:spcBef>
                <a:spcPts val="0"/>
              </a:spcBef>
              <a:spcAft>
                <a:spcPts val="900"/>
              </a:spcAft>
              <a:buClr>
                <a:schemeClr val="accent1"/>
              </a:buClr>
              <a:buSzTx/>
              <a:buFont typeface="Arial" panose="020B0604020202020204" pitchFamily="34" charset="0"/>
              <a:buNone/>
              <a:tabLst/>
              <a:defRPr sz="1200" b="0">
                <a:solidFill>
                  <a:schemeClr val="accent2"/>
                </a:solidFill>
                <a:latin typeface="Segoe UI Semibold" panose="020B0702040204020203" pitchFamily="34" charset="0"/>
                <a:cs typeface="Segoe UI Semibold" panose="020B0702040204020203" pitchFamily="34" charset="0"/>
              </a:defRPr>
            </a:lvl1pPr>
            <a:lvl2pPr>
              <a:defRPr sz="1500"/>
            </a:lvl2pPr>
            <a:lvl3pPr>
              <a:defRPr sz="1350"/>
            </a:lvl3pPr>
            <a:lvl4pPr>
              <a:defRPr sz="1200"/>
            </a:lvl4pPr>
            <a:lvl5pPr>
              <a:defRPr sz="1200"/>
            </a:lvl5pPr>
          </a:lstStyle>
          <a:p>
            <a:pPr lvl="0"/>
            <a:r>
              <a:rPr lang="en-US"/>
              <a:t>Enter line one content</a:t>
            </a:r>
          </a:p>
        </p:txBody>
      </p:sp>
      <p:sp>
        <p:nvSpPr>
          <p:cNvPr id="10" name="Text Placeholder 8">
            <a:extLst>
              <a:ext uri="{FF2B5EF4-FFF2-40B4-BE49-F238E27FC236}">
                <a16:creationId xmlns:a16="http://schemas.microsoft.com/office/drawing/2014/main" id="{7D0D314A-5E1E-4FA1-9321-CD3227520497}"/>
              </a:ext>
            </a:extLst>
          </p:cNvPr>
          <p:cNvSpPr>
            <a:spLocks noGrp="1"/>
          </p:cNvSpPr>
          <p:nvPr>
            <p:ph type="body" sz="quarter" idx="15" hasCustomPrompt="1"/>
          </p:nvPr>
        </p:nvSpPr>
        <p:spPr>
          <a:xfrm>
            <a:off x="3270689" y="1766570"/>
            <a:ext cx="2434452" cy="184666"/>
          </a:xfrm>
          <a:prstGeom prst="rect">
            <a:avLst/>
          </a:prstGeom>
        </p:spPr>
        <p:txBody>
          <a:bodyPr wrap="square" lIns="0">
            <a:spAutoFit/>
          </a:bodyPr>
          <a:lstStyle>
            <a:lvl1pPr marL="0" marR="0" indent="0" algn="l" defTabSz="685669" rtl="0" eaLnBrk="1" fontAlgn="auto" latinLnBrk="0" hangingPunct="1">
              <a:lnSpc>
                <a:spcPct val="100000"/>
              </a:lnSpc>
              <a:spcBef>
                <a:spcPts val="0"/>
              </a:spcBef>
              <a:spcAft>
                <a:spcPts val="900"/>
              </a:spcAft>
              <a:buClr>
                <a:schemeClr val="accent1"/>
              </a:buClr>
              <a:buSzTx/>
              <a:buFont typeface="Arial" panose="020B0604020202020204" pitchFamily="34" charset="0"/>
              <a:buNone/>
              <a:tabLst/>
              <a:defRPr sz="1200" b="0">
                <a:solidFill>
                  <a:schemeClr val="accent2"/>
                </a:solidFill>
                <a:latin typeface="Segoe UI Semibold" panose="020B0702040204020203" pitchFamily="34" charset="0"/>
                <a:cs typeface="Segoe UI Semibold" panose="020B0702040204020203" pitchFamily="34" charset="0"/>
              </a:defRPr>
            </a:lvl1pPr>
            <a:lvl2pPr>
              <a:defRPr sz="1500"/>
            </a:lvl2pPr>
            <a:lvl3pPr>
              <a:defRPr sz="1350"/>
            </a:lvl3pPr>
            <a:lvl4pPr>
              <a:defRPr sz="1200"/>
            </a:lvl4pPr>
            <a:lvl5pPr>
              <a:defRPr sz="1200"/>
            </a:lvl5pPr>
          </a:lstStyle>
          <a:p>
            <a:pPr lvl="0"/>
            <a:r>
              <a:rPr lang="en-US"/>
              <a:t>Enter line one content</a:t>
            </a:r>
          </a:p>
        </p:txBody>
      </p:sp>
      <p:sp>
        <p:nvSpPr>
          <p:cNvPr id="11" name="Text Placeholder 8">
            <a:extLst>
              <a:ext uri="{FF2B5EF4-FFF2-40B4-BE49-F238E27FC236}">
                <a16:creationId xmlns:a16="http://schemas.microsoft.com/office/drawing/2014/main" id="{BD7DBBC1-CEEE-4C8A-B844-1EFB37D22A6C}"/>
              </a:ext>
            </a:extLst>
          </p:cNvPr>
          <p:cNvSpPr>
            <a:spLocks noGrp="1"/>
          </p:cNvSpPr>
          <p:nvPr>
            <p:ph type="body" sz="quarter" idx="16" hasCustomPrompt="1"/>
          </p:nvPr>
        </p:nvSpPr>
        <p:spPr>
          <a:xfrm>
            <a:off x="6163920" y="1766570"/>
            <a:ext cx="2434452" cy="184666"/>
          </a:xfrm>
          <a:prstGeom prst="rect">
            <a:avLst/>
          </a:prstGeom>
        </p:spPr>
        <p:txBody>
          <a:bodyPr wrap="square" lIns="0">
            <a:spAutoFit/>
          </a:bodyPr>
          <a:lstStyle>
            <a:lvl1pPr marL="0" marR="0" indent="0" algn="l" defTabSz="685669" rtl="0" eaLnBrk="1" fontAlgn="auto" latinLnBrk="0" hangingPunct="1">
              <a:lnSpc>
                <a:spcPct val="100000"/>
              </a:lnSpc>
              <a:spcBef>
                <a:spcPts val="0"/>
              </a:spcBef>
              <a:spcAft>
                <a:spcPts val="900"/>
              </a:spcAft>
              <a:buClr>
                <a:schemeClr val="accent1"/>
              </a:buClr>
              <a:buSzTx/>
              <a:buFont typeface="Arial" panose="020B0604020202020204" pitchFamily="34" charset="0"/>
              <a:buNone/>
              <a:tabLst/>
              <a:defRPr sz="1200" b="0">
                <a:solidFill>
                  <a:schemeClr val="accent2"/>
                </a:solidFill>
                <a:latin typeface="Segoe UI Semibold" panose="020B0702040204020203" pitchFamily="34" charset="0"/>
                <a:cs typeface="Segoe UI Semibold" panose="020B0702040204020203" pitchFamily="34" charset="0"/>
              </a:defRPr>
            </a:lvl1pPr>
            <a:lvl2pPr>
              <a:defRPr sz="1500"/>
            </a:lvl2pPr>
            <a:lvl3pPr>
              <a:defRPr sz="1350"/>
            </a:lvl3pPr>
            <a:lvl4pPr>
              <a:defRPr sz="1200"/>
            </a:lvl4pPr>
            <a:lvl5pPr>
              <a:defRPr sz="1200"/>
            </a:lvl5pPr>
          </a:lstStyle>
          <a:p>
            <a:pPr lvl="0"/>
            <a:r>
              <a:rPr lang="en-US"/>
              <a:t>Enter line one content</a:t>
            </a:r>
          </a:p>
        </p:txBody>
      </p:sp>
      <p:sp>
        <p:nvSpPr>
          <p:cNvPr id="14" name="Title 9">
            <a:extLst>
              <a:ext uri="{FF2B5EF4-FFF2-40B4-BE49-F238E27FC236}">
                <a16:creationId xmlns:a16="http://schemas.microsoft.com/office/drawing/2014/main" id="{4DF9E227-7226-4AD9-A8BB-F65C1FB24E8A}"/>
              </a:ext>
            </a:extLst>
          </p:cNvPr>
          <p:cNvSpPr>
            <a:spLocks noGrp="1"/>
          </p:cNvSpPr>
          <p:nvPr>
            <p:ph type="title"/>
          </p:nvPr>
        </p:nvSpPr>
        <p:spPr>
          <a:xfrm>
            <a:off x="377457" y="497757"/>
            <a:ext cx="4302492" cy="332399"/>
          </a:xfrm>
          <a:prstGeom prst="rect">
            <a:avLst/>
          </a:prstGeom>
        </p:spPr>
        <p:txBody>
          <a:bodyPr wrap="square" lIns="0" tIns="0" rIns="0" bIns="0">
            <a:spAutoFit/>
          </a:bodyPr>
          <a:lstStyle>
            <a:lvl1pPr>
              <a:defRPr sz="2400">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26242146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Content Half Left">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342900" y="1484285"/>
            <a:ext cx="3086100" cy="914096"/>
          </a:xfrm>
          <a:prstGeom prst="rect">
            <a:avLst/>
          </a:prstGeom>
        </p:spPr>
        <p:txBody>
          <a:bodyPr vert="horz" wrap="square" lIns="0" tIns="0" rIns="0" bIns="0" rtlCol="0" anchor="b">
            <a:spAutoFit/>
          </a:bodyPr>
          <a:lstStyle>
            <a:lvl1pPr>
              <a:defRPr sz="33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342900" y="2398382"/>
            <a:ext cx="3086100" cy="553998"/>
          </a:xfrm>
        </p:spPr>
        <p:txBody>
          <a:bodyPr>
            <a:spAutoFit/>
          </a:bodyPr>
          <a:lstStyle>
            <a:lvl1pPr marL="0" indent="0" algn="l">
              <a:spcBef>
                <a:spcPts val="0"/>
              </a:spcBef>
              <a:spcAft>
                <a:spcPts val="900"/>
              </a:spcAft>
              <a:buNone/>
              <a:defRPr sz="1800" b="1" i="0" spc="-45" baseline="0">
                <a:solidFill>
                  <a:schemeClr val="tx2"/>
                </a:solidFill>
                <a:latin typeface="Segoe UI Semibold" charset="0"/>
                <a:ea typeface="Segoe UI Semibold" charset="0"/>
                <a:cs typeface="Segoe UI Semibold" charset="0"/>
              </a:defRPr>
            </a:lvl1pPr>
            <a:lvl2pPr marL="342834" indent="0" algn="ctr">
              <a:buNone/>
              <a:defRPr sz="1500"/>
            </a:lvl2pPr>
            <a:lvl3pPr marL="685669" indent="0" algn="ctr">
              <a:buNone/>
              <a:defRPr sz="1350"/>
            </a:lvl3pPr>
            <a:lvl4pPr marL="1028503" indent="0" algn="ctr">
              <a:buNone/>
              <a:defRPr sz="1200"/>
            </a:lvl4pPr>
            <a:lvl5pPr marL="1371337" indent="0" algn="ctr">
              <a:buNone/>
              <a:defRPr sz="1200"/>
            </a:lvl5pPr>
            <a:lvl6pPr marL="1714171" indent="0" algn="ctr">
              <a:buNone/>
              <a:defRPr sz="1200"/>
            </a:lvl6pPr>
            <a:lvl7pPr marL="2057006" indent="0" algn="ctr">
              <a:buNone/>
              <a:defRPr sz="1200"/>
            </a:lvl7pPr>
            <a:lvl8pPr marL="2399839" indent="0" algn="ctr">
              <a:buNone/>
              <a:defRPr sz="1200"/>
            </a:lvl8pPr>
            <a:lvl9pPr marL="2742673" indent="0" algn="ctr">
              <a:buNone/>
              <a:defRPr sz="1200"/>
            </a:lvl9pPr>
          </a:lstStyle>
          <a:p>
            <a:r>
              <a:rPr lang="en-US"/>
              <a:t>Click to edit Master subtitle style</a:t>
            </a:r>
          </a:p>
        </p:txBody>
      </p:sp>
      <p:sp>
        <p:nvSpPr>
          <p:cNvPr id="2" name="Rectangle 1">
            <a:extLst>
              <a:ext uri="{FF2B5EF4-FFF2-40B4-BE49-F238E27FC236}">
                <a16:creationId xmlns:a16="http://schemas.microsoft.com/office/drawing/2014/main" id="{A2B61818-2F60-44E2-929C-E391BC061332}"/>
              </a:ext>
            </a:extLst>
          </p:cNvPr>
          <p:cNvSpPr/>
          <p:nvPr userDrawn="1"/>
        </p:nvSpPr>
        <p:spPr>
          <a:xfrm>
            <a:off x="4572000" y="0"/>
            <a:ext cx="4572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3621836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327284" y="4964265"/>
            <a:ext cx="8494564" cy="71302"/>
            <a:chOff x="445128" y="6559056"/>
            <a:chExt cx="11553197" cy="9696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48386" cy="96964"/>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13"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a:xfrm>
            <a:off x="319818" y="168085"/>
            <a:ext cx="8824182" cy="558011"/>
          </a:xfrm>
        </p:spPr>
        <p:txBody>
          <a:bodyPr/>
          <a:lstStyle/>
          <a:p>
            <a:r>
              <a:rPr lang="en-US"/>
              <a:t>Click to edit Master title style</a:t>
            </a:r>
          </a:p>
        </p:txBody>
      </p:sp>
    </p:spTree>
    <p:extLst>
      <p:ext uri="{BB962C8B-B14F-4D97-AF65-F5344CB8AC3E}">
        <p14:creationId xmlns:p14="http://schemas.microsoft.com/office/powerpoint/2010/main" val="247900487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319819" y="330371"/>
            <a:ext cx="8502029" cy="568517"/>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1314442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Bulleted Layout">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chemeClr val="tx2"/>
                </a:solidFill>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389437" y="1085850"/>
            <a:ext cx="8363938" cy="2221121"/>
          </a:xfrm>
        </p:spPr>
        <p:txBody>
          <a:bodyPr/>
          <a:lstStyle>
            <a:lvl1pPr marL="345151" indent="-345151">
              <a:buClr>
                <a:srgbClr val="FFFFFF"/>
              </a:buClr>
              <a:buSzPct val="70000"/>
              <a:buFontTx/>
              <a:buBlip>
                <a:blip r:embed="rId2"/>
              </a:buBlip>
              <a:defRPr sz="3000">
                <a:solidFill>
                  <a:schemeClr val="accent2"/>
                </a:solidFill>
              </a:defRPr>
            </a:lvl1pPr>
            <a:lvl2pPr marL="641512" indent="-296360">
              <a:buClr>
                <a:srgbClr val="FFFFFF"/>
              </a:buClr>
              <a:buSzPct val="70000"/>
              <a:buFontTx/>
              <a:buBlip>
                <a:blip r:embed="rId2"/>
              </a:buBlip>
              <a:defRPr sz="2400">
                <a:solidFill>
                  <a:schemeClr val="tx2"/>
                </a:solidFill>
              </a:defRPr>
            </a:lvl2pPr>
            <a:lvl3pPr marL="943822" indent="-302311">
              <a:buClr>
                <a:srgbClr val="FFFFFF"/>
              </a:buClr>
              <a:buSzPct val="70000"/>
              <a:buFontTx/>
              <a:buBlip>
                <a:blip r:embed="rId2"/>
              </a:buBlip>
              <a:defRPr sz="2100">
                <a:solidFill>
                  <a:schemeClr val="tx2"/>
                </a:solidFill>
              </a:defRPr>
            </a:lvl3pPr>
            <a:lvl4pPr marL="1203276" indent="-259460">
              <a:buClr>
                <a:srgbClr val="FFFFFF"/>
              </a:buClr>
              <a:buSzPct val="70000"/>
              <a:buFontTx/>
              <a:buBlip>
                <a:blip r:embed="rId2"/>
              </a:buBlip>
              <a:defRPr sz="1800">
                <a:solidFill>
                  <a:schemeClr val="tx2"/>
                </a:solidFill>
              </a:defRPr>
            </a:lvl4pPr>
            <a:lvl5pPr marL="1455603" indent="-252320">
              <a:buClr>
                <a:srgbClr val="FFFFFF"/>
              </a:buClr>
              <a:buSzPct val="70000"/>
              <a:buFontTx/>
              <a:buBlip>
                <a:blip r:embed="rId2"/>
              </a:buBlip>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647897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685800" y="400050"/>
            <a:ext cx="7772400" cy="1885950"/>
          </a:xfrm>
          <a:noFill/>
        </p:spPr>
        <p:txBody>
          <a:bodyPr anchor="b"/>
          <a:lstStyle>
            <a:lvl1pPr algn="r">
              <a:defRPr sz="3200" b="1">
                <a:solidFill>
                  <a:schemeClr val="accent2"/>
                </a:solidFill>
                <a:latin typeface="Calibri Light" pitchFamily="34" charset="0"/>
                <a:cs typeface="Segoe UI" pitchFamily="34" charset="0"/>
              </a:defRPr>
            </a:lvl1pPr>
          </a:lstStyle>
          <a:p>
            <a:r>
              <a:rPr lang="en-US" dirty="0"/>
              <a:t>Click to edit Master title style</a:t>
            </a:r>
          </a:p>
        </p:txBody>
      </p:sp>
      <p:sp>
        <p:nvSpPr>
          <p:cNvPr id="32781" name="Subtitle 32780"/>
          <p:cNvSpPr>
            <a:spLocks noGrp="1" noChangeArrowheads="1"/>
          </p:cNvSpPr>
          <p:nvPr>
            <p:ph type="subTitle" idx="1"/>
          </p:nvPr>
        </p:nvSpPr>
        <p:spPr>
          <a:xfrm>
            <a:off x="2057400" y="2343150"/>
            <a:ext cx="6400800" cy="971550"/>
          </a:xfrm>
        </p:spPr>
        <p:txBody>
          <a:bodyPr/>
          <a:lstStyle>
            <a:lvl1pPr marL="0" indent="0" algn="r">
              <a:buNone/>
              <a:defRPr b="0">
                <a:latin typeface="Calibri Light" pitchFamily="34" charset="0"/>
                <a:cs typeface="Segoe UI" pitchFamily="34" charset="0"/>
              </a:defRPr>
            </a:lvl1pPr>
          </a:lstStyle>
          <a:p>
            <a:r>
              <a:rPr lang="en-US"/>
              <a:t>Click to edit Master subtitle sty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0" y="3625850"/>
            <a:ext cx="3162300" cy="1358900"/>
          </a:xfrm>
          <a:prstGeom prst="rect">
            <a:avLst/>
          </a:prstGeom>
        </p:spPr>
      </p:pic>
    </p:spTree>
    <p:extLst>
      <p:ext uri="{BB962C8B-B14F-4D97-AF65-F5344CB8AC3E}">
        <p14:creationId xmlns:p14="http://schemas.microsoft.com/office/powerpoint/2010/main" val="365180703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rtlCol="0"/>
          <a:lstStyle>
            <a:lvl1pPr marL="0" indent="0" algn="ctr" defTabSz="-13873163" rtl="0" eaLnBrk="1" fontAlgn="base" hangingPunct="1">
              <a:spcBef>
                <a:spcPct val="0"/>
              </a:spcBef>
              <a:spcAft>
                <a:spcPct val="0"/>
              </a:spcAft>
              <a:defRPr lang="en-US" sz="2900" b="1" dirty="0">
                <a:solidFill>
                  <a:schemeClr val="accent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Tree>
    <p:extLst>
      <p:ext uri="{BB962C8B-B14F-4D97-AF65-F5344CB8AC3E}">
        <p14:creationId xmlns:p14="http://schemas.microsoft.com/office/powerpoint/2010/main" val="3427090808"/>
      </p:ext>
    </p:extLst>
  </p:cSld>
  <p:clrMapOvr>
    <a:masterClrMapping/>
  </p:clrMapOvr>
  <p:transition>
    <p:fade/>
  </p:transition>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4"/>
            <a:ext cx="6858000" cy="415499"/>
          </a:xfrm>
          <a:noFill/>
        </p:spPr>
        <p:txBody>
          <a:bodyPr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1"/>
            <a:ext cx="68580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438150" y="439341"/>
            <a:ext cx="1024684" cy="219456"/>
          </a:xfrm>
          <a:prstGeom prst="rect">
            <a:avLst/>
          </a:prstGeom>
        </p:spPr>
      </p:pic>
    </p:spTree>
    <p:extLst>
      <p:ext uri="{BB962C8B-B14F-4D97-AF65-F5344CB8AC3E}">
        <p14:creationId xmlns:p14="http://schemas.microsoft.com/office/powerpoint/2010/main" val="28736664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rtlCol="0"/>
          <a:lstStyle>
            <a:lvl1pPr marL="0" indent="0" algn="ctr" defTabSz="-13873163" rtl="0" eaLnBrk="1" fontAlgn="base" hangingPunct="1">
              <a:spcBef>
                <a:spcPct val="0"/>
              </a:spcBef>
              <a:spcAft>
                <a:spcPct val="0"/>
              </a:spcAft>
              <a:defRPr lang="en-US" sz="2900" b="1" dirty="0">
                <a:solidFill>
                  <a:schemeClr val="accent2"/>
                </a:solidFill>
                <a:latin typeface="+mj-lt"/>
                <a:ea typeface="+mj-ea"/>
                <a:cs typeface="Segoe UI" pitchFamily="34" charset="0"/>
              </a:defRPr>
            </a:lvl1pPr>
          </a:lstStyle>
          <a:p>
            <a:r>
              <a:rPr lang="en-US" dirty="0"/>
              <a:t>References</a:t>
            </a:r>
          </a:p>
        </p:txBody>
      </p:sp>
      <p:sp>
        <p:nvSpPr>
          <p:cNvPr id="8"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10" name="TextBox 9"/>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24147151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8" name="TextBox 7"/>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231509046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solidFill>
                  <a:schemeClr val="accent2"/>
                </a:solidFill>
              </a:defRPr>
            </a:lvl1p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6" name="TextBox 5"/>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22967009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180035"/>
            <a:ext cx="7772400" cy="1125140"/>
          </a:xfrm>
        </p:spPr>
        <p:txBody>
          <a:bodyPr anchor="b"/>
          <a:lstStyle>
            <a:lvl1pPr marL="0" indent="0">
              <a:buNone/>
              <a:defRPr sz="210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685800" y="3371850"/>
            <a:ext cx="7772400" cy="571500"/>
          </a:xfrm>
        </p:spPr>
        <p:txBody>
          <a:bodyPr/>
          <a:lstStyle>
            <a:lvl1pPr algn="l">
              <a:defRPr>
                <a:solidFill>
                  <a:schemeClr val="tx1"/>
                </a:solidFill>
              </a:defRPr>
            </a:lvl1pPr>
          </a:lstStyle>
          <a:p>
            <a:r>
              <a:rPr lang="en-US" dirty="0"/>
              <a:t>Click to edit 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6" name="TextBox 5"/>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349722288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180035"/>
            <a:ext cx="7772400" cy="1125140"/>
          </a:xfrm>
        </p:spPr>
        <p:txBody>
          <a:bodyPr anchor="b"/>
          <a:lstStyle>
            <a:lvl1pPr marL="0" indent="0">
              <a:buNone/>
              <a:defRPr sz="210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685800" y="3371850"/>
            <a:ext cx="7772400" cy="571500"/>
          </a:xfrm>
        </p:spPr>
        <p:txBody>
          <a:bodyPr/>
          <a:lstStyle>
            <a:lvl1pPr algn="l">
              <a:defRPr>
                <a:solidFill>
                  <a:schemeClr val="tx1"/>
                </a:solidFill>
              </a:defRPr>
            </a:lvl1pPr>
          </a:lstStyle>
          <a:p>
            <a:r>
              <a:rPr lang="en-US" dirty="0"/>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7" name="TextBox 6"/>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51725324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2900" b="1" dirty="0">
                <a:solidFill>
                  <a:schemeClr val="accent2"/>
                </a:solidFill>
                <a:latin typeface="+mj-lt"/>
                <a:ea typeface="+mj-ea"/>
                <a:cs typeface="Segoe UI" pitchFamily="34" charset="0"/>
              </a:defRPr>
            </a:lvl1pPr>
          </a:lstStyle>
          <a:p>
            <a:r>
              <a:rPr lang="en-US" dirty="0"/>
              <a:t>Click to edit Master title style</a:t>
            </a:r>
          </a:p>
        </p:txBody>
      </p:sp>
      <p:sp>
        <p:nvSpPr>
          <p:cNvPr id="8"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7" name="TextBox 6"/>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1450606375"/>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457200" y="292894"/>
            <a:ext cx="8229600" cy="571500"/>
          </a:xfrm>
        </p:spPr>
        <p:txBody>
          <a:bodyPr/>
          <a:lstStyle>
            <a:lvl1pPr algn="ctr">
              <a:defRPr>
                <a:solidFill>
                  <a:schemeClr val="accent2"/>
                </a:solidFill>
              </a:defRPr>
            </a:lvl1pPr>
          </a:lstStyle>
          <a:p>
            <a:r>
              <a:rPr lang="en-US" dirty="0"/>
              <a:t>Demo</a:t>
            </a:r>
          </a:p>
        </p:txBody>
      </p:sp>
      <p:sp>
        <p:nvSpPr>
          <p:cNvPr id="11"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9" name="TextBox 8"/>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41960332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Instructor - white">
    <p:spTree>
      <p:nvGrpSpPr>
        <p:cNvPr id="1" name=""/>
        <p:cNvGrpSpPr/>
        <p:nvPr/>
      </p:nvGrpSpPr>
      <p:grpSpPr>
        <a:xfrm>
          <a:off x="0" y="0"/>
          <a:ext cx="0" cy="0"/>
          <a:chOff x="0" y="0"/>
          <a:chExt cx="0" cy="0"/>
        </a:xfrm>
      </p:grpSpPr>
      <p:sp>
        <p:nvSpPr>
          <p:cNvPr id="3" name="Rectangle 2"/>
          <p:cNvSpPr/>
          <p:nvPr/>
        </p:nvSpPr>
        <p:spPr bwMode="auto">
          <a:xfrm>
            <a:off x="1" y="0"/>
            <a:ext cx="3991356" cy="51435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eaLnBrk="0" fontAlgn="base" hangingPunct="0">
              <a:spcBef>
                <a:spcPct val="0"/>
              </a:spcBef>
              <a:spcAft>
                <a:spcPct val="0"/>
              </a:spcAft>
            </a:pPr>
            <a:endParaRPr lang="en-US" sz="1650" dirty="0">
              <a:gradFill>
                <a:gsLst>
                  <a:gs pos="0">
                    <a:srgbClr val="FFFFFF"/>
                  </a:gs>
                  <a:gs pos="100000">
                    <a:srgbClr val="FFFFFF"/>
                  </a:gs>
                </a:gsLst>
                <a:lin ang="5400000" scaled="0"/>
              </a:gradFill>
            </a:endParaRPr>
          </a:p>
        </p:txBody>
      </p:sp>
      <p:sp>
        <p:nvSpPr>
          <p:cNvPr id="2" name="Rectangle 1"/>
          <p:cNvSpPr/>
          <p:nvPr/>
        </p:nvSpPr>
        <p:spPr bwMode="auto">
          <a:xfrm>
            <a:off x="3991357" y="0"/>
            <a:ext cx="5200649" cy="5143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eaLnBrk="0" fontAlgn="base" hangingPunct="0">
              <a:spcBef>
                <a:spcPct val="0"/>
              </a:spcBef>
              <a:spcAft>
                <a:spcPct val="0"/>
              </a:spcAft>
            </a:pPr>
            <a:endParaRPr lang="en-US" sz="1650" dirty="0">
              <a:gradFill>
                <a:gsLst>
                  <a:gs pos="0">
                    <a:srgbClr val="FFFFFF"/>
                  </a:gs>
                  <a:gs pos="100000">
                    <a:srgbClr val="FFFFFF"/>
                  </a:gs>
                </a:gsLst>
                <a:lin ang="5400000" scaled="0"/>
              </a:gradFill>
            </a:endParaRPr>
          </a:p>
        </p:txBody>
      </p:sp>
      <p:sp>
        <p:nvSpPr>
          <p:cNvPr id="5" name="Picture Placeholder 4"/>
          <p:cNvSpPr>
            <a:spLocks noGrp="1"/>
          </p:cNvSpPr>
          <p:nvPr>
            <p:ph type="pic" sz="quarter" idx="10"/>
          </p:nvPr>
        </p:nvSpPr>
        <p:spPr>
          <a:xfrm>
            <a:off x="1130028" y="1090994"/>
            <a:ext cx="1305745" cy="1698255"/>
          </a:xfrm>
          <a:ln w="25400">
            <a:noFill/>
          </a:ln>
          <a:effectLst>
            <a:outerShdw blurRad="50800" dist="38100" dir="5400000" algn="t" rotWithShape="0">
              <a:prstClr val="black">
                <a:alpha val="40000"/>
              </a:prstClr>
            </a:outerShdw>
          </a:effectLst>
        </p:spPr>
        <p:txBody>
          <a:bodyPr/>
          <a:lstStyle/>
          <a:p>
            <a:r>
              <a:rPr lang="en-US"/>
              <a:t>Click icon to add picture</a:t>
            </a:r>
          </a:p>
        </p:txBody>
      </p:sp>
      <p:sp>
        <p:nvSpPr>
          <p:cNvPr id="7" name="Text Placeholder 6"/>
          <p:cNvSpPr>
            <a:spLocks noGrp="1"/>
          </p:cNvSpPr>
          <p:nvPr>
            <p:ph type="body" sz="quarter" idx="11" hasCustomPrompt="1"/>
          </p:nvPr>
        </p:nvSpPr>
        <p:spPr>
          <a:xfrm>
            <a:off x="435245" y="3373850"/>
            <a:ext cx="3264503" cy="1357295"/>
          </a:xfrm>
          <a:ln>
            <a:noFill/>
          </a:ln>
        </p:spPr>
        <p:txBody>
          <a:bodyPr/>
          <a:lstStyle>
            <a:lvl1pPr marL="0" indent="0">
              <a:buNone/>
              <a:defRPr sz="2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tructor Name</a:t>
            </a:r>
          </a:p>
          <a:p>
            <a:pPr lvl="0"/>
            <a:r>
              <a:rPr lang="en-US" dirty="0"/>
              <a:t>@</a:t>
            </a:r>
            <a:r>
              <a:rPr lang="en-US" dirty="0" err="1"/>
              <a:t>twitterhandle</a:t>
            </a:r>
            <a:endParaRPr lang="en-US" dirty="0"/>
          </a:p>
          <a:p>
            <a:pPr lvl="0"/>
            <a:r>
              <a:rPr lang="en-US" dirty="0"/>
              <a:t>your@email.com</a:t>
            </a:r>
          </a:p>
          <a:p>
            <a:pPr lvl="0"/>
            <a:r>
              <a:rPr lang="en-US" dirty="0"/>
              <a:t>www.yourwebsite.com</a:t>
            </a:r>
          </a:p>
        </p:txBody>
      </p:sp>
      <p:sp>
        <p:nvSpPr>
          <p:cNvPr id="10" name="Text Placeholder 9"/>
          <p:cNvSpPr>
            <a:spLocks noGrp="1"/>
          </p:cNvSpPr>
          <p:nvPr>
            <p:ph type="body" sz="quarter" idx="12" hasCustomPrompt="1"/>
          </p:nvPr>
        </p:nvSpPr>
        <p:spPr>
          <a:xfrm>
            <a:off x="4282966" y="1090993"/>
            <a:ext cx="4773215" cy="2423741"/>
          </a:xfrm>
        </p:spPr>
        <p:txBody>
          <a:bodyPr/>
          <a:lstStyle>
            <a:lvl1pPr marL="0" marR="0" indent="0" algn="l" defTabSz="685522" rtl="0" eaLnBrk="1" fontAlgn="auto" latinLnBrk="0" hangingPunct="1">
              <a:lnSpc>
                <a:spcPct val="90000"/>
              </a:lnSpc>
              <a:spcBef>
                <a:spcPct val="20000"/>
              </a:spcBef>
              <a:spcAft>
                <a:spcPts val="0"/>
              </a:spcAft>
              <a:buClrTx/>
              <a:buSzPct val="80000"/>
              <a:buFontTx/>
              <a:buNone/>
              <a:tabLst/>
              <a:defRPr sz="2100" baseline="0"/>
            </a:lvl1pPr>
            <a:lvl2pPr marL="345152" indent="0">
              <a:buFontTx/>
              <a:buNone/>
              <a:defRPr/>
            </a:lvl2pPr>
            <a:lvl3pPr marL="641511" indent="0">
              <a:buFontTx/>
              <a:buNone/>
              <a:defRPr/>
            </a:lvl3pPr>
            <a:lvl4pPr marL="943816" indent="0">
              <a:buFontTx/>
              <a:buNone/>
              <a:defRPr/>
            </a:lvl4pPr>
            <a:lvl5pPr marL="1203283" indent="0">
              <a:buFontTx/>
              <a:buNone/>
              <a:defRPr/>
            </a:lvl5pPr>
          </a:lstStyle>
          <a:p>
            <a:pPr lvl="0"/>
            <a:r>
              <a:rPr lang="en-US" dirty="0"/>
              <a:t>Instructor bio goes here </a:t>
            </a:r>
          </a:p>
          <a:p>
            <a:pPr lvl="0"/>
            <a:r>
              <a:rPr lang="en-US" dirty="0"/>
              <a:t>Instructor bio goes here </a:t>
            </a:r>
          </a:p>
          <a:p>
            <a:pPr marL="0" marR="0" lvl="0" indent="0" algn="l" defTabSz="685522"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685522"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685522"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marL="0" marR="0" lvl="0" indent="0" algn="l" defTabSz="685522" rtl="0" eaLnBrk="1" fontAlgn="auto" latinLnBrk="0" hangingPunct="1">
              <a:lnSpc>
                <a:spcPct val="90000"/>
              </a:lnSpc>
              <a:spcBef>
                <a:spcPct val="20000"/>
              </a:spcBef>
              <a:spcAft>
                <a:spcPts val="0"/>
              </a:spcAft>
              <a:buClrTx/>
              <a:buSzPct val="80000"/>
              <a:buFontTx/>
              <a:buNone/>
              <a:tabLst/>
              <a:defRPr/>
            </a:pPr>
            <a:r>
              <a:rPr lang="en-US" dirty="0"/>
              <a:t>Instructor bio goes here </a:t>
            </a:r>
          </a:p>
          <a:p>
            <a:pPr lvl="0"/>
            <a:endParaRPr lang="en-US" dirty="0"/>
          </a:p>
        </p:txBody>
      </p:sp>
    </p:spTree>
    <p:extLst>
      <p:ext uri="{BB962C8B-B14F-4D97-AF65-F5344CB8AC3E}">
        <p14:creationId xmlns:p14="http://schemas.microsoft.com/office/powerpoint/2010/main" val="3780599904"/>
      </p:ext>
    </p:extLst>
  </p:cSld>
  <p:clrMapOvr>
    <a:masterClrMapping/>
  </p:clrMapOvr>
  <p:transition>
    <p:fade/>
  </p:transition>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36254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36254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5380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36254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6107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4"/>
            <a:ext cx="6858000" cy="415499"/>
          </a:xfrm>
          <a:noFill/>
        </p:spPr>
        <p:txBody>
          <a:bodyPr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5706669" y="1053923"/>
            <a:ext cx="2416962" cy="2777322"/>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2149"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100" b="1" dirty="0">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gradFill>
                  <a:gsLst>
                    <a:gs pos="0">
                      <a:srgbClr val="505050"/>
                    </a:gs>
                    <a:gs pos="100000">
                      <a:srgbClr val="505050"/>
                    </a:gs>
                  </a:gsLst>
                </a:gradFill>
              </a:endParaRPr>
            </a:p>
          </p:txBody>
        </p:sp>
      </p:grpSp>
    </p:spTree>
    <p:extLst>
      <p:ext uri="{BB962C8B-B14F-4D97-AF65-F5344CB8AC3E}">
        <p14:creationId xmlns:p14="http://schemas.microsoft.com/office/powerpoint/2010/main" val="901332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14386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0CE0C-D719-49AB-813B-DCFB4030BB9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DEF1671-9B1D-476E-8143-30A67CFE6FF3}"/>
              </a:ext>
            </a:extLst>
          </p:cNvPr>
          <p:cNvSpPr>
            <a:spLocks noGrp="1"/>
          </p:cNvSpPr>
          <p:nvPr>
            <p:ph type="dt" sz="half" idx="10"/>
          </p:nvPr>
        </p:nvSpPr>
        <p:spPr/>
        <p:txBody>
          <a:bodyPr/>
          <a:lstStyle/>
          <a:p>
            <a:fld id="{5AA8FE18-1705-4267-8152-D499902B481B}" type="datetimeFigureOut">
              <a:rPr lang="en-US" smtClean="0"/>
              <a:t>12/8/21</a:t>
            </a:fld>
            <a:endParaRPr lang="en-US"/>
          </a:p>
        </p:txBody>
      </p:sp>
      <p:sp>
        <p:nvSpPr>
          <p:cNvPr id="4" name="Footer Placeholder 3">
            <a:extLst>
              <a:ext uri="{FF2B5EF4-FFF2-40B4-BE49-F238E27FC236}">
                <a16:creationId xmlns:a16="http://schemas.microsoft.com/office/drawing/2014/main" id="{D8501E7D-7F3D-4C7D-9081-CE904BAA41C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5983363-7F5C-4FEA-BB71-43D7EA6E72A5}"/>
              </a:ext>
            </a:extLst>
          </p:cNvPr>
          <p:cNvSpPr>
            <a:spLocks noGrp="1"/>
          </p:cNvSpPr>
          <p:nvPr>
            <p:ph type="sldNum" sz="quarter" idx="12"/>
          </p:nvPr>
        </p:nvSpPr>
        <p:spPr/>
        <p:txBody>
          <a:bodyPr/>
          <a:lstStyle/>
          <a:p>
            <a:fld id="{024B278D-8E1B-49DF-B189-39D511AD1D13}" type="slidenum">
              <a:rPr lang="en-US" smtClean="0"/>
              <a:t>‹#›</a:t>
            </a:fld>
            <a:endParaRPr lang="en-US"/>
          </a:p>
        </p:txBody>
      </p:sp>
    </p:spTree>
    <p:extLst>
      <p:ext uri="{BB962C8B-B14F-4D97-AF65-F5344CB8AC3E}">
        <p14:creationId xmlns:p14="http://schemas.microsoft.com/office/powerpoint/2010/main" val="377597031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a:p>
        </p:txBody>
      </p:sp>
    </p:spTree>
    <p:extLst>
      <p:ext uri="{BB962C8B-B14F-4D97-AF65-F5344CB8AC3E}">
        <p14:creationId xmlns:p14="http://schemas.microsoft.com/office/powerpoint/2010/main" val="1427376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4954500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68665" y="0"/>
            <a:ext cx="607533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716434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2695398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19632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80970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65239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86395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9793" y="948189"/>
            <a:ext cx="8263890" cy="1209562"/>
          </a:xfrm>
        </p:spPr>
        <p:txBody>
          <a:bodyPr wrap="square">
            <a:spAutoFit/>
          </a:bodyPr>
          <a:lstStyle>
            <a:lvl1pPr marL="0" indent="0">
              <a:buNone/>
              <a:defRPr/>
            </a:lvl1pPr>
            <a:lvl2pPr marL="171446" indent="0">
              <a:buNone/>
              <a:defRPr/>
            </a:lvl2pPr>
            <a:lvl3pPr marL="342892" indent="0">
              <a:buNone/>
              <a:defRPr/>
            </a:lvl3pPr>
            <a:lvl4pPr marL="514337" indent="0">
              <a:buNone/>
              <a:defRPr/>
            </a:lvl4pPr>
            <a:lvl5pPr marL="68578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20433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48243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47662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854709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Tree>
    <p:extLst>
      <p:ext uri="{BB962C8B-B14F-4D97-AF65-F5344CB8AC3E}">
        <p14:creationId xmlns:p14="http://schemas.microsoft.com/office/powerpoint/2010/main" val="420997396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688623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a:t>Square photo layout with smaller text</a:t>
            </a:r>
          </a:p>
        </p:txBody>
      </p:sp>
    </p:spTree>
    <p:extLst>
      <p:ext uri="{BB962C8B-B14F-4D97-AF65-F5344CB8AC3E}">
        <p14:creationId xmlns:p14="http://schemas.microsoft.com/office/powerpoint/2010/main" val="291684334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0977426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9813137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1636546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701579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38150" y="1076624"/>
            <a:ext cx="8263890"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268474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5311979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83806186"/>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0547198"/>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0245145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39186684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27087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12763" y="-8165"/>
            <a:ext cx="5840874" cy="5161050"/>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557208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spTree>
    <p:extLst>
      <p:ext uri="{BB962C8B-B14F-4D97-AF65-F5344CB8AC3E}">
        <p14:creationId xmlns:p14="http://schemas.microsoft.com/office/powerpoint/2010/main" val="1747227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7153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5173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8150" y="1076326"/>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87" indent="0">
              <a:buFont typeface="Wingdings" panose="05000000000000000000" pitchFamily="2" charset="2"/>
              <a:buNone/>
              <a:defRPr sz="1500" b="0"/>
            </a:lvl2pPr>
            <a:lvl3pPr marL="338129" indent="0">
              <a:buFont typeface="Wingdings" panose="05000000000000000000" pitchFamily="2" charset="2"/>
              <a:buNone/>
              <a:tabLst/>
              <a:defRPr sz="1200" b="0"/>
            </a:lvl3pPr>
            <a:lvl4pPr marL="489335" indent="0">
              <a:buFont typeface="Wingdings" panose="05000000000000000000" pitchFamily="2" charset="2"/>
              <a:buNone/>
              <a:defRPr sz="1050" b="0"/>
            </a:lvl4pPr>
            <a:lvl5pPr marL="640540"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6"/>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87" indent="0">
              <a:buFont typeface="Wingdings" panose="05000000000000000000" pitchFamily="2" charset="2"/>
              <a:buNone/>
              <a:defRPr sz="1500" b="0"/>
            </a:lvl2pPr>
            <a:lvl3pPr marL="338129" indent="0">
              <a:buFont typeface="Wingdings" panose="05000000000000000000" pitchFamily="2" charset="2"/>
              <a:buNone/>
              <a:tabLst/>
              <a:defRPr sz="1200" b="0"/>
            </a:lvl3pPr>
            <a:lvl4pPr marL="489335" indent="0">
              <a:buFont typeface="Wingdings" panose="05000000000000000000" pitchFamily="2" charset="2"/>
              <a:buNone/>
              <a:defRPr sz="1050" b="0"/>
            </a:lvl4pPr>
            <a:lvl5pPr marL="640540"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70275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42509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251735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85777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A8E8A28C-CBDE-4C67-825F-C47808C9BDD6}"/>
              </a:ext>
            </a:extLst>
          </p:cNvPr>
          <p:cNvGrpSpPr/>
          <p:nvPr userDrawn="1"/>
        </p:nvGrpSpPr>
        <p:grpSpPr>
          <a:xfrm>
            <a:off x="4645952" y="0"/>
            <a:ext cx="4498049" cy="5143501"/>
            <a:chOff x="6194603" y="0"/>
            <a:chExt cx="5997398" cy="6858001"/>
          </a:xfrm>
        </p:grpSpPr>
        <p:pic>
          <p:nvPicPr>
            <p:cNvPr id="36" name="Picture 35">
              <a:extLst>
                <a:ext uri="{FF2B5EF4-FFF2-40B4-BE49-F238E27FC236}">
                  <a16:creationId xmlns:a16="http://schemas.microsoft.com/office/drawing/2014/main" id="{E6ED7E4A-DB81-4ED7-82E1-34B79F3FF4A1}"/>
                </a:ext>
              </a:extLst>
            </p:cNvPr>
            <p:cNvPicPr>
              <a:picLocks noChangeAspect="1"/>
            </p:cNvPicPr>
            <p:nvPr userDrawn="1"/>
          </p:nvPicPr>
          <p:blipFill rotWithShape="1">
            <a:blip r:embed="rId2"/>
            <a:srcRect r="28458" b="6473"/>
            <a:stretch/>
          </p:blipFill>
          <p:spPr>
            <a:xfrm>
              <a:off x="8501387" y="1460680"/>
              <a:ext cx="3690614" cy="5397320"/>
            </a:xfrm>
            <a:prstGeom prst="rect">
              <a:avLst/>
            </a:prstGeom>
          </p:spPr>
        </p:pic>
        <p:pic>
          <p:nvPicPr>
            <p:cNvPr id="37" name="Picture 36">
              <a:extLst>
                <a:ext uri="{FF2B5EF4-FFF2-40B4-BE49-F238E27FC236}">
                  <a16:creationId xmlns:a16="http://schemas.microsoft.com/office/drawing/2014/main" id="{11E4BCF2-710C-4869-A4C5-C1345D5F2E6F}"/>
                </a:ext>
              </a:extLst>
            </p:cNvPr>
            <p:cNvPicPr>
              <a:picLocks noChangeAspect="1"/>
            </p:cNvPicPr>
            <p:nvPr userDrawn="1"/>
          </p:nvPicPr>
          <p:blipFill rotWithShape="1">
            <a:blip r:embed="rId3"/>
            <a:srcRect t="21645"/>
            <a:stretch/>
          </p:blipFill>
          <p:spPr>
            <a:xfrm>
              <a:off x="7548652" y="0"/>
              <a:ext cx="1179576" cy="1076231"/>
            </a:xfrm>
            <a:prstGeom prst="rect">
              <a:avLst/>
            </a:prstGeom>
          </p:spPr>
        </p:pic>
        <p:pic>
          <p:nvPicPr>
            <p:cNvPr id="38" name="Picture 37">
              <a:extLst>
                <a:ext uri="{FF2B5EF4-FFF2-40B4-BE49-F238E27FC236}">
                  <a16:creationId xmlns:a16="http://schemas.microsoft.com/office/drawing/2014/main" id="{7B7B7A20-BA31-44FA-9F1C-298649B34CF8}"/>
                </a:ext>
              </a:extLst>
            </p:cNvPr>
            <p:cNvPicPr>
              <a:picLocks noChangeAspect="1"/>
            </p:cNvPicPr>
            <p:nvPr userDrawn="1"/>
          </p:nvPicPr>
          <p:blipFill rotWithShape="1">
            <a:blip r:embed="rId3"/>
            <a:srcRect b="30060"/>
            <a:stretch/>
          </p:blipFill>
          <p:spPr>
            <a:xfrm>
              <a:off x="6194603" y="5897361"/>
              <a:ext cx="1179576" cy="960640"/>
            </a:xfrm>
            <a:prstGeom prst="rect">
              <a:avLst/>
            </a:prstGeom>
          </p:spPr>
        </p:pic>
      </p:grpSp>
      <p:sp>
        <p:nvSpPr>
          <p:cNvPr id="2" name="Title 1"/>
          <p:cNvSpPr>
            <a:spLocks noGrp="1"/>
          </p:cNvSpPr>
          <p:nvPr>
            <p:ph type="title" hasCustomPrompt="1"/>
          </p:nvPr>
        </p:nvSpPr>
        <p:spPr>
          <a:xfrm>
            <a:off x="438912" y="2276856"/>
            <a:ext cx="4800600" cy="373949"/>
          </a:xfrm>
          <a:noFill/>
        </p:spPr>
        <p:txBody>
          <a:bodyPr lIns="0" tIns="0" rIns="0" bIns="0" anchor="b" anchorCtr="0">
            <a:spAutoFit/>
          </a:bodyPr>
          <a:lstStyle>
            <a:lvl1pPr algn="l" defTabSz="699557" rtl="0" eaLnBrk="1" latinLnBrk="0" hangingPunct="1">
              <a:lnSpc>
                <a:spcPct val="90000"/>
              </a:lnSpc>
              <a:spcBef>
                <a:spcPct val="0"/>
              </a:spcBef>
              <a:buNone/>
              <a:defRPr lang="en-US" sz="2700" b="1" kern="1200" cap="none" spc="-38"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09353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Content_1">
    <p:bg>
      <p:bgPr>
        <a:solidFill>
          <a:srgbClr val="FFFFFF"/>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309085" y="337293"/>
            <a:ext cx="8834267" cy="638188"/>
          </a:xfrm>
        </p:spPr>
        <p:txBody>
          <a:bodyPr lIns="274320" tIns="182880" rIns="45720" bIns="45720"/>
          <a:lstStyle>
            <a:lvl1pPr marL="0" algn="l" defTabSz="672035" rtl="0" eaLnBrk="1" latinLnBrk="0" hangingPunct="1">
              <a:spcBef>
                <a:spcPct val="0"/>
              </a:spcBef>
              <a:buNone/>
              <a:defRPr lang="en-US" sz="2647" b="0" i="0" u="none" kern="1200" spc="-110" baseline="0" dirty="0">
                <a:solidFill>
                  <a:schemeClr val="accent1"/>
                </a:solidFill>
                <a:latin typeface="Segoe UI Semibold" charset="0"/>
                <a:ea typeface="Segoe UI Semibold" charset="0"/>
                <a:cs typeface="Segoe UI Semibold" charset="0"/>
              </a:defRPr>
            </a:lvl1pPr>
          </a:lstStyle>
          <a:p>
            <a:r>
              <a:rPr lang="en-US"/>
              <a:t>Click to edit Master title style</a:t>
            </a:r>
          </a:p>
        </p:txBody>
      </p:sp>
      <p:sp>
        <p:nvSpPr>
          <p:cNvPr id="3" name="Picture Placeholder 13"/>
          <p:cNvSpPr>
            <a:spLocks noGrp="1"/>
          </p:cNvSpPr>
          <p:nvPr>
            <p:ph type="pic" sz="quarter" idx="10"/>
          </p:nvPr>
        </p:nvSpPr>
        <p:spPr>
          <a:xfrm>
            <a:off x="1" y="1189448"/>
            <a:ext cx="9143999" cy="3954053"/>
          </a:xfrm>
        </p:spPr>
        <p:txBody>
          <a:bodyPr>
            <a:noAutofit/>
          </a:bodyPr>
          <a:lstStyle/>
          <a:p>
            <a:r>
              <a:rPr lang="en-US"/>
              <a:t>Drag picture to placeholder or click icon to add</a:t>
            </a:r>
          </a:p>
        </p:txBody>
      </p:sp>
    </p:spTree>
    <p:extLst>
      <p:ext uri="{BB962C8B-B14F-4D97-AF65-F5344CB8AC3E}">
        <p14:creationId xmlns:p14="http://schemas.microsoft.com/office/powerpoint/2010/main" val="149521556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319819" y="330371"/>
            <a:ext cx="8502029" cy="568517"/>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735277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319819" y="1601652"/>
            <a:ext cx="8502029" cy="3216148"/>
          </a:xfrm>
        </p:spPr>
        <p:txBody>
          <a:bodyPr bIns="1737360" anchor="ctr">
            <a:noAutofit/>
          </a:bodyPr>
          <a:lstStyle>
            <a:lvl1pPr algn="ctr">
              <a:defRPr sz="147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319819" y="330372"/>
            <a:ext cx="8502029" cy="554507"/>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84285412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ABE82E-06A0-4180-BE21-36CB71476F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10C850-2086-41C0-A289-8AE34C630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50AF91-3BF9-4F2B-BB48-F42D4E05BE69}"/>
              </a:ext>
            </a:extLst>
          </p:cNvPr>
          <p:cNvSpPr>
            <a:spLocks noGrp="1"/>
          </p:cNvSpPr>
          <p:nvPr>
            <p:ph type="dt" sz="half" idx="10"/>
          </p:nvPr>
        </p:nvSpPr>
        <p:spPr/>
        <p:txBody>
          <a:bodyPr/>
          <a:lstStyle/>
          <a:p>
            <a:fld id="{11D0D88A-5CC8-493E-AB88-0DEF5EBF11F5}" type="datetimeFigureOut">
              <a:rPr lang="en-US" smtClean="0"/>
              <a:t>12/8/21</a:t>
            </a:fld>
            <a:endParaRPr lang="en-US"/>
          </a:p>
        </p:txBody>
      </p:sp>
      <p:sp>
        <p:nvSpPr>
          <p:cNvPr id="5" name="Footer Placeholder 4">
            <a:extLst>
              <a:ext uri="{FF2B5EF4-FFF2-40B4-BE49-F238E27FC236}">
                <a16:creationId xmlns:a16="http://schemas.microsoft.com/office/drawing/2014/main" id="{59396576-F7B2-48D2-8092-0C23B1AB5B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5E2CEE-A87E-4631-BF73-5C2C449634AB}"/>
              </a:ext>
            </a:extLst>
          </p:cNvPr>
          <p:cNvSpPr>
            <a:spLocks noGrp="1"/>
          </p:cNvSpPr>
          <p:nvPr>
            <p:ph type="sldNum" sz="quarter" idx="12"/>
          </p:nvPr>
        </p:nvSpPr>
        <p:spPr/>
        <p:txBody>
          <a:bodyPr/>
          <a:lstStyle/>
          <a:p>
            <a:fld id="{23E26117-244A-459D-A009-20E77B55B8B6}" type="slidenum">
              <a:rPr lang="en-US" smtClean="0"/>
              <a:t>‹#›</a:t>
            </a:fld>
            <a:endParaRPr lang="en-US"/>
          </a:p>
        </p:txBody>
      </p:sp>
    </p:spTree>
    <p:extLst>
      <p:ext uri="{BB962C8B-B14F-4D97-AF65-F5344CB8AC3E}">
        <p14:creationId xmlns:p14="http://schemas.microsoft.com/office/powerpoint/2010/main" val="240034915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755832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E9831-A30F-4B01-9F1B-150D76281D4A}"/>
              </a:ext>
            </a:extLst>
          </p:cNvPr>
          <p:cNvSpPr>
            <a:spLocks noGrp="1"/>
          </p:cNvSpPr>
          <p:nvPr>
            <p:ph type="title" hasCustomPrompt="1"/>
          </p:nvPr>
        </p:nvSpPr>
        <p:spPr>
          <a:xfrm>
            <a:off x="441198" y="-340253"/>
            <a:ext cx="1687640" cy="230833"/>
          </a:xfrm>
        </p:spPr>
        <p:txBody>
          <a:bodyPr anchor="b"/>
          <a:lstStyle>
            <a:lvl1pPr>
              <a:defRPr sz="1500"/>
            </a:lvl1pPr>
          </a:lstStyle>
          <a:p>
            <a:r>
              <a:rPr lang="en-US" dirty="0"/>
              <a:t>Microsoft Ignite</a:t>
            </a:r>
          </a:p>
        </p:txBody>
      </p:sp>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445294" y="2149079"/>
            <a:ext cx="2280047" cy="1160860"/>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a:p>
        </p:txBody>
      </p:sp>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3535" y="0"/>
            <a:ext cx="604046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5378852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8150" y="1078110"/>
            <a:ext cx="3909060" cy="1237262"/>
          </a:xfrm>
        </p:spPr>
        <p:txBody>
          <a:bodyPr wrap="square">
            <a:spAutoFit/>
          </a:bodyPr>
          <a:lstStyle>
            <a:lvl1pPr marL="173827" indent="-173827">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1" indent="-128585">
              <a:buFont typeface="Wingdings" panose="05000000000000000000" pitchFamily="2" charset="2"/>
              <a:buChar char=""/>
              <a:defRPr sz="1500" b="0"/>
            </a:lvl2pPr>
            <a:lvl3pPr marL="479810" indent="-141682">
              <a:buFont typeface="Wingdings" panose="05000000000000000000" pitchFamily="2" charset="2"/>
              <a:buChar char=""/>
              <a:tabLst/>
              <a:defRPr sz="1200" b="0"/>
            </a:lvl3pPr>
            <a:lvl4pPr marL="621491" indent="-132157">
              <a:buFont typeface="Wingdings" panose="05000000000000000000" pitchFamily="2" charset="2"/>
              <a:buChar char=""/>
              <a:defRPr sz="1050" b="0"/>
            </a:lvl4pPr>
            <a:lvl5pPr marL="767935" indent="-127394">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827" indent="-173827">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1" indent="-128585">
              <a:buFont typeface="Wingdings" panose="05000000000000000000" pitchFamily="2" charset="2"/>
              <a:buChar char=""/>
              <a:defRPr sz="1500" b="0"/>
            </a:lvl2pPr>
            <a:lvl3pPr marL="479810" indent="-141682">
              <a:buFont typeface="Wingdings" panose="05000000000000000000" pitchFamily="2" charset="2"/>
              <a:buChar char=""/>
              <a:tabLst/>
              <a:defRPr sz="1200" b="0"/>
            </a:lvl3pPr>
            <a:lvl4pPr marL="621491" indent="-132157">
              <a:buFont typeface="Wingdings" panose="05000000000000000000" pitchFamily="2" charset="2"/>
              <a:buChar char=""/>
              <a:defRPr sz="1050" b="0"/>
            </a:lvl4pPr>
            <a:lvl5pPr marL="767935" indent="-127394">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6800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solidFill>
                  <a:srgbClr val="D83B0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38150" y="2971800"/>
            <a:ext cx="685800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7E582958-B9FC-45CD-B97B-46119EB37ECC}"/>
              </a:ext>
            </a:extLst>
          </p:cNvPr>
          <p:cNvSpPr>
            <a:spLocks noGrp="1"/>
          </p:cNvSpPr>
          <p:nvPr>
            <p:ph type="body" sz="quarter" idx="14" hasCustomPrompt="1"/>
          </p:nvPr>
        </p:nvSpPr>
        <p:spPr>
          <a:xfrm>
            <a:off x="438150" y="4512564"/>
            <a:ext cx="4135374" cy="230833"/>
          </a:xfrm>
          <a:noFill/>
        </p:spPr>
        <p:txBody>
          <a:bodyPr wrap="square" lIns="0" tIns="0" rIns="0" bIns="0" anchor="b">
            <a:noAutofit/>
          </a:bodyPr>
          <a:lstStyle>
            <a:lvl1pPr marL="0" indent="0" algn="l">
              <a:spcBef>
                <a:spcPts val="0"/>
              </a:spcBef>
              <a:buNone/>
              <a:defRPr sz="135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652840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8" name="Text Placeholder 4">
            <a:extLst>
              <a:ext uri="{FF2B5EF4-FFF2-40B4-BE49-F238E27FC236}">
                <a16:creationId xmlns:a16="http://schemas.microsoft.com/office/drawing/2014/main" id="{6551D545-C251-4D4D-AB3D-52FE003820E0}"/>
              </a:ext>
            </a:extLst>
          </p:cNvPr>
          <p:cNvSpPr>
            <a:spLocks noGrp="1"/>
          </p:cNvSpPr>
          <p:nvPr>
            <p:ph type="body" sz="quarter" idx="14" hasCustomPrompt="1"/>
          </p:nvPr>
        </p:nvSpPr>
        <p:spPr>
          <a:xfrm>
            <a:off x="438150" y="4512564"/>
            <a:ext cx="3106674" cy="230833"/>
          </a:xfrm>
          <a:noFill/>
        </p:spPr>
        <p:txBody>
          <a:bodyPr wrap="square" lIns="0" tIns="0" rIns="0" bIns="0" anchor="b">
            <a:noAutofit/>
          </a:bodyPr>
          <a:lstStyle>
            <a:lvl1pPr marL="0" indent="0" algn="l">
              <a:spcBef>
                <a:spcPts val="0"/>
              </a:spcBef>
              <a:buNone/>
              <a:defRPr sz="135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68665" y="0"/>
            <a:ext cx="6075335" cy="51435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6917920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0" y="1819335"/>
            <a:ext cx="4132660" cy="830997"/>
          </a:xfrm>
          <a:noFill/>
        </p:spPr>
        <p:txBody>
          <a:bodyPr wrap="square"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38150" y="2971800"/>
            <a:ext cx="4132660"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
        <p:nvSpPr>
          <p:cNvPr id="7" name="Text Placeholder 4">
            <a:extLst>
              <a:ext uri="{FF2B5EF4-FFF2-40B4-BE49-F238E27FC236}">
                <a16:creationId xmlns:a16="http://schemas.microsoft.com/office/drawing/2014/main" id="{29E8D49A-E1F4-4A07-AB4E-D44DDE006610}"/>
              </a:ext>
            </a:extLst>
          </p:cNvPr>
          <p:cNvSpPr>
            <a:spLocks noGrp="1"/>
          </p:cNvSpPr>
          <p:nvPr>
            <p:ph type="body" sz="quarter" idx="14" hasCustomPrompt="1"/>
          </p:nvPr>
        </p:nvSpPr>
        <p:spPr>
          <a:xfrm>
            <a:off x="438150" y="4512564"/>
            <a:ext cx="4132660" cy="230833"/>
          </a:xfrm>
          <a:noFill/>
        </p:spPr>
        <p:txBody>
          <a:bodyPr wrap="square" lIns="0" tIns="0" rIns="0" bIns="0" anchor="b">
            <a:noAutofit/>
          </a:bodyPr>
          <a:lstStyle>
            <a:lvl1pPr marL="0" indent="0" algn="l">
              <a:spcBef>
                <a:spcPts val="0"/>
              </a:spcBef>
              <a:buNone/>
              <a:defRPr sz="135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127907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436532" y="2971800"/>
            <a:ext cx="3123437" cy="253916"/>
          </a:xfrm>
          <a:noFill/>
        </p:spPr>
        <p:txBody>
          <a:bodyPr wrap="square" lIns="0" tIns="0" rIns="0" bIns="0">
            <a:spAutoFit/>
          </a:bodyPr>
          <a:lstStyle>
            <a:lvl1pPr marL="0" indent="0">
              <a:spcBef>
                <a:spcPts val="0"/>
              </a:spcBef>
              <a:buNone/>
              <a:defRPr sz="165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8" name="Text Placeholder 4">
            <a:extLst>
              <a:ext uri="{FF2B5EF4-FFF2-40B4-BE49-F238E27FC236}">
                <a16:creationId xmlns:a16="http://schemas.microsoft.com/office/drawing/2014/main" id="{15DA218C-BA83-4181-901D-C486606417EB}"/>
              </a:ext>
            </a:extLst>
          </p:cNvPr>
          <p:cNvSpPr>
            <a:spLocks noGrp="1"/>
          </p:cNvSpPr>
          <p:nvPr>
            <p:ph type="body" sz="quarter" idx="14" hasCustomPrompt="1"/>
          </p:nvPr>
        </p:nvSpPr>
        <p:spPr>
          <a:xfrm>
            <a:off x="438150" y="4512564"/>
            <a:ext cx="3106674" cy="230833"/>
          </a:xfrm>
          <a:noFill/>
        </p:spPr>
        <p:txBody>
          <a:bodyPr wrap="square" lIns="0" tIns="0" rIns="0" bIns="0" anchor="b">
            <a:noAutofit/>
          </a:bodyPr>
          <a:lstStyle>
            <a:lvl1pPr marL="0" indent="0" algn="l">
              <a:spcBef>
                <a:spcPts val="0"/>
              </a:spcBef>
              <a:buNone/>
              <a:defRPr sz="135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dirty="0"/>
              <a:t>Session cod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00500" y="0"/>
            <a:ext cx="5143500" cy="51435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22217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438150" y="1076325"/>
            <a:ext cx="8264129"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319998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19883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438151" y="1076325"/>
            <a:ext cx="3908822"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4792266" y="1076325"/>
            <a:ext cx="3914775" cy="120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42356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441197" y="342900"/>
            <a:ext cx="8263890" cy="415499"/>
          </a:xfrm>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panose="020B0502040204020203" pitchFamily="34" charset="0"/>
                <a:cs typeface="Segoe UI" panose="020B05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39290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17630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433824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484323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441197" y="1512152"/>
            <a:ext cx="3118772" cy="830997"/>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438150" y="2651655"/>
            <a:ext cx="3121819" cy="253916"/>
          </a:xfrm>
        </p:spPr>
        <p:txBody>
          <a:bodyPr/>
          <a:lstStyle>
            <a:lvl1pPr marL="0" indent="0">
              <a:buNone/>
              <a:defRPr sz="1650">
                <a:latin typeface="+mn-lt"/>
              </a:defRPr>
            </a:lvl1pPr>
            <a:lvl2pPr marL="171450" indent="0">
              <a:buNone/>
              <a:defRPr/>
            </a:lvl2pPr>
            <a:lvl3pPr marL="342900" indent="0">
              <a:buNone/>
              <a:defRPr/>
            </a:lvl3pPr>
            <a:lvl4pPr marL="496491" indent="0">
              <a:buNone/>
              <a:defRPr/>
            </a:lvl4pPr>
            <a:lvl5pPr marL="641747"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032933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441197" y="2155061"/>
            <a:ext cx="3119963" cy="830997"/>
          </a:xfrm>
        </p:spPr>
        <p:txBody>
          <a:bodyPr anchor="ctr"/>
          <a:lstStyle/>
          <a:p>
            <a:r>
              <a:rPr lang="en-US"/>
              <a:t>Click to edit Master title style</a:t>
            </a:r>
            <a:endParaRPr lang="en-US" dirty="0"/>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9372801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441198" y="2247395"/>
            <a:ext cx="3122344" cy="646331"/>
          </a:xfrm>
        </p:spPr>
        <p:txBody>
          <a:bodyPr anchor="t"/>
          <a:lstStyle>
            <a:lvl1pPr>
              <a:defRPr sz="2100"/>
            </a:lvl1pPr>
          </a:lstStyle>
          <a:p>
            <a:r>
              <a:rPr lang="en-US" dirty="0"/>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4000500" y="0"/>
            <a:ext cx="5143500" cy="51435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50176708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441197" y="4077096"/>
            <a:ext cx="8263890" cy="415498"/>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16276477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441197" y="649715"/>
            <a:ext cx="8263890" cy="415498"/>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1786" y="1714500"/>
            <a:ext cx="9144000" cy="3429000"/>
          </a:xfrm>
          <a:blipFill>
            <a:blip r:embed="rId2"/>
            <a:stretch>
              <a:fillRect/>
            </a:stretch>
          </a:blipFill>
        </p:spPr>
        <p:txBody>
          <a:bodyPr vert="horz" wrap="square" lIns="0" tIns="1097280" rIns="0" bIns="0" rtlCol="0" anchor="t" anchorCtr="0">
            <a:noAutofit/>
          </a:bodyPr>
          <a:lstStyle>
            <a:lvl1pPr marL="0" indent="0" algn="ctr">
              <a:buNone/>
              <a:defRPr lang="en-US" sz="1050" b="1" dirty="0">
                <a:solidFill>
                  <a:srgbClr val="FFFFFF"/>
                </a:solidFill>
              </a:defRPr>
            </a:lvl1pPr>
          </a:lstStyle>
          <a:p>
            <a:pPr marL="171450" lvl="0" indent="-17145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53876462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441197" y="342900"/>
            <a:ext cx="8263890" cy="415498"/>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8149"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1395" y="4267200"/>
            <a:ext cx="4025646"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79441" y="1519238"/>
            <a:ext cx="4025646" cy="2606040"/>
          </a:xfrm>
          <a:blipFill>
            <a:blip r:embed="rId2"/>
            <a:stretch>
              <a:fillRect/>
            </a:stretch>
          </a:blipFill>
        </p:spPr>
        <p:txBody>
          <a:bodyPr vert="horz" wrap="square" lIns="0" tIns="0" rIns="0" bIns="1188720" rtlCol="0" anchor="ctr" anchorCtr="0">
            <a:noAutofit/>
          </a:bodyPr>
          <a:lstStyle>
            <a:lvl1pPr marL="0" indent="0" algn="ctr">
              <a:buNone/>
              <a:defRPr lang="en-US" sz="750" b="1" dirty="0">
                <a:solidFill>
                  <a:srgbClr val="FFFFFF"/>
                </a:solidFill>
              </a:defRPr>
            </a:lvl1pPr>
          </a:lstStyle>
          <a:p>
            <a:pPr marL="171450" lvl="0" indent="-17145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77749132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441197" y="342900"/>
            <a:ext cx="8263890" cy="415498"/>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268980"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268980"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100764" y="4267200"/>
            <a:ext cx="2606278" cy="230832"/>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099047" y="1519238"/>
            <a:ext cx="2606040" cy="2606040"/>
          </a:xfrm>
          <a:blipFill>
            <a:blip r:embed="rId2"/>
            <a:stretch>
              <a:fillRect/>
            </a:stretch>
          </a:blipFill>
        </p:spPr>
        <p:txBody>
          <a:bodyPr lIns="0" tIns="0" rIns="0" bIns="100584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9997116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441197" y="342900"/>
            <a:ext cx="8263890" cy="415498"/>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436960"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436959"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2560431"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2560431"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4683903"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4683903"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6807375" y="3565454"/>
            <a:ext cx="1899666" cy="461665"/>
          </a:xfrm>
        </p:spPr>
        <p:txBody>
          <a:bodyPr/>
          <a:lstStyle>
            <a:lvl1pPr marL="0" indent="0" algn="ctr">
              <a:spcBef>
                <a:spcPts val="0"/>
              </a:spcBef>
              <a:buNone/>
              <a:defRPr sz="15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6807375" y="1519238"/>
            <a:ext cx="1899666" cy="1899666"/>
          </a:xfrm>
          <a:blipFill>
            <a:blip r:embed="rId2"/>
            <a:stretch>
              <a:fillRect/>
            </a:stretch>
          </a:blipFill>
        </p:spPr>
        <p:txBody>
          <a:bodyPr lIns="0" tIns="0" rIns="0" bIns="731520" anchor="ctr" anchorCtr="0">
            <a:noAutofit/>
          </a:bodyPr>
          <a:lstStyle>
            <a:lvl1pPr marL="0" indent="0" algn="ctr">
              <a:lnSpc>
                <a:spcPct val="100000"/>
              </a:lnSpc>
              <a:buNone/>
              <a:defRPr sz="45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64289792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6086475" y="1513285"/>
            <a:ext cx="2620566" cy="230832"/>
          </a:xfrm>
        </p:spPr>
        <p:txBody>
          <a:bodyPr/>
          <a:lstStyle>
            <a:lvl1pPr marL="0" indent="0">
              <a:buFontTx/>
              <a:buNone/>
              <a:defRPr sz="15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436959" y="1077516"/>
            <a:ext cx="5439966" cy="3624263"/>
          </a:xfrm>
          <a:blipFill>
            <a:blip r:embed="rId2"/>
            <a:stretch>
              <a:fillRect/>
            </a:stretch>
          </a:blipFill>
        </p:spPr>
        <p:txBody>
          <a:bodyPr bIns="1005840" anchor="ctr">
            <a:noAutofit/>
          </a:bodyPr>
          <a:lstStyle>
            <a:lvl1pPr marL="0" indent="0" algn="ctr">
              <a:buNone/>
              <a:defRPr sz="750" b="1">
                <a:solidFill>
                  <a:srgbClr val="000000"/>
                </a:solidFill>
              </a:defRPr>
            </a:lvl1pPr>
          </a:lstStyle>
          <a:p>
            <a:r>
              <a:rPr lang="en-US" dirty="0"/>
              <a:t>Drag &amp; drop a screenshot </a:t>
            </a:r>
            <a:br>
              <a:rPr lang="en-US" dirty="0"/>
            </a:br>
            <a:r>
              <a:rPr lang="en-US" dirty="0"/>
              <a:t>here or click or tap icon </a:t>
            </a:r>
            <a:br>
              <a:rPr lang="en-US" dirty="0"/>
            </a:br>
            <a:r>
              <a:rPr lang="en-US" dirty="0"/>
              <a:t>below to insert </a:t>
            </a:r>
          </a:p>
        </p:txBody>
      </p:sp>
    </p:spTree>
    <p:extLst>
      <p:ext uri="{BB962C8B-B14F-4D97-AF65-F5344CB8AC3E}">
        <p14:creationId xmlns:p14="http://schemas.microsoft.com/office/powerpoint/2010/main" val="142012425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438150" y="1729380"/>
            <a:ext cx="2601717" cy="830997"/>
          </a:xfrm>
        </p:spPr>
        <p:txBody>
          <a:bodyPr/>
          <a:lstStyle>
            <a:lvl1pPr>
              <a:defRPr sz="27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3484578" y="1835279"/>
            <a:ext cx="5220891" cy="276999"/>
          </a:xfrm>
        </p:spPr>
        <p:txBody>
          <a:bodyPr/>
          <a:lstStyle>
            <a:lvl1pPr marL="0" indent="0">
              <a:spcAft>
                <a:spcPts val="900"/>
              </a:spcAft>
              <a:buNone/>
              <a:defRPr sz="1800"/>
            </a:lvl1pPr>
            <a:lvl2pPr marL="17145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441198" y="1513285"/>
            <a:ext cx="260799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3486150" y="1513285"/>
            <a:ext cx="5220891"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741703"/>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0906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0"/>
            <a:ext cx="2387728" cy="415499"/>
          </a:xfrm>
          <a:noFill/>
        </p:spPr>
        <p:txBody>
          <a:bodyPr anchor="ctr"/>
          <a:lstStyle>
            <a:lvl1pPr>
              <a:defRPr>
                <a:solidFill>
                  <a:schemeClr val="bg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17478186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3267075" cy="51435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441198" y="2362811"/>
            <a:ext cx="2387728" cy="415498"/>
          </a:xfrm>
        </p:spPr>
        <p:txBody>
          <a:bodyPr anchor="ctr"/>
          <a:lstStyle>
            <a:lvl1pPr>
              <a:defRPr>
                <a:solidFill>
                  <a:schemeClr val="tx1"/>
                </a:solidFill>
              </a:defRPr>
            </a:lvl1pPr>
          </a:lstStyle>
          <a:p>
            <a:r>
              <a:rPr lang="en-US" dirty="0"/>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3703736" y="2408977"/>
            <a:ext cx="5002244" cy="323165"/>
          </a:xfrm>
        </p:spPr>
        <p:txBody>
          <a:bodyPr anchor="ctr" anchorCtr="0"/>
          <a:lstStyle>
            <a:lvl1pPr marL="0" indent="0">
              <a:spcAft>
                <a:spcPts val="900"/>
              </a:spcAft>
              <a:buNone/>
              <a:defRPr sz="2100"/>
            </a:lvl1pPr>
            <a:lvl2pPr marL="171450" indent="0">
              <a:buNone/>
              <a:defRPr/>
            </a:lvl2pPr>
          </a:lstStyle>
          <a:p>
            <a:pPr lvl="0"/>
            <a:r>
              <a:rPr lang="en-US"/>
              <a:t>Click to edit Master text styles</a:t>
            </a:r>
          </a:p>
        </p:txBody>
      </p:sp>
    </p:spTree>
    <p:extLst>
      <p:ext uri="{BB962C8B-B14F-4D97-AF65-F5344CB8AC3E}">
        <p14:creationId xmlns:p14="http://schemas.microsoft.com/office/powerpoint/2010/main" val="30422772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441198" y="2362811"/>
            <a:ext cx="2386520" cy="415498"/>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3706416" y="2408977"/>
            <a:ext cx="5000625" cy="323165"/>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267075" y="1933575"/>
            <a:ext cx="0" cy="127635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8988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312763" y="-8165"/>
            <a:ext cx="5840874" cy="5161050"/>
          </a:xfrm>
          <a:prstGeom prst="rect">
            <a:avLst/>
          </a:prstGeom>
        </p:spPr>
      </p:pic>
      <p:sp>
        <p:nvSpPr>
          <p:cNvPr id="2" name="Title 1"/>
          <p:cNvSpPr>
            <a:spLocks noGrp="1"/>
          </p:cNvSpPr>
          <p:nvPr>
            <p:ph type="title" hasCustomPrompt="1"/>
          </p:nvPr>
        </p:nvSpPr>
        <p:spPr>
          <a:xfrm>
            <a:off x="438912" y="2274917"/>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438912" y="2982989"/>
            <a:ext cx="4133088" cy="253916"/>
          </a:xfrm>
          <a:noFill/>
        </p:spPr>
        <p:txBody>
          <a:bodyPr wrap="square" lIns="0" tIns="0" rIns="0" bIns="0">
            <a:spAutoFit/>
          </a:bodyPr>
          <a:lstStyle>
            <a:lvl1pPr marL="0" indent="0">
              <a:spcBef>
                <a:spcPts val="0"/>
              </a:spcBef>
              <a:spcAft>
                <a:spcPts val="0"/>
              </a:spcAft>
              <a:buFont typeface="Arial" panose="020B0604020202020204" pitchFamily="34" charset="0"/>
              <a:buNone/>
              <a:defRPr sz="1650"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33976449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8912" y="2276856"/>
            <a:ext cx="4133088" cy="373949"/>
          </a:xfrm>
          <a:noFill/>
        </p:spPr>
        <p:txBody>
          <a:bodyPr wrap="square" lIns="0" tIns="0" rIns="0" bIns="0" anchor="b" anchorCtr="0">
            <a:spAutoFit/>
          </a:bodyPr>
          <a:lstStyle>
            <a:lvl1pPr algn="l" defTabSz="699557" rtl="0" eaLnBrk="1" latinLnBrk="0" hangingPunct="1">
              <a:lnSpc>
                <a:spcPct val="90000"/>
              </a:lnSpc>
              <a:spcBef>
                <a:spcPct val="0"/>
              </a:spcBef>
              <a:buNone/>
              <a:defRPr lang="en-US" sz="2700" b="0" kern="1200" cap="none" spc="-38" baseline="0" dirty="0">
                <a:ln w="3175">
                  <a:noFill/>
                </a:ln>
                <a:solidFill>
                  <a:schemeClr val="tx1"/>
                </a:solidFill>
                <a:effectLst/>
                <a:latin typeface="+mj-lt"/>
                <a:ea typeface="+mn-ea"/>
                <a:cs typeface="Segoe UI" pitchFamily="34" charset="0"/>
              </a:defRPr>
            </a:lvl1pPr>
          </a:lstStyle>
          <a:p>
            <a:r>
              <a:rPr lang="en-US" dirty="0"/>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55963" y="-1"/>
            <a:ext cx="3088037" cy="5143501"/>
          </a:xfrm>
          <a:prstGeom prst="rect">
            <a:avLst/>
          </a:prstGeom>
        </p:spPr>
      </p:pic>
    </p:spTree>
    <p:extLst>
      <p:ext uri="{BB962C8B-B14F-4D97-AF65-F5344CB8AC3E}">
        <p14:creationId xmlns:p14="http://schemas.microsoft.com/office/powerpoint/2010/main" val="35668725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5277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1818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98103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30256787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741164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77328"/>
          </a:xfrm>
        </p:spPr>
        <p:txBody>
          <a:bodyPr/>
          <a:lstStyle>
            <a:lvl1pPr marL="0"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09"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44"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07"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2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33189545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Image Left - List Righ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B3AA29C-2E9C-964A-B581-B46459F2EC61}"/>
              </a:ext>
            </a:extLst>
          </p:cNvPr>
          <p:cNvSpPr>
            <a:spLocks noGrp="1"/>
          </p:cNvSpPr>
          <p:nvPr>
            <p:ph type="body" sz="quarter" idx="13" hasCustomPrompt="1"/>
          </p:nvPr>
        </p:nvSpPr>
        <p:spPr>
          <a:xfrm>
            <a:off x="3053752" y="1551827"/>
            <a:ext cx="5651336" cy="434639"/>
          </a:xfrm>
        </p:spPr>
        <p:txBody>
          <a:bodyPr lIns="274320" anchor="t"/>
          <a:lstStyle>
            <a:lvl1pPr marL="0" indent="0" algn="l">
              <a:lnSpc>
                <a:spcPct val="150000"/>
              </a:lnSpc>
              <a:buNone/>
              <a:defRPr/>
            </a:lvl1pPr>
          </a:lstStyle>
          <a:p>
            <a:pPr lvl="0"/>
            <a:r>
              <a:rPr lang="en-US"/>
              <a:t>Click to add text</a:t>
            </a:r>
          </a:p>
        </p:txBody>
      </p:sp>
      <p:sp>
        <p:nvSpPr>
          <p:cNvPr id="11" name="Title 10">
            <a:extLst>
              <a:ext uri="{FF2B5EF4-FFF2-40B4-BE49-F238E27FC236}">
                <a16:creationId xmlns:a16="http://schemas.microsoft.com/office/drawing/2014/main" id="{879ABC1B-B7F3-704D-B5D6-664F33BD7444}"/>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DCDEE8D0-E922-FD45-8DFA-8A15BCC80ED5}"/>
              </a:ext>
            </a:extLst>
          </p:cNvPr>
          <p:cNvSpPr/>
          <p:nvPr userDrawn="1"/>
        </p:nvSpPr>
        <p:spPr bwMode="auto">
          <a:xfrm>
            <a:off x="1345720" y="1332341"/>
            <a:ext cx="1478756" cy="30153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77AD7670-E0DC-D44C-955D-B9FA14C6B89D}"/>
              </a:ext>
            </a:extLst>
          </p:cNvPr>
          <p:cNvSpPr/>
          <p:nvPr userDrawn="1"/>
        </p:nvSpPr>
        <p:spPr bwMode="auto">
          <a:xfrm>
            <a:off x="1" y="1332341"/>
            <a:ext cx="2730260" cy="30153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66" name="Content Placeholder 54">
            <a:extLst>
              <a:ext uri="{FF2B5EF4-FFF2-40B4-BE49-F238E27FC236}">
                <a16:creationId xmlns:a16="http://schemas.microsoft.com/office/drawing/2014/main" id="{9212B039-8523-8D4B-867D-A6E79EAAE615}"/>
              </a:ext>
            </a:extLst>
          </p:cNvPr>
          <p:cNvSpPr>
            <a:spLocks noGrp="1"/>
          </p:cNvSpPr>
          <p:nvPr>
            <p:ph sz="quarter" idx="36" hasCustomPrompt="1"/>
          </p:nvPr>
        </p:nvSpPr>
        <p:spPr>
          <a:xfrm>
            <a:off x="430765" y="1551827"/>
            <a:ext cx="1829909" cy="2580792"/>
          </a:xfrm>
        </p:spPr>
        <p:txBody>
          <a:bodyPr anchor="ctr">
            <a:noAutofit/>
          </a:bodyPr>
          <a:lstStyle>
            <a:lvl1pPr marL="0" indent="0" algn="ctr">
              <a:buNone/>
              <a:defRPr sz="788"/>
            </a:lvl1pPr>
          </a:lstStyle>
          <a:p>
            <a:pPr lvl="0"/>
            <a:r>
              <a:rPr lang="en-US"/>
              <a:t>content</a:t>
            </a:r>
          </a:p>
        </p:txBody>
      </p:sp>
    </p:spTree>
    <p:extLst>
      <p:ext uri="{BB962C8B-B14F-4D97-AF65-F5344CB8AC3E}">
        <p14:creationId xmlns:p14="http://schemas.microsoft.com/office/powerpoint/2010/main" val="1754350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50" fill="hold"/>
                                        <p:tgtEl>
                                          <p:spTgt spid="15"/>
                                        </p:tgtEl>
                                        <p:attrNameLst>
                                          <p:attrName>ppt_x</p:attrName>
                                        </p:attrNameLst>
                                      </p:cBhvr>
                                      <p:tavLst>
                                        <p:tav tm="0">
                                          <p:val>
                                            <p:strVal val="0-#ppt_w/2"/>
                                          </p:val>
                                        </p:tav>
                                        <p:tav tm="100000">
                                          <p:val>
                                            <p:strVal val="#ppt_x"/>
                                          </p:val>
                                        </p:tav>
                                      </p:tavLst>
                                    </p:anim>
                                    <p:anim calcmode="lin" valueType="num">
                                      <p:cBhvr additive="base">
                                        <p:cTn id="12" dur="750" fill="hold"/>
                                        <p:tgtEl>
                                          <p:spTgt spid="15"/>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66">
                                            <p:txEl>
                                              <p:pRg st="0" end="0"/>
                                            </p:txEl>
                                          </p:spTgt>
                                        </p:tgtEl>
                                        <p:attrNameLst>
                                          <p:attrName>style.visibility</p:attrName>
                                        </p:attrNameLst>
                                      </p:cBhvr>
                                      <p:to>
                                        <p:strVal val="visible"/>
                                      </p:to>
                                    </p:set>
                                    <p:animEffect transition="in" filter="fade">
                                      <p:cBhvr>
                                        <p:cTn id="16" dur="500"/>
                                        <p:tgtEl>
                                          <p:spTgt spid="66">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xEl>
                                              <p:pRg st="0" end="0"/>
                                            </p:txEl>
                                          </p:spTgt>
                                        </p:tgtEl>
                                        <p:attrNameLst>
                                          <p:attrName>style.visibility</p:attrName>
                                        </p:attrNameLst>
                                      </p:cBhvr>
                                      <p:to>
                                        <p:strVal val="visible"/>
                                      </p:to>
                                    </p:set>
                                    <p:animEffect transition="in" filter="fade">
                                      <p:cBhvr>
                                        <p:cTn id="21"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4" grpId="0" animBg="1"/>
      <p:bldP spid="15" grpId="0" animBg="1"/>
      <p:bldP spid="66" grpId="0" build="p">
        <p:tmplLst>
          <p:tmpl lvl="1">
            <p:tnLst>
              <p:par>
                <p:cTn presetID="10" presetClass="entr" presetSubtype="0" fill="hold" nodeType="afterEffect">
                  <p:stCondLst>
                    <p:cond delay="0"/>
                  </p:stCondLst>
                  <p:childTnLst>
                    <p:set>
                      <p:cBhvr>
                        <p:cTn dur="1" fill="hold">
                          <p:stCondLst>
                            <p:cond delay="0"/>
                          </p:stCondLst>
                        </p:cTn>
                        <p:tgtEl>
                          <p:spTgt spid="66"/>
                        </p:tgtEl>
                        <p:attrNameLst>
                          <p:attrName>style.visibility</p:attrName>
                        </p:attrNameLst>
                      </p:cBhvr>
                      <p:to>
                        <p:strVal val="visible"/>
                      </p:to>
                    </p:set>
                    <p:animEffect transition="in" filter="fade">
                      <p:cBhvr>
                        <p:cTn dur="500"/>
                        <p:tgtEl>
                          <p:spTgt spid="66"/>
                        </p:tgtEl>
                      </p:cBhvr>
                    </p:animEffect>
                  </p:childTnLst>
                </p:cTn>
              </p:par>
            </p:tnLst>
          </p:tmpl>
        </p:tmplLst>
      </p:bldP>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Image Right - List Lef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B3AA29C-2E9C-964A-B581-B46459F2EC61}"/>
              </a:ext>
            </a:extLst>
          </p:cNvPr>
          <p:cNvSpPr>
            <a:spLocks noGrp="1"/>
          </p:cNvSpPr>
          <p:nvPr>
            <p:ph type="body" sz="quarter" idx="13" hasCustomPrompt="1"/>
          </p:nvPr>
        </p:nvSpPr>
        <p:spPr>
          <a:xfrm>
            <a:off x="478767" y="1577112"/>
            <a:ext cx="5499340" cy="434639"/>
          </a:xfrm>
        </p:spPr>
        <p:txBody>
          <a:bodyPr lIns="274320" anchor="t"/>
          <a:lstStyle>
            <a:lvl1pPr marL="0" indent="0" algn="r">
              <a:lnSpc>
                <a:spcPct val="150000"/>
              </a:lnSpc>
              <a:buNone/>
              <a:defRPr/>
            </a:lvl1pPr>
          </a:lstStyle>
          <a:p>
            <a:pPr lvl="0"/>
            <a:r>
              <a:rPr lang="en-US"/>
              <a:t>Click to add text</a:t>
            </a:r>
          </a:p>
        </p:txBody>
      </p:sp>
      <p:sp>
        <p:nvSpPr>
          <p:cNvPr id="11" name="Title 10">
            <a:extLst>
              <a:ext uri="{FF2B5EF4-FFF2-40B4-BE49-F238E27FC236}">
                <a16:creationId xmlns:a16="http://schemas.microsoft.com/office/drawing/2014/main" id="{879ABC1B-B7F3-704D-B5D6-664F33BD7444}"/>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DCDEE8D0-E922-FD45-8DFA-8A15BCC80ED5}"/>
              </a:ext>
            </a:extLst>
          </p:cNvPr>
          <p:cNvSpPr/>
          <p:nvPr userDrawn="1"/>
        </p:nvSpPr>
        <p:spPr bwMode="auto">
          <a:xfrm flipH="1">
            <a:off x="6300114" y="1351750"/>
            <a:ext cx="1478756" cy="30153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77AD7670-E0DC-D44C-955D-B9FA14C6B89D}"/>
              </a:ext>
            </a:extLst>
          </p:cNvPr>
          <p:cNvSpPr/>
          <p:nvPr userDrawn="1"/>
        </p:nvSpPr>
        <p:spPr bwMode="auto">
          <a:xfrm flipH="1">
            <a:off x="6413740" y="1351750"/>
            <a:ext cx="2730260" cy="30153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66" name="Content Placeholder 54">
            <a:extLst>
              <a:ext uri="{FF2B5EF4-FFF2-40B4-BE49-F238E27FC236}">
                <a16:creationId xmlns:a16="http://schemas.microsoft.com/office/drawing/2014/main" id="{9212B039-8523-8D4B-867D-A6E79EAAE615}"/>
              </a:ext>
            </a:extLst>
          </p:cNvPr>
          <p:cNvSpPr>
            <a:spLocks noGrp="1"/>
          </p:cNvSpPr>
          <p:nvPr>
            <p:ph sz="quarter" idx="36" hasCustomPrompt="1"/>
          </p:nvPr>
        </p:nvSpPr>
        <p:spPr>
          <a:xfrm>
            <a:off x="6929168" y="1569040"/>
            <a:ext cx="1829909" cy="2580792"/>
          </a:xfrm>
        </p:spPr>
        <p:txBody>
          <a:bodyPr anchor="ctr">
            <a:noAutofit/>
          </a:bodyPr>
          <a:lstStyle>
            <a:lvl1pPr marL="0" indent="0" algn="ctr">
              <a:buNone/>
              <a:defRPr sz="788"/>
            </a:lvl1pPr>
          </a:lstStyle>
          <a:p>
            <a:pPr lvl="0"/>
            <a:r>
              <a:rPr lang="en-US"/>
              <a:t>content</a:t>
            </a:r>
          </a:p>
        </p:txBody>
      </p:sp>
    </p:spTree>
    <p:extLst>
      <p:ext uri="{BB962C8B-B14F-4D97-AF65-F5344CB8AC3E}">
        <p14:creationId xmlns:p14="http://schemas.microsoft.com/office/powerpoint/2010/main" val="20396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1+#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50" fill="hold"/>
                                        <p:tgtEl>
                                          <p:spTgt spid="15"/>
                                        </p:tgtEl>
                                        <p:attrNameLst>
                                          <p:attrName>ppt_x</p:attrName>
                                        </p:attrNameLst>
                                      </p:cBhvr>
                                      <p:tavLst>
                                        <p:tav tm="0">
                                          <p:val>
                                            <p:strVal val="1+#ppt_w/2"/>
                                          </p:val>
                                        </p:tav>
                                        <p:tav tm="100000">
                                          <p:val>
                                            <p:strVal val="#ppt_x"/>
                                          </p:val>
                                        </p:tav>
                                      </p:tavLst>
                                    </p:anim>
                                    <p:anim calcmode="lin" valueType="num">
                                      <p:cBhvr additive="base">
                                        <p:cTn id="12" dur="750" fill="hold"/>
                                        <p:tgtEl>
                                          <p:spTgt spid="15"/>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66">
                                            <p:txEl>
                                              <p:pRg st="0" end="0"/>
                                            </p:txEl>
                                          </p:spTgt>
                                        </p:tgtEl>
                                        <p:attrNameLst>
                                          <p:attrName>style.visibility</p:attrName>
                                        </p:attrNameLst>
                                      </p:cBhvr>
                                      <p:to>
                                        <p:strVal val="visible"/>
                                      </p:to>
                                    </p:set>
                                    <p:animEffect transition="in" filter="fade">
                                      <p:cBhvr>
                                        <p:cTn id="16" dur="500"/>
                                        <p:tgtEl>
                                          <p:spTgt spid="66">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xEl>
                                              <p:pRg st="0" end="0"/>
                                            </p:txEl>
                                          </p:spTgt>
                                        </p:tgtEl>
                                        <p:attrNameLst>
                                          <p:attrName>style.visibility</p:attrName>
                                        </p:attrNameLst>
                                      </p:cBhvr>
                                      <p:to>
                                        <p:strVal val="visible"/>
                                      </p:to>
                                    </p:set>
                                    <p:animEffect transition="in" filter="fade">
                                      <p:cBhvr>
                                        <p:cTn id="21"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4" grpId="0" animBg="1"/>
      <p:bldP spid="15" grpId="0" animBg="1"/>
      <p:bldP spid="66" grpId="0" build="p">
        <p:tmplLst>
          <p:tmpl lvl="1">
            <p:tnLst>
              <p:par>
                <p:cTn presetID="10" presetClass="entr" presetSubtype="0" fill="hold" nodeType="afterEffect">
                  <p:stCondLst>
                    <p:cond delay="0"/>
                  </p:stCondLst>
                  <p:childTnLst>
                    <p:set>
                      <p:cBhvr>
                        <p:cTn dur="1" fill="hold">
                          <p:stCondLst>
                            <p:cond delay="0"/>
                          </p:stCondLst>
                        </p:cTn>
                        <p:tgtEl>
                          <p:spTgt spid="66"/>
                        </p:tgtEl>
                        <p:attrNameLst>
                          <p:attrName>style.visibility</p:attrName>
                        </p:attrNameLst>
                      </p:cBhvr>
                      <p:to>
                        <p:strVal val="visible"/>
                      </p:to>
                    </p:set>
                    <p:animEffect transition="in" filter="fade">
                      <p:cBhvr>
                        <p:cTn dur="500"/>
                        <p:tgtEl>
                          <p:spTgt spid="66"/>
                        </p:tgtEl>
                      </p:cBhvr>
                    </p:animEffect>
                  </p:childTnLst>
                </p:cTn>
              </p:par>
            </p:tnLst>
          </p:tmpl>
        </p:tmplLst>
      </p:bldP>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4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B3AA29C-2E9C-964A-B581-B46459F2EC61}"/>
              </a:ext>
            </a:extLst>
          </p:cNvPr>
          <p:cNvSpPr>
            <a:spLocks noGrp="1"/>
          </p:cNvSpPr>
          <p:nvPr>
            <p:ph type="body" sz="quarter" idx="13" hasCustomPrompt="1"/>
          </p:nvPr>
        </p:nvSpPr>
        <p:spPr>
          <a:xfrm>
            <a:off x="1640681" y="1433972"/>
            <a:ext cx="7064406" cy="323165"/>
          </a:xfrm>
        </p:spPr>
        <p:txBody>
          <a:bodyPr lIns="274320" anchor="ctr"/>
          <a:lstStyle>
            <a:lvl1pPr marL="0" indent="0" algn="l">
              <a:buNone/>
              <a:defRPr/>
            </a:lvl1pPr>
          </a:lstStyle>
          <a:p>
            <a:pPr lvl="0"/>
            <a:r>
              <a:rPr lang="en-US"/>
              <a:t>Click to add text</a:t>
            </a:r>
          </a:p>
        </p:txBody>
      </p:sp>
      <p:sp>
        <p:nvSpPr>
          <p:cNvPr id="11" name="Title 10">
            <a:extLst>
              <a:ext uri="{FF2B5EF4-FFF2-40B4-BE49-F238E27FC236}">
                <a16:creationId xmlns:a16="http://schemas.microsoft.com/office/drawing/2014/main" id="{879ABC1B-B7F3-704D-B5D6-664F33BD7444}"/>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DCDEE8D0-E922-FD45-8DFA-8A15BCC80ED5}"/>
              </a:ext>
            </a:extLst>
          </p:cNvPr>
          <p:cNvSpPr/>
          <p:nvPr userDrawn="1"/>
        </p:nvSpPr>
        <p:spPr bwMode="auto">
          <a:xfrm>
            <a:off x="0" y="1281311"/>
            <a:ext cx="1478756" cy="6310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77AD7670-E0DC-D44C-955D-B9FA14C6B89D}"/>
              </a:ext>
            </a:extLst>
          </p:cNvPr>
          <p:cNvSpPr/>
          <p:nvPr userDrawn="1"/>
        </p:nvSpPr>
        <p:spPr bwMode="auto">
          <a:xfrm>
            <a:off x="-1" y="1281311"/>
            <a:ext cx="1384541" cy="6310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 Placeholder 9">
            <a:extLst>
              <a:ext uri="{FF2B5EF4-FFF2-40B4-BE49-F238E27FC236}">
                <a16:creationId xmlns:a16="http://schemas.microsoft.com/office/drawing/2014/main" id="{54B9CF78-A186-D445-9293-DB69239F7C3B}"/>
              </a:ext>
            </a:extLst>
          </p:cNvPr>
          <p:cNvSpPr>
            <a:spLocks noGrp="1"/>
          </p:cNvSpPr>
          <p:nvPr>
            <p:ph type="body" sz="quarter" idx="20" hasCustomPrompt="1"/>
          </p:nvPr>
        </p:nvSpPr>
        <p:spPr>
          <a:xfrm>
            <a:off x="1630271" y="2223268"/>
            <a:ext cx="7064406" cy="323165"/>
          </a:xfrm>
        </p:spPr>
        <p:txBody>
          <a:bodyPr lIns="274320" anchor="ctr"/>
          <a:lstStyle>
            <a:lvl1pPr marL="0" indent="0" algn="l">
              <a:buNone/>
              <a:defRPr/>
            </a:lvl1pPr>
          </a:lstStyle>
          <a:p>
            <a:pPr lvl="0"/>
            <a:r>
              <a:rPr lang="en-US"/>
              <a:t>Click to add text</a:t>
            </a:r>
          </a:p>
        </p:txBody>
      </p:sp>
      <p:sp>
        <p:nvSpPr>
          <p:cNvPr id="30" name="Rectangle 29">
            <a:extLst>
              <a:ext uri="{FF2B5EF4-FFF2-40B4-BE49-F238E27FC236}">
                <a16:creationId xmlns:a16="http://schemas.microsoft.com/office/drawing/2014/main" id="{B410D8D3-85A2-B64C-8408-7D796D18CCBE}"/>
              </a:ext>
            </a:extLst>
          </p:cNvPr>
          <p:cNvSpPr/>
          <p:nvPr userDrawn="1"/>
        </p:nvSpPr>
        <p:spPr bwMode="auto">
          <a:xfrm>
            <a:off x="-10411" y="2070607"/>
            <a:ext cx="1478756" cy="6310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5837222B-CE0A-5A4F-B112-13E6FAF0ACA7}"/>
              </a:ext>
            </a:extLst>
          </p:cNvPr>
          <p:cNvSpPr/>
          <p:nvPr userDrawn="1"/>
        </p:nvSpPr>
        <p:spPr bwMode="auto">
          <a:xfrm>
            <a:off x="-10412" y="2070607"/>
            <a:ext cx="1384541" cy="6310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 Placeholder 9">
            <a:extLst>
              <a:ext uri="{FF2B5EF4-FFF2-40B4-BE49-F238E27FC236}">
                <a16:creationId xmlns:a16="http://schemas.microsoft.com/office/drawing/2014/main" id="{A94A1737-6C13-254B-81C7-AE1A183586D9}"/>
              </a:ext>
            </a:extLst>
          </p:cNvPr>
          <p:cNvSpPr>
            <a:spLocks noGrp="1"/>
          </p:cNvSpPr>
          <p:nvPr>
            <p:ph type="body" sz="quarter" idx="22" hasCustomPrompt="1"/>
          </p:nvPr>
        </p:nvSpPr>
        <p:spPr>
          <a:xfrm>
            <a:off x="1630271" y="3012565"/>
            <a:ext cx="7064406" cy="323165"/>
          </a:xfrm>
        </p:spPr>
        <p:txBody>
          <a:bodyPr lIns="274320" anchor="ctr"/>
          <a:lstStyle>
            <a:lvl1pPr marL="0" indent="0" algn="l">
              <a:buNone/>
              <a:defRPr/>
            </a:lvl1pPr>
          </a:lstStyle>
          <a:p>
            <a:pPr lvl="0"/>
            <a:r>
              <a:rPr lang="en-US"/>
              <a:t>Click to add text</a:t>
            </a:r>
          </a:p>
        </p:txBody>
      </p:sp>
      <p:sp>
        <p:nvSpPr>
          <p:cNvPr id="34" name="Rectangle 33">
            <a:extLst>
              <a:ext uri="{FF2B5EF4-FFF2-40B4-BE49-F238E27FC236}">
                <a16:creationId xmlns:a16="http://schemas.microsoft.com/office/drawing/2014/main" id="{9D3F92D6-00CD-D440-A6C8-E7B5C9FC5F18}"/>
              </a:ext>
            </a:extLst>
          </p:cNvPr>
          <p:cNvSpPr/>
          <p:nvPr userDrawn="1"/>
        </p:nvSpPr>
        <p:spPr bwMode="auto">
          <a:xfrm>
            <a:off x="-10411" y="2859904"/>
            <a:ext cx="1478756" cy="6310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a16="http://schemas.microsoft.com/office/drawing/2014/main" id="{2CD3FC8B-DA32-6947-BC78-5E97FCB0F35A}"/>
              </a:ext>
            </a:extLst>
          </p:cNvPr>
          <p:cNvSpPr/>
          <p:nvPr userDrawn="1"/>
        </p:nvSpPr>
        <p:spPr bwMode="auto">
          <a:xfrm>
            <a:off x="-10412" y="2859904"/>
            <a:ext cx="1384541" cy="6310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 Placeholder 9">
            <a:extLst>
              <a:ext uri="{FF2B5EF4-FFF2-40B4-BE49-F238E27FC236}">
                <a16:creationId xmlns:a16="http://schemas.microsoft.com/office/drawing/2014/main" id="{7E4DE122-B7D9-E24C-9C45-BB9068A10572}"/>
              </a:ext>
            </a:extLst>
          </p:cNvPr>
          <p:cNvSpPr>
            <a:spLocks noGrp="1"/>
          </p:cNvSpPr>
          <p:nvPr>
            <p:ph type="body" sz="quarter" idx="24" hasCustomPrompt="1"/>
          </p:nvPr>
        </p:nvSpPr>
        <p:spPr>
          <a:xfrm>
            <a:off x="1630271" y="3801861"/>
            <a:ext cx="7064406" cy="323165"/>
          </a:xfrm>
        </p:spPr>
        <p:txBody>
          <a:bodyPr lIns="274320" anchor="ctr"/>
          <a:lstStyle>
            <a:lvl1pPr marL="0" indent="0" algn="l">
              <a:buNone/>
              <a:defRPr/>
            </a:lvl1pPr>
          </a:lstStyle>
          <a:p>
            <a:pPr lvl="0"/>
            <a:r>
              <a:rPr lang="en-US"/>
              <a:t>Click to add text</a:t>
            </a:r>
          </a:p>
        </p:txBody>
      </p:sp>
      <p:sp>
        <p:nvSpPr>
          <p:cNvPr id="38" name="Rectangle 37">
            <a:extLst>
              <a:ext uri="{FF2B5EF4-FFF2-40B4-BE49-F238E27FC236}">
                <a16:creationId xmlns:a16="http://schemas.microsoft.com/office/drawing/2014/main" id="{6C309DA8-D206-7347-A135-B6D3722260E4}"/>
              </a:ext>
            </a:extLst>
          </p:cNvPr>
          <p:cNvSpPr/>
          <p:nvPr userDrawn="1"/>
        </p:nvSpPr>
        <p:spPr bwMode="auto">
          <a:xfrm>
            <a:off x="-10411" y="3649200"/>
            <a:ext cx="1478756" cy="6310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a:extLst>
              <a:ext uri="{FF2B5EF4-FFF2-40B4-BE49-F238E27FC236}">
                <a16:creationId xmlns:a16="http://schemas.microsoft.com/office/drawing/2014/main" id="{A68936C0-EEED-1C4F-8276-54E23EBD9F29}"/>
              </a:ext>
            </a:extLst>
          </p:cNvPr>
          <p:cNvSpPr/>
          <p:nvPr userDrawn="1"/>
        </p:nvSpPr>
        <p:spPr bwMode="auto">
          <a:xfrm>
            <a:off x="-10412" y="3649200"/>
            <a:ext cx="1384541" cy="63104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45" name="Content Placeholder 54">
            <a:extLst>
              <a:ext uri="{FF2B5EF4-FFF2-40B4-BE49-F238E27FC236}">
                <a16:creationId xmlns:a16="http://schemas.microsoft.com/office/drawing/2014/main" id="{7898A2ED-BC39-B843-A550-85D30D1D8C08}"/>
              </a:ext>
            </a:extLst>
          </p:cNvPr>
          <p:cNvSpPr>
            <a:spLocks noGrp="1"/>
          </p:cNvSpPr>
          <p:nvPr>
            <p:ph sz="quarter" idx="28" hasCustomPrompt="1"/>
          </p:nvPr>
        </p:nvSpPr>
        <p:spPr>
          <a:xfrm>
            <a:off x="396477" y="1251429"/>
            <a:ext cx="685800" cy="685800"/>
          </a:xfrm>
        </p:spPr>
        <p:txBody>
          <a:bodyPr anchor="ctr">
            <a:noAutofit/>
          </a:bodyPr>
          <a:lstStyle>
            <a:lvl1pPr marL="0" indent="0" algn="ctr">
              <a:buNone/>
              <a:defRPr sz="788"/>
            </a:lvl1pPr>
          </a:lstStyle>
          <a:p>
            <a:pPr lvl="0"/>
            <a:r>
              <a:rPr lang="en-US"/>
              <a:t>content</a:t>
            </a:r>
          </a:p>
        </p:txBody>
      </p:sp>
      <p:sp>
        <p:nvSpPr>
          <p:cNvPr id="46" name="Content Placeholder 54">
            <a:extLst>
              <a:ext uri="{FF2B5EF4-FFF2-40B4-BE49-F238E27FC236}">
                <a16:creationId xmlns:a16="http://schemas.microsoft.com/office/drawing/2014/main" id="{0D238331-AD41-AE4B-BE6A-B0207517ACD9}"/>
              </a:ext>
            </a:extLst>
          </p:cNvPr>
          <p:cNvSpPr>
            <a:spLocks noGrp="1"/>
          </p:cNvSpPr>
          <p:nvPr>
            <p:ph sz="quarter" idx="29" hasCustomPrompt="1"/>
          </p:nvPr>
        </p:nvSpPr>
        <p:spPr>
          <a:xfrm>
            <a:off x="386066" y="2041950"/>
            <a:ext cx="685800" cy="685800"/>
          </a:xfrm>
        </p:spPr>
        <p:txBody>
          <a:bodyPr anchor="ctr">
            <a:noAutofit/>
          </a:bodyPr>
          <a:lstStyle>
            <a:lvl1pPr marL="0" indent="0" algn="ctr">
              <a:buNone/>
              <a:defRPr sz="788"/>
            </a:lvl1pPr>
          </a:lstStyle>
          <a:p>
            <a:pPr lvl="0"/>
            <a:r>
              <a:rPr lang="en-US"/>
              <a:t>content</a:t>
            </a:r>
          </a:p>
        </p:txBody>
      </p:sp>
      <p:sp>
        <p:nvSpPr>
          <p:cNvPr id="47" name="Content Placeholder 54">
            <a:extLst>
              <a:ext uri="{FF2B5EF4-FFF2-40B4-BE49-F238E27FC236}">
                <a16:creationId xmlns:a16="http://schemas.microsoft.com/office/drawing/2014/main" id="{DE0149F6-AC1B-CA41-80F6-85B331D2A88B}"/>
              </a:ext>
            </a:extLst>
          </p:cNvPr>
          <p:cNvSpPr>
            <a:spLocks noGrp="1"/>
          </p:cNvSpPr>
          <p:nvPr>
            <p:ph sz="quarter" idx="30" hasCustomPrompt="1"/>
          </p:nvPr>
        </p:nvSpPr>
        <p:spPr>
          <a:xfrm>
            <a:off x="386066" y="2831246"/>
            <a:ext cx="685800" cy="685800"/>
          </a:xfrm>
        </p:spPr>
        <p:txBody>
          <a:bodyPr anchor="ctr">
            <a:noAutofit/>
          </a:bodyPr>
          <a:lstStyle>
            <a:lvl1pPr marL="0" indent="0" algn="ctr">
              <a:buNone/>
              <a:defRPr sz="788"/>
            </a:lvl1pPr>
          </a:lstStyle>
          <a:p>
            <a:pPr lvl="0"/>
            <a:r>
              <a:rPr lang="en-US"/>
              <a:t>content</a:t>
            </a:r>
          </a:p>
        </p:txBody>
      </p:sp>
      <p:sp>
        <p:nvSpPr>
          <p:cNvPr id="48" name="Content Placeholder 54">
            <a:extLst>
              <a:ext uri="{FF2B5EF4-FFF2-40B4-BE49-F238E27FC236}">
                <a16:creationId xmlns:a16="http://schemas.microsoft.com/office/drawing/2014/main" id="{6D9A9725-6ED0-594B-BB7D-8527CEFED7ED}"/>
              </a:ext>
            </a:extLst>
          </p:cNvPr>
          <p:cNvSpPr>
            <a:spLocks noGrp="1"/>
          </p:cNvSpPr>
          <p:nvPr>
            <p:ph sz="quarter" idx="31" hasCustomPrompt="1"/>
          </p:nvPr>
        </p:nvSpPr>
        <p:spPr>
          <a:xfrm>
            <a:off x="396477" y="3620543"/>
            <a:ext cx="685800" cy="685800"/>
          </a:xfrm>
        </p:spPr>
        <p:txBody>
          <a:bodyPr anchor="ctr">
            <a:noAutofit/>
          </a:bodyPr>
          <a:lstStyle>
            <a:lvl1pPr marL="0" indent="0" algn="ctr">
              <a:buNone/>
              <a:defRPr sz="788"/>
            </a:lvl1pPr>
          </a:lstStyle>
          <a:p>
            <a:pPr lvl="0"/>
            <a:r>
              <a:rPr lang="en-US"/>
              <a:t>content</a:t>
            </a:r>
          </a:p>
        </p:txBody>
      </p:sp>
    </p:spTree>
    <p:extLst>
      <p:ext uri="{BB962C8B-B14F-4D97-AF65-F5344CB8AC3E}">
        <p14:creationId xmlns:p14="http://schemas.microsoft.com/office/powerpoint/2010/main" val="21087560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50" fill="hold"/>
                                        <p:tgtEl>
                                          <p:spTgt spid="15"/>
                                        </p:tgtEl>
                                        <p:attrNameLst>
                                          <p:attrName>ppt_x</p:attrName>
                                        </p:attrNameLst>
                                      </p:cBhvr>
                                      <p:tavLst>
                                        <p:tav tm="0">
                                          <p:val>
                                            <p:strVal val="0-#ppt_w/2"/>
                                          </p:val>
                                        </p:tav>
                                        <p:tav tm="100000">
                                          <p:val>
                                            <p:strVal val="#ppt_x"/>
                                          </p:val>
                                        </p:tav>
                                      </p:tavLst>
                                    </p:anim>
                                    <p:anim calcmode="lin" valueType="num">
                                      <p:cBhvr additive="base">
                                        <p:cTn id="12" dur="750" fill="hold"/>
                                        <p:tgtEl>
                                          <p:spTgt spid="15"/>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45">
                                            <p:txEl>
                                              <p:pRg st="0" end="0"/>
                                            </p:txEl>
                                          </p:spTgt>
                                        </p:tgtEl>
                                        <p:attrNameLst>
                                          <p:attrName>style.visibility</p:attrName>
                                        </p:attrNameLst>
                                      </p:cBhvr>
                                      <p:to>
                                        <p:strVal val="visible"/>
                                      </p:to>
                                    </p:set>
                                    <p:animEffect transition="in" filter="fade">
                                      <p:cBhvr>
                                        <p:cTn id="16" dur="500"/>
                                        <p:tgtEl>
                                          <p:spTgt spid="45">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animEffect transition="in" filter="fade">
                                      <p:cBhvr>
                                        <p:cTn id="19" dur="500"/>
                                        <p:tgtEl>
                                          <p:spTgt spid="10">
                                            <p:txEl>
                                              <p:pRg st="0" end="0"/>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8" fill="hold" grpId="0" nodeType="clickEffect">
                                  <p:stCondLst>
                                    <p:cond delay="0"/>
                                  </p:stCondLst>
                                  <p:childTnLst>
                                    <p:set>
                                      <p:cBhvr>
                                        <p:cTn id="23" dur="1" fill="hold">
                                          <p:stCondLst>
                                            <p:cond delay="0"/>
                                          </p:stCondLst>
                                        </p:cTn>
                                        <p:tgtEl>
                                          <p:spTgt spid="30"/>
                                        </p:tgtEl>
                                        <p:attrNameLst>
                                          <p:attrName>style.visibility</p:attrName>
                                        </p:attrNameLst>
                                      </p:cBhvr>
                                      <p:to>
                                        <p:strVal val="visible"/>
                                      </p:to>
                                    </p:set>
                                    <p:anim calcmode="lin" valueType="num">
                                      <p:cBhvr additive="base">
                                        <p:cTn id="24" dur="500" fill="hold"/>
                                        <p:tgtEl>
                                          <p:spTgt spid="30"/>
                                        </p:tgtEl>
                                        <p:attrNameLst>
                                          <p:attrName>ppt_x</p:attrName>
                                        </p:attrNameLst>
                                      </p:cBhvr>
                                      <p:tavLst>
                                        <p:tav tm="0">
                                          <p:val>
                                            <p:strVal val="0-#ppt_w/2"/>
                                          </p:val>
                                        </p:tav>
                                        <p:tav tm="100000">
                                          <p:val>
                                            <p:strVal val="#ppt_x"/>
                                          </p:val>
                                        </p:tav>
                                      </p:tavLst>
                                    </p:anim>
                                    <p:anim calcmode="lin" valueType="num">
                                      <p:cBhvr additive="base">
                                        <p:cTn id="25" dur="500" fill="hold"/>
                                        <p:tgtEl>
                                          <p:spTgt spid="30"/>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0"/>
                                  </p:stCondLst>
                                  <p:childTnLst>
                                    <p:set>
                                      <p:cBhvr>
                                        <p:cTn id="27" dur="1" fill="hold">
                                          <p:stCondLst>
                                            <p:cond delay="0"/>
                                          </p:stCondLst>
                                        </p:cTn>
                                        <p:tgtEl>
                                          <p:spTgt spid="31"/>
                                        </p:tgtEl>
                                        <p:attrNameLst>
                                          <p:attrName>style.visibility</p:attrName>
                                        </p:attrNameLst>
                                      </p:cBhvr>
                                      <p:to>
                                        <p:strVal val="visible"/>
                                      </p:to>
                                    </p:set>
                                    <p:anim calcmode="lin" valueType="num">
                                      <p:cBhvr additive="base">
                                        <p:cTn id="28" dur="750" fill="hold"/>
                                        <p:tgtEl>
                                          <p:spTgt spid="31"/>
                                        </p:tgtEl>
                                        <p:attrNameLst>
                                          <p:attrName>ppt_x</p:attrName>
                                        </p:attrNameLst>
                                      </p:cBhvr>
                                      <p:tavLst>
                                        <p:tav tm="0">
                                          <p:val>
                                            <p:strVal val="0-#ppt_w/2"/>
                                          </p:val>
                                        </p:tav>
                                        <p:tav tm="100000">
                                          <p:val>
                                            <p:strVal val="#ppt_x"/>
                                          </p:val>
                                        </p:tav>
                                      </p:tavLst>
                                    </p:anim>
                                    <p:anim calcmode="lin" valueType="num">
                                      <p:cBhvr additive="base">
                                        <p:cTn id="29" dur="750" fill="hold"/>
                                        <p:tgtEl>
                                          <p:spTgt spid="31"/>
                                        </p:tgtEl>
                                        <p:attrNameLst>
                                          <p:attrName>ppt_y</p:attrName>
                                        </p:attrNameLst>
                                      </p:cBhvr>
                                      <p:tavLst>
                                        <p:tav tm="0">
                                          <p:val>
                                            <p:strVal val="#ppt_y"/>
                                          </p:val>
                                        </p:tav>
                                        <p:tav tm="100000">
                                          <p:val>
                                            <p:strVal val="#ppt_y"/>
                                          </p:val>
                                        </p:tav>
                                      </p:tavLst>
                                    </p:anim>
                                  </p:childTnLst>
                                </p:cTn>
                              </p:par>
                            </p:childTnLst>
                          </p:cTn>
                        </p:par>
                        <p:par>
                          <p:cTn id="30" fill="hold">
                            <p:stCondLst>
                              <p:cond delay="750"/>
                            </p:stCondLst>
                            <p:childTnLst>
                              <p:par>
                                <p:cTn id="31" presetID="10" presetClass="entr" presetSubtype="0" fill="hold" grpId="0" nodeType="afterEffect">
                                  <p:stCondLst>
                                    <p:cond delay="0"/>
                                  </p:stCondLst>
                                  <p:childTnLst>
                                    <p:set>
                                      <p:cBhvr>
                                        <p:cTn id="32" dur="1" fill="hold">
                                          <p:stCondLst>
                                            <p:cond delay="0"/>
                                          </p:stCondLst>
                                        </p:cTn>
                                        <p:tgtEl>
                                          <p:spTgt spid="46">
                                            <p:txEl>
                                              <p:pRg st="0" end="0"/>
                                            </p:txEl>
                                          </p:spTgt>
                                        </p:tgtEl>
                                        <p:attrNameLst>
                                          <p:attrName>style.visibility</p:attrName>
                                        </p:attrNameLst>
                                      </p:cBhvr>
                                      <p:to>
                                        <p:strVal val="visible"/>
                                      </p:to>
                                    </p:set>
                                    <p:animEffect transition="in" filter="fade">
                                      <p:cBhvr>
                                        <p:cTn id="33" dur="500"/>
                                        <p:tgtEl>
                                          <p:spTgt spid="46">
                                            <p:txEl>
                                              <p:pRg st="0" end="0"/>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6">
                                            <p:txEl>
                                              <p:pRg st="0" end="0"/>
                                            </p:txEl>
                                          </p:spTgt>
                                        </p:tgtEl>
                                        <p:attrNameLst>
                                          <p:attrName>style.visibility</p:attrName>
                                        </p:attrNameLst>
                                      </p:cBhvr>
                                      <p:to>
                                        <p:strVal val="visible"/>
                                      </p:to>
                                    </p:set>
                                    <p:animEffect transition="in" filter="fade">
                                      <p:cBhvr>
                                        <p:cTn id="36" dur="500"/>
                                        <p:tgtEl>
                                          <p:spTgt spid="26">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2" presetClass="entr" presetSubtype="8" fill="hold" grpId="0" nodeType="clickEffect">
                                  <p:stCondLst>
                                    <p:cond delay="0"/>
                                  </p:stCondLst>
                                  <p:childTnLst>
                                    <p:set>
                                      <p:cBhvr>
                                        <p:cTn id="40" dur="1" fill="hold">
                                          <p:stCondLst>
                                            <p:cond delay="0"/>
                                          </p:stCondLst>
                                        </p:cTn>
                                        <p:tgtEl>
                                          <p:spTgt spid="34"/>
                                        </p:tgtEl>
                                        <p:attrNameLst>
                                          <p:attrName>style.visibility</p:attrName>
                                        </p:attrNameLst>
                                      </p:cBhvr>
                                      <p:to>
                                        <p:strVal val="visible"/>
                                      </p:to>
                                    </p:set>
                                    <p:anim calcmode="lin" valueType="num">
                                      <p:cBhvr additive="base">
                                        <p:cTn id="41" dur="500" fill="hold"/>
                                        <p:tgtEl>
                                          <p:spTgt spid="34"/>
                                        </p:tgtEl>
                                        <p:attrNameLst>
                                          <p:attrName>ppt_x</p:attrName>
                                        </p:attrNameLst>
                                      </p:cBhvr>
                                      <p:tavLst>
                                        <p:tav tm="0">
                                          <p:val>
                                            <p:strVal val="0-#ppt_w/2"/>
                                          </p:val>
                                        </p:tav>
                                        <p:tav tm="100000">
                                          <p:val>
                                            <p:strVal val="#ppt_x"/>
                                          </p:val>
                                        </p:tav>
                                      </p:tavLst>
                                    </p:anim>
                                    <p:anim calcmode="lin" valueType="num">
                                      <p:cBhvr additive="base">
                                        <p:cTn id="42" dur="500" fill="hold"/>
                                        <p:tgtEl>
                                          <p:spTgt spid="34"/>
                                        </p:tgtEl>
                                        <p:attrNameLst>
                                          <p:attrName>ppt_y</p:attrName>
                                        </p:attrNameLst>
                                      </p:cBhvr>
                                      <p:tavLst>
                                        <p:tav tm="0">
                                          <p:val>
                                            <p:strVal val="#ppt_y"/>
                                          </p:val>
                                        </p:tav>
                                        <p:tav tm="100000">
                                          <p:val>
                                            <p:strVal val="#ppt_y"/>
                                          </p:val>
                                        </p:tav>
                                      </p:tavLst>
                                    </p:anim>
                                  </p:childTnLst>
                                </p:cTn>
                              </p:par>
                              <p:par>
                                <p:cTn id="43" presetID="2" presetClass="entr" presetSubtype="8"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 calcmode="lin" valueType="num">
                                      <p:cBhvr additive="base">
                                        <p:cTn id="45" dur="750" fill="hold"/>
                                        <p:tgtEl>
                                          <p:spTgt spid="35"/>
                                        </p:tgtEl>
                                        <p:attrNameLst>
                                          <p:attrName>ppt_x</p:attrName>
                                        </p:attrNameLst>
                                      </p:cBhvr>
                                      <p:tavLst>
                                        <p:tav tm="0">
                                          <p:val>
                                            <p:strVal val="0-#ppt_w/2"/>
                                          </p:val>
                                        </p:tav>
                                        <p:tav tm="100000">
                                          <p:val>
                                            <p:strVal val="#ppt_x"/>
                                          </p:val>
                                        </p:tav>
                                      </p:tavLst>
                                    </p:anim>
                                    <p:anim calcmode="lin" valueType="num">
                                      <p:cBhvr additive="base">
                                        <p:cTn id="46" dur="750" fill="hold"/>
                                        <p:tgtEl>
                                          <p:spTgt spid="35"/>
                                        </p:tgtEl>
                                        <p:attrNameLst>
                                          <p:attrName>ppt_y</p:attrName>
                                        </p:attrNameLst>
                                      </p:cBhvr>
                                      <p:tavLst>
                                        <p:tav tm="0">
                                          <p:val>
                                            <p:strVal val="#ppt_y"/>
                                          </p:val>
                                        </p:tav>
                                        <p:tav tm="100000">
                                          <p:val>
                                            <p:strVal val="#ppt_y"/>
                                          </p:val>
                                        </p:tav>
                                      </p:tavLst>
                                    </p:anim>
                                  </p:childTnLst>
                                </p:cTn>
                              </p:par>
                            </p:childTnLst>
                          </p:cTn>
                        </p:par>
                        <p:par>
                          <p:cTn id="47" fill="hold">
                            <p:stCondLst>
                              <p:cond delay="750"/>
                            </p:stCondLst>
                            <p:childTnLst>
                              <p:par>
                                <p:cTn id="48" presetID="10" presetClass="entr" presetSubtype="0" fill="hold" grpId="0" nodeType="afterEffect">
                                  <p:stCondLst>
                                    <p:cond delay="0"/>
                                  </p:stCondLst>
                                  <p:childTnLst>
                                    <p:set>
                                      <p:cBhvr>
                                        <p:cTn id="49" dur="1" fill="hold">
                                          <p:stCondLst>
                                            <p:cond delay="0"/>
                                          </p:stCondLst>
                                        </p:cTn>
                                        <p:tgtEl>
                                          <p:spTgt spid="47">
                                            <p:txEl>
                                              <p:pRg st="0" end="0"/>
                                            </p:txEl>
                                          </p:spTgt>
                                        </p:tgtEl>
                                        <p:attrNameLst>
                                          <p:attrName>style.visibility</p:attrName>
                                        </p:attrNameLst>
                                      </p:cBhvr>
                                      <p:to>
                                        <p:strVal val="visible"/>
                                      </p:to>
                                    </p:set>
                                    <p:animEffect transition="in" filter="fade">
                                      <p:cBhvr>
                                        <p:cTn id="50" dur="500"/>
                                        <p:tgtEl>
                                          <p:spTgt spid="47">
                                            <p:txEl>
                                              <p:pRg st="0" end="0"/>
                                            </p:tx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3">
                                            <p:txEl>
                                              <p:pRg st="0" end="0"/>
                                            </p:txEl>
                                          </p:spTgt>
                                        </p:tgtEl>
                                        <p:attrNameLst>
                                          <p:attrName>style.visibility</p:attrName>
                                        </p:attrNameLst>
                                      </p:cBhvr>
                                      <p:to>
                                        <p:strVal val="visible"/>
                                      </p:to>
                                    </p:set>
                                    <p:animEffect transition="in" filter="fade">
                                      <p:cBhvr>
                                        <p:cTn id="53" dur="500"/>
                                        <p:tgtEl>
                                          <p:spTgt spid="33">
                                            <p:txEl>
                                              <p:pRg st="0" end="0"/>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2" presetClass="entr" presetSubtype="8" fill="hold" grpId="0" nodeType="clickEffect">
                                  <p:stCondLst>
                                    <p:cond delay="0"/>
                                  </p:stCondLst>
                                  <p:childTnLst>
                                    <p:set>
                                      <p:cBhvr>
                                        <p:cTn id="57" dur="1" fill="hold">
                                          <p:stCondLst>
                                            <p:cond delay="0"/>
                                          </p:stCondLst>
                                        </p:cTn>
                                        <p:tgtEl>
                                          <p:spTgt spid="38"/>
                                        </p:tgtEl>
                                        <p:attrNameLst>
                                          <p:attrName>style.visibility</p:attrName>
                                        </p:attrNameLst>
                                      </p:cBhvr>
                                      <p:to>
                                        <p:strVal val="visible"/>
                                      </p:to>
                                    </p:set>
                                    <p:anim calcmode="lin" valueType="num">
                                      <p:cBhvr additive="base">
                                        <p:cTn id="58" dur="500" fill="hold"/>
                                        <p:tgtEl>
                                          <p:spTgt spid="38"/>
                                        </p:tgtEl>
                                        <p:attrNameLst>
                                          <p:attrName>ppt_x</p:attrName>
                                        </p:attrNameLst>
                                      </p:cBhvr>
                                      <p:tavLst>
                                        <p:tav tm="0">
                                          <p:val>
                                            <p:strVal val="0-#ppt_w/2"/>
                                          </p:val>
                                        </p:tav>
                                        <p:tav tm="100000">
                                          <p:val>
                                            <p:strVal val="#ppt_x"/>
                                          </p:val>
                                        </p:tav>
                                      </p:tavLst>
                                    </p:anim>
                                    <p:anim calcmode="lin" valueType="num">
                                      <p:cBhvr additive="base">
                                        <p:cTn id="59" dur="500" fill="hold"/>
                                        <p:tgtEl>
                                          <p:spTgt spid="38"/>
                                        </p:tgtEl>
                                        <p:attrNameLst>
                                          <p:attrName>ppt_y</p:attrName>
                                        </p:attrNameLst>
                                      </p:cBhvr>
                                      <p:tavLst>
                                        <p:tav tm="0">
                                          <p:val>
                                            <p:strVal val="#ppt_y"/>
                                          </p:val>
                                        </p:tav>
                                        <p:tav tm="100000">
                                          <p:val>
                                            <p:strVal val="#ppt_y"/>
                                          </p:val>
                                        </p:tav>
                                      </p:tavLst>
                                    </p:anim>
                                  </p:childTnLst>
                                </p:cTn>
                              </p:par>
                              <p:par>
                                <p:cTn id="60" presetID="2" presetClass="entr" presetSubtype="8" fill="hold" grpId="0" nodeType="withEffect">
                                  <p:stCondLst>
                                    <p:cond delay="0"/>
                                  </p:stCondLst>
                                  <p:childTnLst>
                                    <p:set>
                                      <p:cBhvr>
                                        <p:cTn id="61" dur="1" fill="hold">
                                          <p:stCondLst>
                                            <p:cond delay="0"/>
                                          </p:stCondLst>
                                        </p:cTn>
                                        <p:tgtEl>
                                          <p:spTgt spid="39"/>
                                        </p:tgtEl>
                                        <p:attrNameLst>
                                          <p:attrName>style.visibility</p:attrName>
                                        </p:attrNameLst>
                                      </p:cBhvr>
                                      <p:to>
                                        <p:strVal val="visible"/>
                                      </p:to>
                                    </p:set>
                                    <p:anim calcmode="lin" valueType="num">
                                      <p:cBhvr additive="base">
                                        <p:cTn id="62" dur="750" fill="hold"/>
                                        <p:tgtEl>
                                          <p:spTgt spid="39"/>
                                        </p:tgtEl>
                                        <p:attrNameLst>
                                          <p:attrName>ppt_x</p:attrName>
                                        </p:attrNameLst>
                                      </p:cBhvr>
                                      <p:tavLst>
                                        <p:tav tm="0">
                                          <p:val>
                                            <p:strVal val="0-#ppt_w/2"/>
                                          </p:val>
                                        </p:tav>
                                        <p:tav tm="100000">
                                          <p:val>
                                            <p:strVal val="#ppt_x"/>
                                          </p:val>
                                        </p:tav>
                                      </p:tavLst>
                                    </p:anim>
                                    <p:anim calcmode="lin" valueType="num">
                                      <p:cBhvr additive="base">
                                        <p:cTn id="63" dur="750" fill="hold"/>
                                        <p:tgtEl>
                                          <p:spTgt spid="39"/>
                                        </p:tgtEl>
                                        <p:attrNameLst>
                                          <p:attrName>ppt_y</p:attrName>
                                        </p:attrNameLst>
                                      </p:cBhvr>
                                      <p:tavLst>
                                        <p:tav tm="0">
                                          <p:val>
                                            <p:strVal val="#ppt_y"/>
                                          </p:val>
                                        </p:tav>
                                        <p:tav tm="100000">
                                          <p:val>
                                            <p:strVal val="#ppt_y"/>
                                          </p:val>
                                        </p:tav>
                                      </p:tavLst>
                                    </p:anim>
                                  </p:childTnLst>
                                </p:cTn>
                              </p:par>
                            </p:childTnLst>
                          </p:cTn>
                        </p:par>
                        <p:par>
                          <p:cTn id="64" fill="hold">
                            <p:stCondLst>
                              <p:cond delay="750"/>
                            </p:stCondLst>
                            <p:childTnLst>
                              <p:par>
                                <p:cTn id="65" presetID="10" presetClass="entr" presetSubtype="0" fill="hold" grpId="0" nodeType="afterEffect">
                                  <p:stCondLst>
                                    <p:cond delay="0"/>
                                  </p:stCondLst>
                                  <p:childTnLst>
                                    <p:set>
                                      <p:cBhvr>
                                        <p:cTn id="66" dur="1" fill="hold">
                                          <p:stCondLst>
                                            <p:cond delay="0"/>
                                          </p:stCondLst>
                                        </p:cTn>
                                        <p:tgtEl>
                                          <p:spTgt spid="48">
                                            <p:txEl>
                                              <p:pRg st="0" end="0"/>
                                            </p:txEl>
                                          </p:spTgt>
                                        </p:tgtEl>
                                        <p:attrNameLst>
                                          <p:attrName>style.visibility</p:attrName>
                                        </p:attrNameLst>
                                      </p:cBhvr>
                                      <p:to>
                                        <p:strVal val="visible"/>
                                      </p:to>
                                    </p:set>
                                    <p:animEffect transition="in" filter="fade">
                                      <p:cBhvr>
                                        <p:cTn id="67" dur="500"/>
                                        <p:tgtEl>
                                          <p:spTgt spid="48">
                                            <p:txEl>
                                              <p:pRg st="0" end="0"/>
                                            </p:txEl>
                                          </p:spTgt>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7">
                                            <p:txEl>
                                              <p:pRg st="0" end="0"/>
                                            </p:txEl>
                                          </p:spTgt>
                                        </p:tgtEl>
                                        <p:attrNameLst>
                                          <p:attrName>style.visibility</p:attrName>
                                        </p:attrNameLst>
                                      </p:cBhvr>
                                      <p:to>
                                        <p:strVal val="visible"/>
                                      </p:to>
                                    </p:set>
                                    <p:animEffect transition="in" filter="fade">
                                      <p:cBhvr>
                                        <p:cTn id="70" dur="500"/>
                                        <p:tgtEl>
                                          <p:spTgt spid="3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4" grpId="0" animBg="1"/>
      <p:bldP spid="15" grpId="0" animBg="1"/>
      <p:bldP spid="26" grpId="0" build="p">
        <p:tmplLst>
          <p:tmpl lvl="1">
            <p:tnLst>
              <p:par>
                <p:cTn presetID="10" presetClass="entr" presetSubtype="0" fill="hold" nodeType="with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fade">
                      <p:cBhvr>
                        <p:cTn dur="500"/>
                        <p:tgtEl>
                          <p:spTgt spid="26"/>
                        </p:tgtEl>
                      </p:cBhvr>
                    </p:animEffect>
                  </p:childTnLst>
                </p:cTn>
              </p:par>
            </p:tnLst>
          </p:tmpl>
        </p:tmplLst>
      </p:bldP>
      <p:bldP spid="30" grpId="0" animBg="1"/>
      <p:bldP spid="31" grpId="0" animBg="1"/>
      <p:bldP spid="33" grpId="0" build="p">
        <p:tmplLst>
          <p:tmpl lvl="1">
            <p:tnLst>
              <p:par>
                <p:cTn presetID="10" presetClass="entr" presetSubtype="0" fill="hold" nodeType="withEffect">
                  <p:stCondLst>
                    <p:cond delay="0"/>
                  </p:stCondLst>
                  <p:childTnLst>
                    <p:set>
                      <p:cBhvr>
                        <p:cTn dur="1" fill="hold">
                          <p:stCondLst>
                            <p:cond delay="0"/>
                          </p:stCondLst>
                        </p:cTn>
                        <p:tgtEl>
                          <p:spTgt spid="33"/>
                        </p:tgtEl>
                        <p:attrNameLst>
                          <p:attrName>style.visibility</p:attrName>
                        </p:attrNameLst>
                      </p:cBhvr>
                      <p:to>
                        <p:strVal val="visible"/>
                      </p:to>
                    </p:set>
                    <p:animEffect transition="in" filter="fade">
                      <p:cBhvr>
                        <p:cTn dur="500"/>
                        <p:tgtEl>
                          <p:spTgt spid="33"/>
                        </p:tgtEl>
                      </p:cBhvr>
                    </p:animEffect>
                  </p:childTnLst>
                </p:cTn>
              </p:par>
            </p:tnLst>
          </p:tmpl>
        </p:tmplLst>
      </p:bldP>
      <p:bldP spid="34" grpId="0" animBg="1"/>
      <p:bldP spid="35" grpId="0" animBg="1"/>
      <p:bldP spid="37" grpId="0" build="p">
        <p:tmplLst>
          <p:tmpl lvl="1">
            <p:tnLst>
              <p:par>
                <p:cTn presetID="10" presetClass="entr" presetSubtype="0" fill="hold" nodeType="withEffect">
                  <p:stCondLst>
                    <p:cond delay="0"/>
                  </p:stCondLst>
                  <p:childTnLst>
                    <p:set>
                      <p:cBhvr>
                        <p:cTn dur="1" fill="hold">
                          <p:stCondLst>
                            <p:cond delay="0"/>
                          </p:stCondLst>
                        </p:cTn>
                        <p:tgtEl>
                          <p:spTgt spid="37"/>
                        </p:tgtEl>
                        <p:attrNameLst>
                          <p:attrName>style.visibility</p:attrName>
                        </p:attrNameLst>
                      </p:cBhvr>
                      <p:to>
                        <p:strVal val="visible"/>
                      </p:to>
                    </p:set>
                    <p:animEffect transition="in" filter="fade">
                      <p:cBhvr>
                        <p:cTn dur="500"/>
                        <p:tgtEl>
                          <p:spTgt spid="37"/>
                        </p:tgtEl>
                      </p:cBhvr>
                    </p:animEffect>
                  </p:childTnLst>
                </p:cTn>
              </p:par>
            </p:tnLst>
          </p:tmpl>
        </p:tmplLst>
      </p:bldP>
      <p:bldP spid="38" grpId="0" animBg="1"/>
      <p:bldP spid="39" grpId="0" animBg="1"/>
      <p:bldP spid="45" grpId="0" build="p">
        <p:tmplLst>
          <p:tmpl lvl="1">
            <p:tnLst>
              <p:par>
                <p:cTn presetID="10" presetClass="entr" presetSubtype="0" fill="hold" nodeType="afterEffect">
                  <p:stCondLst>
                    <p:cond delay="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6" grpId="0" build="p">
        <p:tmplLst>
          <p:tmpl lvl="1">
            <p:tnLst>
              <p:par>
                <p:cTn presetID="10" presetClass="entr" presetSubtype="0" fill="hold" nodeType="afterEffect">
                  <p:stCondLst>
                    <p:cond delay="0"/>
                  </p:stCondLst>
                  <p:childTnLst>
                    <p:set>
                      <p:cBhvr>
                        <p:cTn dur="1" fill="hold">
                          <p:stCondLst>
                            <p:cond delay="0"/>
                          </p:stCondLst>
                        </p:cTn>
                        <p:tgtEl>
                          <p:spTgt spid="46"/>
                        </p:tgtEl>
                        <p:attrNameLst>
                          <p:attrName>style.visibility</p:attrName>
                        </p:attrNameLst>
                      </p:cBhvr>
                      <p:to>
                        <p:strVal val="visible"/>
                      </p:to>
                    </p:set>
                    <p:animEffect transition="in" filter="fade">
                      <p:cBhvr>
                        <p:cTn dur="500"/>
                        <p:tgtEl>
                          <p:spTgt spid="46"/>
                        </p:tgtEl>
                      </p:cBhvr>
                    </p:animEffect>
                  </p:childTnLst>
                </p:cTn>
              </p:par>
            </p:tnLst>
          </p:tmpl>
        </p:tmplLst>
      </p:bldP>
      <p:bldP spid="47" grpId="0" build="p">
        <p:tmplLst>
          <p:tmpl lvl="1">
            <p:tnLst>
              <p:par>
                <p:cTn presetID="10" presetClass="entr" presetSubtype="0" fill="hold" nodeType="afterEffect">
                  <p:stCondLst>
                    <p:cond delay="0"/>
                  </p:stCondLst>
                  <p:childTnLst>
                    <p:set>
                      <p:cBhvr>
                        <p:cTn dur="1" fill="hold">
                          <p:stCondLst>
                            <p:cond delay="0"/>
                          </p:stCondLst>
                        </p:cTn>
                        <p:tgtEl>
                          <p:spTgt spid="47"/>
                        </p:tgtEl>
                        <p:attrNameLst>
                          <p:attrName>style.visibility</p:attrName>
                        </p:attrNameLst>
                      </p:cBhvr>
                      <p:to>
                        <p:strVal val="visible"/>
                      </p:to>
                    </p:set>
                    <p:animEffect transition="in" filter="fade">
                      <p:cBhvr>
                        <p:cTn dur="500"/>
                        <p:tgtEl>
                          <p:spTgt spid="47"/>
                        </p:tgtEl>
                      </p:cBhvr>
                    </p:animEffect>
                  </p:childTnLst>
                </p:cTn>
              </p:par>
            </p:tnLst>
          </p:tmpl>
        </p:tmplLst>
      </p:bldP>
      <p:bldP spid="48" grpId="0" build="p">
        <p:tmplLst>
          <p:tmpl lvl="1">
            <p:tnLst>
              <p:par>
                <p:cTn presetID="10" presetClass="entr" presetSubtype="0" fill="hold" nodeType="afterEffect">
                  <p:stCondLst>
                    <p:cond delay="0"/>
                  </p:stCondLst>
                  <p:childTnLst>
                    <p:set>
                      <p:cBhvr>
                        <p:cTn dur="1" fill="hold">
                          <p:stCondLst>
                            <p:cond delay="0"/>
                          </p:stCondLst>
                        </p:cTn>
                        <p:tgtEl>
                          <p:spTgt spid="48"/>
                        </p:tgtEl>
                        <p:attrNameLst>
                          <p:attrName>style.visibility</p:attrName>
                        </p:attrNameLst>
                      </p:cBhvr>
                      <p:to>
                        <p:strVal val="visible"/>
                      </p:to>
                    </p:set>
                    <p:animEffect transition="in" filter="fade">
                      <p:cBhvr>
                        <p:cTn dur="500"/>
                        <p:tgtEl>
                          <p:spTgt spid="48"/>
                        </p:tgtEl>
                      </p:cBhvr>
                    </p:animEffect>
                  </p:childTnLst>
                </p:cTn>
              </p:par>
            </p:tnLst>
          </p:tmpl>
        </p:tmplLst>
      </p:bldP>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Important Statement - Whit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238250" y="1731021"/>
            <a:ext cx="6858000" cy="507831"/>
          </a:xfrm>
          <a:noFill/>
        </p:spPr>
        <p:txBody>
          <a:bodyPr lIns="0" tIns="0" rIns="0" bIns="0" anchor="b" anchorCtr="0">
            <a:spAutoFit/>
          </a:bodyPr>
          <a:lstStyle>
            <a:lvl1pPr>
              <a:defRPr sz="3300" spc="-38" baseline="0">
                <a:solidFill>
                  <a:schemeClr val="accent3"/>
                </a:solidFill>
                <a:latin typeface="+mj-lt"/>
                <a:cs typeface="Segoe UI" panose="020B0502040204020203" pitchFamily="34" charset="0"/>
              </a:defRPr>
            </a:lvl1pPr>
          </a:lstStyle>
          <a:p>
            <a:r>
              <a:rPr lang="en-US"/>
              <a:t>Important Statement</a:t>
            </a:r>
          </a:p>
        </p:txBody>
      </p:sp>
      <p:sp>
        <p:nvSpPr>
          <p:cNvPr id="5" name="Text Placeholder 4"/>
          <p:cNvSpPr>
            <a:spLocks noGrp="1"/>
          </p:cNvSpPr>
          <p:nvPr>
            <p:ph type="body" sz="quarter" idx="12" hasCustomPrompt="1"/>
          </p:nvPr>
        </p:nvSpPr>
        <p:spPr>
          <a:xfrm>
            <a:off x="1238250" y="2560320"/>
            <a:ext cx="6858000" cy="253916"/>
          </a:xfrm>
          <a:noFill/>
        </p:spPr>
        <p:txBody>
          <a:bodyPr wrap="square" lIns="0" tIns="0" rIns="0" bIns="0">
            <a:spAutoFit/>
          </a:bodyPr>
          <a:lstStyle>
            <a:lvl1pPr marL="0" indent="0">
              <a:spcBef>
                <a:spcPts val="0"/>
              </a:spcBef>
              <a:buNone/>
              <a:defRPr sz="1650" spc="0" baseline="0">
                <a:solidFill>
                  <a:schemeClr val="tx1"/>
                </a:solidFill>
                <a:latin typeface="+mn-lt"/>
                <a:cs typeface="Segoe UI" panose="020B0502040204020203" pitchFamily="34" charset="0"/>
              </a:defRPr>
            </a:lvl1pPr>
          </a:lstStyle>
          <a:p>
            <a:pPr lvl="0"/>
            <a:r>
              <a:rPr lang="en-US"/>
              <a:t>Optional subtitle</a:t>
            </a:r>
          </a:p>
        </p:txBody>
      </p:sp>
    </p:spTree>
    <p:extLst>
      <p:ext uri="{BB962C8B-B14F-4D97-AF65-F5344CB8AC3E}">
        <p14:creationId xmlns:p14="http://schemas.microsoft.com/office/powerpoint/2010/main" val="8989456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3 Bullets">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B3AA29C-2E9C-964A-B581-B46459F2EC61}"/>
              </a:ext>
            </a:extLst>
          </p:cNvPr>
          <p:cNvSpPr>
            <a:spLocks noGrp="1"/>
          </p:cNvSpPr>
          <p:nvPr>
            <p:ph type="body" sz="quarter" idx="13" hasCustomPrompt="1"/>
          </p:nvPr>
        </p:nvSpPr>
        <p:spPr>
          <a:xfrm>
            <a:off x="1640681" y="1729045"/>
            <a:ext cx="7064406" cy="323165"/>
          </a:xfrm>
        </p:spPr>
        <p:txBody>
          <a:bodyPr lIns="274320" anchor="ctr"/>
          <a:lstStyle>
            <a:lvl1pPr marL="0" indent="0" algn="l">
              <a:buNone/>
              <a:defRPr/>
            </a:lvl1pPr>
          </a:lstStyle>
          <a:p>
            <a:pPr lvl="0"/>
            <a:r>
              <a:rPr lang="en-US"/>
              <a:t>Click to add text</a:t>
            </a:r>
          </a:p>
        </p:txBody>
      </p:sp>
      <p:sp>
        <p:nvSpPr>
          <p:cNvPr id="11" name="Title 10">
            <a:extLst>
              <a:ext uri="{FF2B5EF4-FFF2-40B4-BE49-F238E27FC236}">
                <a16:creationId xmlns:a16="http://schemas.microsoft.com/office/drawing/2014/main" id="{879ABC1B-B7F3-704D-B5D6-664F33BD7444}"/>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DCDEE8D0-E922-FD45-8DFA-8A15BCC80ED5}"/>
              </a:ext>
            </a:extLst>
          </p:cNvPr>
          <p:cNvSpPr/>
          <p:nvPr userDrawn="1"/>
        </p:nvSpPr>
        <p:spPr bwMode="auto">
          <a:xfrm>
            <a:off x="0" y="1481147"/>
            <a:ext cx="1478756" cy="8012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77AD7670-E0DC-D44C-955D-B9FA14C6B89D}"/>
              </a:ext>
            </a:extLst>
          </p:cNvPr>
          <p:cNvSpPr/>
          <p:nvPr userDrawn="1"/>
        </p:nvSpPr>
        <p:spPr bwMode="auto">
          <a:xfrm>
            <a:off x="-1" y="1481147"/>
            <a:ext cx="1384541" cy="8012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 Placeholder 9">
            <a:extLst>
              <a:ext uri="{FF2B5EF4-FFF2-40B4-BE49-F238E27FC236}">
                <a16:creationId xmlns:a16="http://schemas.microsoft.com/office/drawing/2014/main" id="{5E978655-3EF6-B647-9417-5CFD3E2631A8}"/>
              </a:ext>
            </a:extLst>
          </p:cNvPr>
          <p:cNvSpPr>
            <a:spLocks noGrp="1"/>
          </p:cNvSpPr>
          <p:nvPr>
            <p:ph type="body" sz="quarter" idx="15" hasCustomPrompt="1"/>
          </p:nvPr>
        </p:nvSpPr>
        <p:spPr>
          <a:xfrm>
            <a:off x="1640681" y="2718382"/>
            <a:ext cx="7064406" cy="323165"/>
          </a:xfrm>
        </p:spPr>
        <p:txBody>
          <a:bodyPr lIns="274320" anchor="ctr"/>
          <a:lstStyle>
            <a:lvl1pPr marL="0" indent="0" algn="l">
              <a:buNone/>
              <a:defRPr/>
            </a:lvl1pPr>
          </a:lstStyle>
          <a:p>
            <a:pPr lvl="0"/>
            <a:r>
              <a:rPr lang="en-US"/>
              <a:t>Click to add text</a:t>
            </a:r>
          </a:p>
        </p:txBody>
      </p:sp>
      <p:sp>
        <p:nvSpPr>
          <p:cNvPr id="19" name="Rectangle 18">
            <a:extLst>
              <a:ext uri="{FF2B5EF4-FFF2-40B4-BE49-F238E27FC236}">
                <a16:creationId xmlns:a16="http://schemas.microsoft.com/office/drawing/2014/main" id="{C4CDEB42-0C04-994C-82BB-D430A9FFD8ED}"/>
              </a:ext>
            </a:extLst>
          </p:cNvPr>
          <p:cNvSpPr/>
          <p:nvPr userDrawn="1"/>
        </p:nvSpPr>
        <p:spPr bwMode="auto">
          <a:xfrm>
            <a:off x="0" y="2470483"/>
            <a:ext cx="1478756" cy="8012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FC056230-258F-2340-942A-9529B2FE5CF2}"/>
              </a:ext>
            </a:extLst>
          </p:cNvPr>
          <p:cNvSpPr/>
          <p:nvPr userDrawn="1"/>
        </p:nvSpPr>
        <p:spPr bwMode="auto">
          <a:xfrm>
            <a:off x="-1" y="2470483"/>
            <a:ext cx="1384541" cy="8012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9">
            <a:extLst>
              <a:ext uri="{FF2B5EF4-FFF2-40B4-BE49-F238E27FC236}">
                <a16:creationId xmlns:a16="http://schemas.microsoft.com/office/drawing/2014/main" id="{AE85B3C3-829F-9D4D-9617-5250C4DB57FC}"/>
              </a:ext>
            </a:extLst>
          </p:cNvPr>
          <p:cNvSpPr>
            <a:spLocks noGrp="1"/>
          </p:cNvSpPr>
          <p:nvPr>
            <p:ph type="body" sz="quarter" idx="17" hasCustomPrompt="1"/>
          </p:nvPr>
        </p:nvSpPr>
        <p:spPr>
          <a:xfrm>
            <a:off x="1640681" y="3679720"/>
            <a:ext cx="7064406" cy="323165"/>
          </a:xfrm>
        </p:spPr>
        <p:txBody>
          <a:bodyPr lIns="274320" anchor="ctr"/>
          <a:lstStyle>
            <a:lvl1pPr marL="0" indent="0" algn="l">
              <a:buNone/>
              <a:defRPr/>
            </a:lvl1pPr>
          </a:lstStyle>
          <a:p>
            <a:pPr lvl="0"/>
            <a:r>
              <a:rPr lang="en-US"/>
              <a:t>Click to add text</a:t>
            </a:r>
          </a:p>
        </p:txBody>
      </p:sp>
      <p:sp>
        <p:nvSpPr>
          <p:cNvPr id="23" name="Rectangle 22">
            <a:extLst>
              <a:ext uri="{FF2B5EF4-FFF2-40B4-BE49-F238E27FC236}">
                <a16:creationId xmlns:a16="http://schemas.microsoft.com/office/drawing/2014/main" id="{9472401F-8AE6-564F-8EE8-FB26A07D381F}"/>
              </a:ext>
            </a:extLst>
          </p:cNvPr>
          <p:cNvSpPr/>
          <p:nvPr userDrawn="1"/>
        </p:nvSpPr>
        <p:spPr bwMode="auto">
          <a:xfrm>
            <a:off x="0" y="3431821"/>
            <a:ext cx="1478756" cy="8012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16C12800-5114-2742-B96C-5B9080AE6860}"/>
              </a:ext>
            </a:extLst>
          </p:cNvPr>
          <p:cNvSpPr/>
          <p:nvPr userDrawn="1"/>
        </p:nvSpPr>
        <p:spPr bwMode="auto">
          <a:xfrm>
            <a:off x="-1" y="3431821"/>
            <a:ext cx="1384541" cy="8012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64" name="Content Placeholder 54">
            <a:extLst>
              <a:ext uri="{FF2B5EF4-FFF2-40B4-BE49-F238E27FC236}">
                <a16:creationId xmlns:a16="http://schemas.microsoft.com/office/drawing/2014/main" id="{8839ABC2-DEC2-2B4F-819C-736E95A31270}"/>
              </a:ext>
            </a:extLst>
          </p:cNvPr>
          <p:cNvSpPr>
            <a:spLocks noGrp="1"/>
          </p:cNvSpPr>
          <p:nvPr>
            <p:ph sz="quarter" idx="34" hasCustomPrompt="1"/>
          </p:nvPr>
        </p:nvSpPr>
        <p:spPr>
          <a:xfrm>
            <a:off x="393611" y="2537063"/>
            <a:ext cx="685800" cy="685800"/>
          </a:xfrm>
        </p:spPr>
        <p:txBody>
          <a:bodyPr anchor="ctr">
            <a:noAutofit/>
          </a:bodyPr>
          <a:lstStyle>
            <a:lvl1pPr marL="0" indent="0" algn="ctr">
              <a:buNone/>
              <a:defRPr sz="788"/>
            </a:lvl1pPr>
          </a:lstStyle>
          <a:p>
            <a:pPr lvl="0"/>
            <a:r>
              <a:rPr lang="en-US"/>
              <a:t>content</a:t>
            </a:r>
          </a:p>
        </p:txBody>
      </p:sp>
      <p:sp>
        <p:nvSpPr>
          <p:cNvPr id="65" name="Content Placeholder 54">
            <a:extLst>
              <a:ext uri="{FF2B5EF4-FFF2-40B4-BE49-F238E27FC236}">
                <a16:creationId xmlns:a16="http://schemas.microsoft.com/office/drawing/2014/main" id="{0D398B0E-6A11-1D4D-B8AC-055BB1E6AC8B}"/>
              </a:ext>
            </a:extLst>
          </p:cNvPr>
          <p:cNvSpPr>
            <a:spLocks noGrp="1"/>
          </p:cNvSpPr>
          <p:nvPr>
            <p:ph sz="quarter" idx="35" hasCustomPrompt="1"/>
          </p:nvPr>
        </p:nvSpPr>
        <p:spPr>
          <a:xfrm>
            <a:off x="393611" y="3487951"/>
            <a:ext cx="685800" cy="685800"/>
          </a:xfrm>
        </p:spPr>
        <p:txBody>
          <a:bodyPr anchor="ctr">
            <a:noAutofit/>
          </a:bodyPr>
          <a:lstStyle>
            <a:lvl1pPr marL="0" indent="0" algn="ctr">
              <a:buNone/>
              <a:defRPr sz="788"/>
            </a:lvl1pPr>
          </a:lstStyle>
          <a:p>
            <a:pPr lvl="0"/>
            <a:r>
              <a:rPr lang="en-US"/>
              <a:t>content</a:t>
            </a:r>
          </a:p>
        </p:txBody>
      </p:sp>
      <p:sp>
        <p:nvSpPr>
          <p:cNvPr id="66" name="Content Placeholder 54">
            <a:extLst>
              <a:ext uri="{FF2B5EF4-FFF2-40B4-BE49-F238E27FC236}">
                <a16:creationId xmlns:a16="http://schemas.microsoft.com/office/drawing/2014/main" id="{9212B039-8523-8D4B-867D-A6E79EAAE615}"/>
              </a:ext>
            </a:extLst>
          </p:cNvPr>
          <p:cNvSpPr>
            <a:spLocks noGrp="1"/>
          </p:cNvSpPr>
          <p:nvPr>
            <p:ph sz="quarter" idx="36" hasCustomPrompt="1"/>
          </p:nvPr>
        </p:nvSpPr>
        <p:spPr>
          <a:xfrm>
            <a:off x="393611" y="1538888"/>
            <a:ext cx="685800" cy="685800"/>
          </a:xfrm>
        </p:spPr>
        <p:txBody>
          <a:bodyPr anchor="ctr">
            <a:noAutofit/>
          </a:bodyPr>
          <a:lstStyle>
            <a:lvl1pPr marL="0" indent="0" algn="ctr">
              <a:buNone/>
              <a:defRPr sz="788"/>
            </a:lvl1pPr>
          </a:lstStyle>
          <a:p>
            <a:pPr lvl="0"/>
            <a:r>
              <a:rPr lang="en-US"/>
              <a:t>content</a:t>
            </a:r>
          </a:p>
        </p:txBody>
      </p:sp>
    </p:spTree>
    <p:extLst>
      <p:ext uri="{BB962C8B-B14F-4D97-AF65-F5344CB8AC3E}">
        <p14:creationId xmlns:p14="http://schemas.microsoft.com/office/powerpoint/2010/main" val="1592246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50" fill="hold"/>
                                        <p:tgtEl>
                                          <p:spTgt spid="15"/>
                                        </p:tgtEl>
                                        <p:attrNameLst>
                                          <p:attrName>ppt_x</p:attrName>
                                        </p:attrNameLst>
                                      </p:cBhvr>
                                      <p:tavLst>
                                        <p:tav tm="0">
                                          <p:val>
                                            <p:strVal val="0-#ppt_w/2"/>
                                          </p:val>
                                        </p:tav>
                                        <p:tav tm="100000">
                                          <p:val>
                                            <p:strVal val="#ppt_x"/>
                                          </p:val>
                                        </p:tav>
                                      </p:tavLst>
                                    </p:anim>
                                    <p:anim calcmode="lin" valueType="num">
                                      <p:cBhvr additive="base">
                                        <p:cTn id="12" dur="750" fill="hold"/>
                                        <p:tgtEl>
                                          <p:spTgt spid="15"/>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66">
                                            <p:txEl>
                                              <p:pRg st="0" end="0"/>
                                            </p:txEl>
                                          </p:spTgt>
                                        </p:tgtEl>
                                        <p:attrNameLst>
                                          <p:attrName>style.visibility</p:attrName>
                                        </p:attrNameLst>
                                      </p:cBhvr>
                                      <p:to>
                                        <p:strVal val="visible"/>
                                      </p:to>
                                    </p:set>
                                    <p:animEffect transition="in" filter="fade">
                                      <p:cBhvr>
                                        <p:cTn id="16" dur="500"/>
                                        <p:tgtEl>
                                          <p:spTgt spid="66">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animEffect transition="in" filter="fade">
                                      <p:cBhvr>
                                        <p:cTn id="19" dur="500"/>
                                        <p:tgtEl>
                                          <p:spTgt spid="10">
                                            <p:txEl>
                                              <p:pRg st="0" end="0"/>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8"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anim calcmode="lin" valueType="num">
                                      <p:cBhvr additive="base">
                                        <p:cTn id="24" dur="500" fill="hold"/>
                                        <p:tgtEl>
                                          <p:spTgt spid="19"/>
                                        </p:tgtEl>
                                        <p:attrNameLst>
                                          <p:attrName>ppt_x</p:attrName>
                                        </p:attrNameLst>
                                      </p:cBhvr>
                                      <p:tavLst>
                                        <p:tav tm="0">
                                          <p:val>
                                            <p:strVal val="0-#ppt_w/2"/>
                                          </p:val>
                                        </p:tav>
                                        <p:tav tm="100000">
                                          <p:val>
                                            <p:strVal val="#ppt_x"/>
                                          </p:val>
                                        </p:tav>
                                      </p:tavLst>
                                    </p:anim>
                                    <p:anim calcmode="lin" valueType="num">
                                      <p:cBhvr additive="base">
                                        <p:cTn id="25" dur="500" fill="hold"/>
                                        <p:tgtEl>
                                          <p:spTgt spid="19"/>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 calcmode="lin" valueType="num">
                                      <p:cBhvr additive="base">
                                        <p:cTn id="28" dur="750" fill="hold"/>
                                        <p:tgtEl>
                                          <p:spTgt spid="20"/>
                                        </p:tgtEl>
                                        <p:attrNameLst>
                                          <p:attrName>ppt_x</p:attrName>
                                        </p:attrNameLst>
                                      </p:cBhvr>
                                      <p:tavLst>
                                        <p:tav tm="0">
                                          <p:val>
                                            <p:strVal val="0-#ppt_w/2"/>
                                          </p:val>
                                        </p:tav>
                                        <p:tav tm="100000">
                                          <p:val>
                                            <p:strVal val="#ppt_x"/>
                                          </p:val>
                                        </p:tav>
                                      </p:tavLst>
                                    </p:anim>
                                    <p:anim calcmode="lin" valueType="num">
                                      <p:cBhvr additive="base">
                                        <p:cTn id="29" dur="750" fill="hold"/>
                                        <p:tgtEl>
                                          <p:spTgt spid="20"/>
                                        </p:tgtEl>
                                        <p:attrNameLst>
                                          <p:attrName>ppt_y</p:attrName>
                                        </p:attrNameLst>
                                      </p:cBhvr>
                                      <p:tavLst>
                                        <p:tav tm="0">
                                          <p:val>
                                            <p:strVal val="#ppt_y"/>
                                          </p:val>
                                        </p:tav>
                                        <p:tav tm="100000">
                                          <p:val>
                                            <p:strVal val="#ppt_y"/>
                                          </p:val>
                                        </p:tav>
                                      </p:tavLst>
                                    </p:anim>
                                  </p:childTnLst>
                                </p:cTn>
                              </p:par>
                            </p:childTnLst>
                          </p:cTn>
                        </p:par>
                        <p:par>
                          <p:cTn id="30" fill="hold">
                            <p:stCondLst>
                              <p:cond delay="750"/>
                            </p:stCondLst>
                            <p:childTnLst>
                              <p:par>
                                <p:cTn id="31" presetID="10" presetClass="entr" presetSubtype="0" fill="hold" grpId="0" nodeType="afterEffect">
                                  <p:stCondLst>
                                    <p:cond delay="0"/>
                                  </p:stCondLst>
                                  <p:childTnLst>
                                    <p:set>
                                      <p:cBhvr>
                                        <p:cTn id="32" dur="1" fill="hold">
                                          <p:stCondLst>
                                            <p:cond delay="0"/>
                                          </p:stCondLst>
                                        </p:cTn>
                                        <p:tgtEl>
                                          <p:spTgt spid="64">
                                            <p:txEl>
                                              <p:pRg st="0" end="0"/>
                                            </p:txEl>
                                          </p:spTgt>
                                        </p:tgtEl>
                                        <p:attrNameLst>
                                          <p:attrName>style.visibility</p:attrName>
                                        </p:attrNameLst>
                                      </p:cBhvr>
                                      <p:to>
                                        <p:strVal val="visible"/>
                                      </p:to>
                                    </p:set>
                                    <p:animEffect transition="in" filter="fade">
                                      <p:cBhvr>
                                        <p:cTn id="33" dur="500"/>
                                        <p:tgtEl>
                                          <p:spTgt spid="64">
                                            <p:txEl>
                                              <p:pRg st="0" end="0"/>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8">
                                            <p:txEl>
                                              <p:pRg st="0" end="0"/>
                                            </p:txEl>
                                          </p:spTgt>
                                        </p:tgtEl>
                                        <p:attrNameLst>
                                          <p:attrName>style.visibility</p:attrName>
                                        </p:attrNameLst>
                                      </p:cBhvr>
                                      <p:to>
                                        <p:strVal val="visible"/>
                                      </p:to>
                                    </p:set>
                                    <p:animEffect transition="in" filter="fade">
                                      <p:cBhvr>
                                        <p:cTn id="36" dur="500"/>
                                        <p:tgtEl>
                                          <p:spTgt spid="18">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2" presetClass="entr" presetSubtype="8" fill="hold" grpId="0" nodeType="clickEffect">
                                  <p:stCondLst>
                                    <p:cond delay="0"/>
                                  </p:stCondLst>
                                  <p:childTnLst>
                                    <p:set>
                                      <p:cBhvr>
                                        <p:cTn id="40" dur="1" fill="hold">
                                          <p:stCondLst>
                                            <p:cond delay="0"/>
                                          </p:stCondLst>
                                        </p:cTn>
                                        <p:tgtEl>
                                          <p:spTgt spid="23"/>
                                        </p:tgtEl>
                                        <p:attrNameLst>
                                          <p:attrName>style.visibility</p:attrName>
                                        </p:attrNameLst>
                                      </p:cBhvr>
                                      <p:to>
                                        <p:strVal val="visible"/>
                                      </p:to>
                                    </p:set>
                                    <p:anim calcmode="lin" valueType="num">
                                      <p:cBhvr additive="base">
                                        <p:cTn id="41" dur="500" fill="hold"/>
                                        <p:tgtEl>
                                          <p:spTgt spid="23"/>
                                        </p:tgtEl>
                                        <p:attrNameLst>
                                          <p:attrName>ppt_x</p:attrName>
                                        </p:attrNameLst>
                                      </p:cBhvr>
                                      <p:tavLst>
                                        <p:tav tm="0">
                                          <p:val>
                                            <p:strVal val="0-#ppt_w/2"/>
                                          </p:val>
                                        </p:tav>
                                        <p:tav tm="100000">
                                          <p:val>
                                            <p:strVal val="#ppt_x"/>
                                          </p:val>
                                        </p:tav>
                                      </p:tavLst>
                                    </p:anim>
                                    <p:anim calcmode="lin" valueType="num">
                                      <p:cBhvr additive="base">
                                        <p:cTn id="42" dur="500" fill="hold"/>
                                        <p:tgtEl>
                                          <p:spTgt spid="23"/>
                                        </p:tgtEl>
                                        <p:attrNameLst>
                                          <p:attrName>ppt_y</p:attrName>
                                        </p:attrNameLst>
                                      </p:cBhvr>
                                      <p:tavLst>
                                        <p:tav tm="0">
                                          <p:val>
                                            <p:strVal val="#ppt_y"/>
                                          </p:val>
                                        </p:tav>
                                        <p:tav tm="100000">
                                          <p:val>
                                            <p:strVal val="#ppt_y"/>
                                          </p:val>
                                        </p:tav>
                                      </p:tavLst>
                                    </p:anim>
                                  </p:childTnLst>
                                </p:cTn>
                              </p:par>
                              <p:par>
                                <p:cTn id="43" presetID="2" presetClass="entr" presetSubtype="8"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anim calcmode="lin" valueType="num">
                                      <p:cBhvr additive="base">
                                        <p:cTn id="45" dur="750" fill="hold"/>
                                        <p:tgtEl>
                                          <p:spTgt spid="24"/>
                                        </p:tgtEl>
                                        <p:attrNameLst>
                                          <p:attrName>ppt_x</p:attrName>
                                        </p:attrNameLst>
                                      </p:cBhvr>
                                      <p:tavLst>
                                        <p:tav tm="0">
                                          <p:val>
                                            <p:strVal val="0-#ppt_w/2"/>
                                          </p:val>
                                        </p:tav>
                                        <p:tav tm="100000">
                                          <p:val>
                                            <p:strVal val="#ppt_x"/>
                                          </p:val>
                                        </p:tav>
                                      </p:tavLst>
                                    </p:anim>
                                    <p:anim calcmode="lin" valueType="num">
                                      <p:cBhvr additive="base">
                                        <p:cTn id="46" dur="750" fill="hold"/>
                                        <p:tgtEl>
                                          <p:spTgt spid="24"/>
                                        </p:tgtEl>
                                        <p:attrNameLst>
                                          <p:attrName>ppt_y</p:attrName>
                                        </p:attrNameLst>
                                      </p:cBhvr>
                                      <p:tavLst>
                                        <p:tav tm="0">
                                          <p:val>
                                            <p:strVal val="#ppt_y"/>
                                          </p:val>
                                        </p:tav>
                                        <p:tav tm="100000">
                                          <p:val>
                                            <p:strVal val="#ppt_y"/>
                                          </p:val>
                                        </p:tav>
                                      </p:tavLst>
                                    </p:anim>
                                  </p:childTnLst>
                                </p:cTn>
                              </p:par>
                            </p:childTnLst>
                          </p:cTn>
                        </p:par>
                        <p:par>
                          <p:cTn id="47" fill="hold">
                            <p:stCondLst>
                              <p:cond delay="750"/>
                            </p:stCondLst>
                            <p:childTnLst>
                              <p:par>
                                <p:cTn id="48" presetID="10" presetClass="entr" presetSubtype="0" fill="hold" grpId="0" nodeType="afterEffect">
                                  <p:stCondLst>
                                    <p:cond delay="0"/>
                                  </p:stCondLst>
                                  <p:childTnLst>
                                    <p:set>
                                      <p:cBhvr>
                                        <p:cTn id="49" dur="1" fill="hold">
                                          <p:stCondLst>
                                            <p:cond delay="0"/>
                                          </p:stCondLst>
                                        </p:cTn>
                                        <p:tgtEl>
                                          <p:spTgt spid="65">
                                            <p:txEl>
                                              <p:pRg st="0" end="0"/>
                                            </p:txEl>
                                          </p:spTgt>
                                        </p:tgtEl>
                                        <p:attrNameLst>
                                          <p:attrName>style.visibility</p:attrName>
                                        </p:attrNameLst>
                                      </p:cBhvr>
                                      <p:to>
                                        <p:strVal val="visible"/>
                                      </p:to>
                                    </p:set>
                                    <p:animEffect transition="in" filter="fade">
                                      <p:cBhvr>
                                        <p:cTn id="50" dur="500"/>
                                        <p:tgtEl>
                                          <p:spTgt spid="65">
                                            <p:txEl>
                                              <p:pRg st="0" end="0"/>
                                            </p:tx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2">
                                            <p:txEl>
                                              <p:pRg st="0" end="0"/>
                                            </p:txEl>
                                          </p:spTgt>
                                        </p:tgtEl>
                                        <p:attrNameLst>
                                          <p:attrName>style.visibility</p:attrName>
                                        </p:attrNameLst>
                                      </p:cBhvr>
                                      <p:to>
                                        <p:strVal val="visible"/>
                                      </p:to>
                                    </p:set>
                                    <p:animEffect transition="in" filter="fade">
                                      <p:cBhvr>
                                        <p:cTn id="53"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4" grpId="0" animBg="1"/>
      <p:bldP spid="15" grpId="0" animBg="1"/>
      <p:bldP spid="18" grpId="0" build="p">
        <p:tmplLst>
          <p:tmpl lvl="1">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9" grpId="0" animBg="1"/>
      <p:bldP spid="20" grpId="0" animBg="1"/>
      <p:bldP spid="22" grpId="0" build="p">
        <p:tmplLst>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500"/>
                        <p:tgtEl>
                          <p:spTgt spid="22"/>
                        </p:tgtEl>
                      </p:cBhvr>
                    </p:animEffect>
                  </p:childTnLst>
                </p:cTn>
              </p:par>
            </p:tnLst>
          </p:tmpl>
        </p:tmplLst>
      </p:bldP>
      <p:bldP spid="23" grpId="0" animBg="1"/>
      <p:bldP spid="24" grpId="0" animBg="1"/>
      <p:bldP spid="64" grpId="0" build="p">
        <p:tmplLst>
          <p:tmpl lvl="1">
            <p:tnLst>
              <p:par>
                <p:cTn presetID="10" presetClass="entr" presetSubtype="0" fill="hold" nodeType="afterEffect">
                  <p:stCondLst>
                    <p:cond delay="0"/>
                  </p:stCondLst>
                  <p:childTnLst>
                    <p:set>
                      <p:cBhvr>
                        <p:cTn dur="1" fill="hold">
                          <p:stCondLst>
                            <p:cond delay="0"/>
                          </p:stCondLst>
                        </p:cTn>
                        <p:tgtEl>
                          <p:spTgt spid="64"/>
                        </p:tgtEl>
                        <p:attrNameLst>
                          <p:attrName>style.visibility</p:attrName>
                        </p:attrNameLst>
                      </p:cBhvr>
                      <p:to>
                        <p:strVal val="visible"/>
                      </p:to>
                    </p:set>
                    <p:animEffect transition="in" filter="fade">
                      <p:cBhvr>
                        <p:cTn dur="500"/>
                        <p:tgtEl>
                          <p:spTgt spid="64"/>
                        </p:tgtEl>
                      </p:cBhvr>
                    </p:animEffect>
                  </p:childTnLst>
                </p:cTn>
              </p:par>
            </p:tnLst>
          </p:tmpl>
        </p:tmplLst>
      </p:bldP>
      <p:bldP spid="65" grpId="0" build="p">
        <p:tmplLst>
          <p:tmpl lvl="1">
            <p:tnLst>
              <p:par>
                <p:cTn presetID="10" presetClass="entr" presetSubtype="0" fill="hold" nodeType="afterEffect">
                  <p:stCondLst>
                    <p:cond delay="0"/>
                  </p:stCondLst>
                  <p:childTnLst>
                    <p:set>
                      <p:cBhvr>
                        <p:cTn dur="1" fill="hold">
                          <p:stCondLst>
                            <p:cond delay="0"/>
                          </p:stCondLst>
                        </p:cTn>
                        <p:tgtEl>
                          <p:spTgt spid="65"/>
                        </p:tgtEl>
                        <p:attrNameLst>
                          <p:attrName>style.visibility</p:attrName>
                        </p:attrNameLst>
                      </p:cBhvr>
                      <p:to>
                        <p:strVal val="visible"/>
                      </p:to>
                    </p:set>
                    <p:animEffect transition="in" filter="fade">
                      <p:cBhvr>
                        <p:cTn dur="500"/>
                        <p:tgtEl>
                          <p:spTgt spid="65"/>
                        </p:tgtEl>
                      </p:cBhvr>
                    </p:animEffect>
                  </p:childTnLst>
                </p:cTn>
              </p:par>
            </p:tnLst>
          </p:tmpl>
        </p:tmplLst>
      </p:bldP>
      <p:bldP spid="66" grpId="0" build="p">
        <p:tmplLst>
          <p:tmpl lvl="1">
            <p:tnLst>
              <p:par>
                <p:cTn presetID="10" presetClass="entr" presetSubtype="0" fill="hold" nodeType="afterEffect">
                  <p:stCondLst>
                    <p:cond delay="0"/>
                  </p:stCondLst>
                  <p:childTnLst>
                    <p:set>
                      <p:cBhvr>
                        <p:cTn dur="1" fill="hold">
                          <p:stCondLst>
                            <p:cond delay="0"/>
                          </p:stCondLst>
                        </p:cTn>
                        <p:tgtEl>
                          <p:spTgt spid="66"/>
                        </p:tgtEl>
                        <p:attrNameLst>
                          <p:attrName>style.visibility</p:attrName>
                        </p:attrNameLst>
                      </p:cBhvr>
                      <p:to>
                        <p:strVal val="visible"/>
                      </p:to>
                    </p:set>
                    <p:animEffect transition="in" filter="fade">
                      <p:cBhvr>
                        <p:cTn dur="500"/>
                        <p:tgtEl>
                          <p:spTgt spid="66"/>
                        </p:tgtEl>
                      </p:cBhvr>
                    </p:animEffect>
                  </p:childTnLst>
                </p:cTn>
              </p:par>
            </p:tnLst>
          </p:tmpl>
        </p:tmplLst>
      </p:bldP>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2_Title Slide">
    <p:bg>
      <p:bgPr>
        <a:blipFill dpi="0" rotWithShape="1">
          <a:blip r:embed="rId2">
            <a:alphaModFix amt="50000"/>
            <a:lum/>
            <a:extLst>
              <a:ext uri="{BEBA8EAE-BF5A-486C-A8C5-ECC9F3942E4B}">
                <a14:imgProps xmlns:a14="http://schemas.microsoft.com/office/drawing/2010/main">
                  <a14:imgLayer r:embed="rId3">
                    <a14:imgEffect>
                      <a14:saturation sat="151000"/>
                    </a14:imgEffect>
                  </a14:imgLayer>
                </a14:imgProps>
              </a:ext>
            </a:extLst>
          </a:blip>
          <a:srcRect/>
          <a:stretch>
            <a:fillRect t="-39000" b="-39000"/>
          </a:stretch>
        </a:blipFill>
        <a:effectLst/>
      </p:bgPr>
    </p:bg>
    <p:spTree>
      <p:nvGrpSpPr>
        <p:cNvPr id="1" name=""/>
        <p:cNvGrpSpPr/>
        <p:nvPr/>
      </p:nvGrpSpPr>
      <p:grpSpPr>
        <a:xfrm>
          <a:off x="0" y="0"/>
          <a:ext cx="0" cy="0"/>
          <a:chOff x="0" y="0"/>
          <a:chExt cx="0" cy="0"/>
        </a:xfrm>
      </p:grpSpPr>
      <p:sp>
        <p:nvSpPr>
          <p:cNvPr id="32780" name="Title 32779"/>
          <p:cNvSpPr>
            <a:spLocks noGrp="1" noChangeArrowheads="1"/>
          </p:cNvSpPr>
          <p:nvPr>
            <p:ph type="ctrTitle"/>
          </p:nvPr>
        </p:nvSpPr>
        <p:spPr>
          <a:xfrm>
            <a:off x="685800" y="400050"/>
            <a:ext cx="7772400" cy="1885950"/>
          </a:xfrm>
          <a:noFill/>
        </p:spPr>
        <p:txBody>
          <a:bodyPr anchor="b"/>
          <a:lstStyle>
            <a:lvl1pPr algn="r">
              <a:defRPr sz="3200" b="1">
                <a:solidFill>
                  <a:schemeClr val="accent2"/>
                </a:solidFill>
                <a:latin typeface="Calibri Light" pitchFamily="34" charset="0"/>
                <a:cs typeface="Segoe UI" pitchFamily="34" charset="0"/>
              </a:defRPr>
            </a:lvl1pPr>
          </a:lstStyle>
          <a:p>
            <a:r>
              <a:rPr lang="en-US" dirty="0"/>
              <a:t>Click to edit Master title style</a:t>
            </a:r>
          </a:p>
        </p:txBody>
      </p:sp>
      <p:sp>
        <p:nvSpPr>
          <p:cNvPr id="32781" name="Subtitle 32780"/>
          <p:cNvSpPr>
            <a:spLocks noGrp="1" noChangeArrowheads="1"/>
          </p:cNvSpPr>
          <p:nvPr>
            <p:ph type="subTitle" idx="1"/>
          </p:nvPr>
        </p:nvSpPr>
        <p:spPr>
          <a:xfrm>
            <a:off x="2057400" y="2343150"/>
            <a:ext cx="6400800" cy="971550"/>
          </a:xfrm>
        </p:spPr>
        <p:txBody>
          <a:bodyPr/>
          <a:lstStyle>
            <a:lvl1pPr marL="0" indent="0" algn="r">
              <a:buNone/>
              <a:defRPr b="0">
                <a:latin typeface="Calibri Light" pitchFamily="34" charset="0"/>
                <a:cs typeface="Segoe UI" pitchFamily="34" charset="0"/>
              </a:defRPr>
            </a:lvl1pPr>
          </a:lstStyle>
          <a:p>
            <a:r>
              <a:rPr lang="en-US"/>
              <a:t>Click to edit Master subtitle style</a:t>
            </a:r>
            <a:endParaRPr lang="en-US" dirty="0"/>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04800" y="3625850"/>
            <a:ext cx="3162300" cy="1358900"/>
          </a:xfrm>
          <a:prstGeom prst="rect">
            <a:avLst/>
          </a:prstGeom>
        </p:spPr>
      </p:pic>
    </p:spTree>
    <p:extLst>
      <p:ext uri="{BB962C8B-B14F-4D97-AF65-F5344CB8AC3E}">
        <p14:creationId xmlns:p14="http://schemas.microsoft.com/office/powerpoint/2010/main" val="5536875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rtlCol="0"/>
          <a:lstStyle>
            <a:lvl1pPr marL="0" indent="0" algn="ctr" defTabSz="-13873163" rtl="0" eaLnBrk="1" fontAlgn="base" hangingPunct="1">
              <a:spcBef>
                <a:spcPct val="0"/>
              </a:spcBef>
              <a:spcAft>
                <a:spcPct val="0"/>
              </a:spcAft>
              <a:defRPr lang="en-US" sz="2900" b="1" dirty="0">
                <a:solidFill>
                  <a:schemeClr val="accent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Tree>
    <p:extLst>
      <p:ext uri="{BB962C8B-B14F-4D97-AF65-F5344CB8AC3E}">
        <p14:creationId xmlns:p14="http://schemas.microsoft.com/office/powerpoint/2010/main" val="1128858845"/>
      </p:ext>
    </p:extLst>
  </p:cSld>
  <p:clrMapOvr>
    <a:masterClrMapping/>
  </p:clrMapOvr>
  <p:transition>
    <p:fade/>
  </p:transition>
  <p:hf sldNum="0"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rtlCol="0"/>
          <a:lstStyle>
            <a:lvl1pPr marL="0" indent="0" algn="ctr" defTabSz="-13873163" rtl="0" eaLnBrk="1" fontAlgn="base" hangingPunct="1">
              <a:spcBef>
                <a:spcPct val="0"/>
              </a:spcBef>
              <a:spcAft>
                <a:spcPct val="0"/>
              </a:spcAft>
              <a:defRPr lang="en-US" sz="2900" b="1" dirty="0">
                <a:solidFill>
                  <a:schemeClr val="accent2"/>
                </a:solidFill>
                <a:latin typeface="+mj-lt"/>
                <a:ea typeface="+mj-ea"/>
                <a:cs typeface="Segoe UI" pitchFamily="34" charset="0"/>
              </a:defRPr>
            </a:lvl1pPr>
          </a:lstStyle>
          <a:p>
            <a:r>
              <a:rPr lang="en-US" dirty="0"/>
              <a:t>References</a:t>
            </a:r>
          </a:p>
        </p:txBody>
      </p:sp>
      <p:sp>
        <p:nvSpPr>
          <p:cNvPr id="8"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10" name="TextBox 9"/>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170951947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8" name="TextBox 7"/>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3605598722"/>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solidFill>
                  <a:schemeClr val="accent2"/>
                </a:solidFill>
              </a:defRPr>
            </a:lvl1p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6" name="TextBox 5"/>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41554703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rtlCol="0"/>
          <a:lstStyle>
            <a:lvl1pPr marL="0" indent="0" algn="ctr" defTabSz="-13873163" rtl="0" eaLnBrk="1" fontAlgn="base" hangingPunct="1">
              <a:spcBef>
                <a:spcPct val="0"/>
              </a:spcBef>
              <a:spcAft>
                <a:spcPct val="0"/>
              </a:spcAft>
              <a:defRPr lang="en-US" sz="2900" b="1" dirty="0">
                <a:solidFill>
                  <a:schemeClr val="accent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Tree>
    <p:extLst>
      <p:ext uri="{BB962C8B-B14F-4D97-AF65-F5344CB8AC3E}">
        <p14:creationId xmlns:p14="http://schemas.microsoft.com/office/powerpoint/2010/main" val="4174362362"/>
      </p:ext>
    </p:extLst>
  </p:cSld>
  <p:clrMapOvr>
    <a:masterClrMapping/>
  </p:clrMapOvr>
  <p:transition>
    <p:fade/>
  </p:transition>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59"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2412973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180035"/>
            <a:ext cx="7772400" cy="1125140"/>
          </a:xfrm>
        </p:spPr>
        <p:txBody>
          <a:bodyPr anchor="b"/>
          <a:lstStyle>
            <a:lvl1pPr marL="0" indent="0">
              <a:buNone/>
              <a:defRPr sz="210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685800" y="3371850"/>
            <a:ext cx="7772400" cy="571500"/>
          </a:xfrm>
        </p:spPr>
        <p:txBody>
          <a:bodyPr/>
          <a:lstStyle>
            <a:lvl1pPr algn="l">
              <a:defRPr>
                <a:solidFill>
                  <a:schemeClr val="tx1"/>
                </a:solidFill>
              </a:defRPr>
            </a:lvl1pPr>
          </a:lstStyle>
          <a:p>
            <a:r>
              <a:rPr lang="en-US" dirty="0"/>
              <a:t>Click to edit 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6" name="TextBox 5"/>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71754455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180035"/>
            <a:ext cx="7772400" cy="1125140"/>
          </a:xfrm>
        </p:spPr>
        <p:txBody>
          <a:bodyPr anchor="b"/>
          <a:lstStyle>
            <a:lvl1pPr marL="0" indent="0">
              <a:buNone/>
              <a:defRPr sz="210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685800" y="3371850"/>
            <a:ext cx="7772400" cy="571500"/>
          </a:xfrm>
        </p:spPr>
        <p:txBody>
          <a:bodyPr/>
          <a:lstStyle>
            <a:lvl1pPr algn="l">
              <a:defRPr>
                <a:solidFill>
                  <a:schemeClr val="tx1"/>
                </a:solidFill>
              </a:defRPr>
            </a:lvl1pPr>
          </a:lstStyle>
          <a:p>
            <a:r>
              <a:rPr lang="en-US" dirty="0"/>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7" name="TextBox 6"/>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315937514"/>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2900" b="1" dirty="0">
                <a:solidFill>
                  <a:schemeClr val="accent2"/>
                </a:solidFill>
                <a:latin typeface="+mj-lt"/>
                <a:ea typeface="+mj-ea"/>
                <a:cs typeface="Segoe UI" pitchFamily="34" charset="0"/>
              </a:defRPr>
            </a:lvl1pPr>
          </a:lstStyle>
          <a:p>
            <a:r>
              <a:rPr lang="en-US" dirty="0"/>
              <a:t>Click to edit Master title style</a:t>
            </a:r>
          </a:p>
        </p:txBody>
      </p:sp>
      <p:sp>
        <p:nvSpPr>
          <p:cNvPr id="8"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7" name="TextBox 6"/>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3157967838"/>
      </p:ext>
    </p:extLst>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457200" y="292894"/>
            <a:ext cx="8229600" cy="571500"/>
          </a:xfrm>
        </p:spPr>
        <p:txBody>
          <a:bodyPr/>
          <a:lstStyle>
            <a:lvl1pPr algn="ctr">
              <a:defRPr>
                <a:solidFill>
                  <a:schemeClr val="accent2"/>
                </a:solidFill>
              </a:defRPr>
            </a:lvl1pPr>
          </a:lstStyle>
          <a:p>
            <a:r>
              <a:rPr lang="en-US" dirty="0"/>
              <a:t>Demo</a:t>
            </a:r>
          </a:p>
        </p:txBody>
      </p:sp>
      <p:sp>
        <p:nvSpPr>
          <p:cNvPr id="11"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9" name="TextBox 8"/>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39547658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360FE70-1DE4-874A-9DEA-F391709C6769}"/>
              </a:ext>
            </a:extLst>
          </p:cNvPr>
          <p:cNvPicPr>
            <a:picLocks noChangeAspect="1"/>
          </p:cNvPicPr>
          <p:nvPr userDrawn="1"/>
        </p:nvPicPr>
        <p:blipFill rotWithShape="1">
          <a:blip r:embed="rId2"/>
          <a:srcRect l="11022" r="729" b="6645"/>
          <a:stretch/>
        </p:blipFill>
        <p:spPr>
          <a:xfrm rot="10800000">
            <a:off x="-76200" y="-95250"/>
            <a:ext cx="9220200" cy="5351904"/>
          </a:xfrm>
          <a:prstGeom prst="rect">
            <a:avLst/>
          </a:prstGeom>
        </p:spPr>
      </p:pic>
      <p:sp>
        <p:nvSpPr>
          <p:cNvPr id="32780" name="Title 32779"/>
          <p:cNvSpPr>
            <a:spLocks noGrp="1" noChangeArrowheads="1"/>
          </p:cNvSpPr>
          <p:nvPr>
            <p:ph type="ctrTitle"/>
          </p:nvPr>
        </p:nvSpPr>
        <p:spPr>
          <a:xfrm>
            <a:off x="685800" y="400050"/>
            <a:ext cx="7772400" cy="1885950"/>
          </a:xfrm>
          <a:noFill/>
        </p:spPr>
        <p:txBody>
          <a:bodyPr anchor="b"/>
          <a:lstStyle>
            <a:lvl1pPr algn="r">
              <a:defRPr sz="3200" b="1">
                <a:solidFill>
                  <a:schemeClr val="bg1"/>
                </a:solidFill>
                <a:latin typeface="Calibri Light" pitchFamily="34" charset="0"/>
                <a:cs typeface="Segoe UI" pitchFamily="34" charset="0"/>
              </a:defRPr>
            </a:lvl1pPr>
          </a:lstStyle>
          <a:p>
            <a:r>
              <a:rPr lang="en-US" dirty="0"/>
              <a:t>Click to edit Master title style</a:t>
            </a:r>
          </a:p>
        </p:txBody>
      </p:sp>
      <p:sp>
        <p:nvSpPr>
          <p:cNvPr id="32781" name="Subtitle 32780"/>
          <p:cNvSpPr>
            <a:spLocks noGrp="1" noChangeArrowheads="1"/>
          </p:cNvSpPr>
          <p:nvPr>
            <p:ph type="subTitle" idx="1"/>
          </p:nvPr>
        </p:nvSpPr>
        <p:spPr>
          <a:xfrm>
            <a:off x="2057400" y="2343150"/>
            <a:ext cx="6400800" cy="971550"/>
          </a:xfrm>
        </p:spPr>
        <p:txBody>
          <a:bodyPr/>
          <a:lstStyle>
            <a:lvl1pPr marL="0" indent="0" algn="r">
              <a:buNone/>
              <a:defRPr b="0">
                <a:solidFill>
                  <a:schemeClr val="bg1"/>
                </a:solidFill>
                <a:latin typeface="Calibri Light" pitchFamily="34" charset="0"/>
                <a:cs typeface="Segoe UI" pitchFamily="34" charset="0"/>
              </a:defRPr>
            </a:lvl1pPr>
          </a:lstStyle>
          <a:p>
            <a:r>
              <a:rPr lang="en-US" dirty="0"/>
              <a:t>Click to edit Master subtitle style</a:t>
            </a:r>
          </a:p>
        </p:txBody>
      </p:sp>
      <p:pic>
        <p:nvPicPr>
          <p:cNvPr id="4" name="Picture 3">
            <a:extLst>
              <a:ext uri="{FF2B5EF4-FFF2-40B4-BE49-F238E27FC236}">
                <a16:creationId xmlns:a16="http://schemas.microsoft.com/office/drawing/2014/main" id="{1530F127-F4ED-7B47-9171-251A796E4531}"/>
              </a:ext>
            </a:extLst>
          </p:cNvPr>
          <p:cNvPicPr>
            <a:picLocks noChangeAspect="1"/>
          </p:cNvPicPr>
          <p:nvPr userDrawn="1"/>
        </p:nvPicPr>
        <p:blipFill>
          <a:blip r:embed="rId3"/>
          <a:stretch>
            <a:fillRect/>
          </a:stretch>
        </p:blipFill>
        <p:spPr>
          <a:xfrm>
            <a:off x="381000" y="3790950"/>
            <a:ext cx="2628450" cy="1123950"/>
          </a:xfrm>
          <a:prstGeom prst="rect">
            <a:avLst/>
          </a:prstGeom>
        </p:spPr>
      </p:pic>
    </p:spTree>
    <p:extLst>
      <p:ext uri="{BB962C8B-B14F-4D97-AF65-F5344CB8AC3E}">
        <p14:creationId xmlns:p14="http://schemas.microsoft.com/office/powerpoint/2010/main" val="195870019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rtlCol="0"/>
          <a:lstStyle>
            <a:lvl1pPr marL="0" indent="0" algn="ctr" defTabSz="-13873163" rtl="0" eaLnBrk="1" fontAlgn="base" hangingPunct="1">
              <a:spcBef>
                <a:spcPct val="0"/>
              </a:spcBef>
              <a:spcAft>
                <a:spcPct val="0"/>
              </a:spcAft>
              <a:defRPr lang="en-US" sz="2900" b="1" dirty="0">
                <a:solidFill>
                  <a:schemeClr val="tx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solidFill>
                  <a:schemeClr val="tx2"/>
                </a:solidFill>
                <a:latin typeface="Calibri" pitchFamily="34" charset="0"/>
              </a:defRPr>
            </a:lvl1pPr>
            <a:lvl2pPr>
              <a:buClrTx/>
              <a:buFont typeface="Wingdings" pitchFamily="2" charset="2"/>
              <a:buChar char="o"/>
              <a:defRPr sz="1900" b="0">
                <a:solidFill>
                  <a:schemeClr val="tx2"/>
                </a:solidFill>
                <a:latin typeface="Calibri Light" pitchFamily="34" charset="0"/>
              </a:defRPr>
            </a:lvl2pPr>
            <a:lvl3pPr>
              <a:buClrTx/>
              <a:buFont typeface="Wingdings" pitchFamily="2" charset="2"/>
              <a:buChar char="o"/>
              <a:defRPr sz="1700" b="0">
                <a:solidFill>
                  <a:schemeClr val="tx2"/>
                </a:solidFill>
                <a:latin typeface="Calibri Light" pitchFamily="34" charset="0"/>
              </a:defRPr>
            </a:lvl3pPr>
            <a:lvl4pPr>
              <a:buClrTx/>
              <a:buFont typeface="Wingdings" pitchFamily="2" charset="2"/>
              <a:buChar char="o"/>
              <a:defRPr sz="1500" b="0">
                <a:solidFill>
                  <a:schemeClr val="tx2"/>
                </a:solidFill>
                <a:latin typeface="Calibri Light" pitchFamily="34" charset="0"/>
              </a:defRPr>
            </a:lvl4pPr>
            <a:lvl5pPr>
              <a:buClrTx/>
              <a:buFont typeface="Wingdings" pitchFamily="2" charset="2"/>
              <a:buChar char="o"/>
              <a:defRPr sz="1300" b="0">
                <a:solidFill>
                  <a:schemeClr val="tx2"/>
                </a:solidFill>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5" name="Picture 4">
            <a:extLst>
              <a:ext uri="{FF2B5EF4-FFF2-40B4-BE49-F238E27FC236}">
                <a16:creationId xmlns:a16="http://schemas.microsoft.com/office/drawing/2014/main" id="{DE7A6B1D-F001-6E40-9E26-EDC3D84311C5}"/>
              </a:ext>
            </a:extLst>
          </p:cNvPr>
          <p:cNvPicPr>
            <a:picLocks noChangeAspect="1"/>
          </p:cNvPicPr>
          <p:nvPr userDrawn="1"/>
        </p:nvPicPr>
        <p:blipFill>
          <a:blip r:embed="rId2"/>
          <a:stretch>
            <a:fillRect/>
          </a:stretch>
        </p:blipFill>
        <p:spPr>
          <a:xfrm>
            <a:off x="228600" y="4365805"/>
            <a:ext cx="1447800" cy="617046"/>
          </a:xfrm>
          <a:prstGeom prst="rect">
            <a:avLst/>
          </a:prstGeom>
        </p:spPr>
      </p:pic>
    </p:spTree>
    <p:extLst>
      <p:ext uri="{BB962C8B-B14F-4D97-AF65-F5344CB8AC3E}">
        <p14:creationId xmlns:p14="http://schemas.microsoft.com/office/powerpoint/2010/main" val="2755339792"/>
      </p:ext>
    </p:extLst>
  </p:cSld>
  <p:clrMapOvr>
    <a:masterClrMapping/>
  </p:clrMapOvr>
  <p:transition>
    <p:fade/>
  </p:transition>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rtlCol="0"/>
          <a:lstStyle>
            <a:lvl1pPr marL="0" indent="0" algn="ctr" defTabSz="-13873163" rtl="0" eaLnBrk="1" fontAlgn="base" hangingPunct="1">
              <a:spcBef>
                <a:spcPct val="0"/>
              </a:spcBef>
              <a:spcAft>
                <a:spcPct val="0"/>
              </a:spcAft>
              <a:defRPr lang="en-US" sz="2900" b="1" dirty="0">
                <a:solidFill>
                  <a:schemeClr val="tx2"/>
                </a:solidFill>
                <a:latin typeface="+mj-lt"/>
                <a:ea typeface="+mj-ea"/>
                <a:cs typeface="Segoe UI" pitchFamily="34" charset="0"/>
              </a:defRPr>
            </a:lvl1pPr>
          </a:lstStyle>
          <a:p>
            <a:r>
              <a:rPr lang="en-US" dirty="0"/>
              <a:t>References</a:t>
            </a:r>
          </a:p>
        </p:txBody>
      </p:sp>
      <p:sp>
        <p:nvSpPr>
          <p:cNvPr id="8"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solidFill>
                  <a:schemeClr val="tx2"/>
                </a:solidFill>
                <a:latin typeface="Calibri" pitchFamily="34" charset="0"/>
              </a:defRPr>
            </a:lvl1pPr>
            <a:lvl2pPr>
              <a:buClrTx/>
              <a:buFont typeface="Wingdings" pitchFamily="2" charset="2"/>
              <a:buChar char="o"/>
              <a:defRPr sz="1900" b="0">
                <a:solidFill>
                  <a:schemeClr val="tx2"/>
                </a:solidFill>
                <a:latin typeface="Calibri Light" pitchFamily="34" charset="0"/>
              </a:defRPr>
            </a:lvl2pPr>
            <a:lvl3pPr>
              <a:buClrTx/>
              <a:buFont typeface="Wingdings" pitchFamily="2" charset="2"/>
              <a:buChar char="o"/>
              <a:defRPr sz="1700" b="0">
                <a:solidFill>
                  <a:schemeClr val="tx2"/>
                </a:solidFill>
                <a:latin typeface="Calibri Light" pitchFamily="34" charset="0"/>
              </a:defRPr>
            </a:lvl3pPr>
            <a:lvl4pPr>
              <a:buClrTx/>
              <a:buFont typeface="Wingdings" pitchFamily="2" charset="2"/>
              <a:buChar char="o"/>
              <a:defRPr sz="1500" b="0">
                <a:solidFill>
                  <a:schemeClr val="tx2"/>
                </a:solidFill>
                <a:latin typeface="Calibri Light" pitchFamily="34" charset="0"/>
              </a:defRPr>
            </a:lvl4pPr>
            <a:lvl5pPr>
              <a:buClrTx/>
              <a:buFont typeface="Wingdings" pitchFamily="2" charset="2"/>
              <a:buChar char="o"/>
              <a:defRPr sz="1300" b="0">
                <a:solidFill>
                  <a:schemeClr val="tx2"/>
                </a:solidFill>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6" name="Picture 5">
            <a:extLst>
              <a:ext uri="{FF2B5EF4-FFF2-40B4-BE49-F238E27FC236}">
                <a16:creationId xmlns:a16="http://schemas.microsoft.com/office/drawing/2014/main" id="{DB1E7C9F-6910-3840-A899-937F620E4AA4}"/>
              </a:ext>
            </a:extLst>
          </p:cNvPr>
          <p:cNvPicPr>
            <a:picLocks noChangeAspect="1"/>
          </p:cNvPicPr>
          <p:nvPr userDrawn="1"/>
        </p:nvPicPr>
        <p:blipFill>
          <a:blip r:embed="rId2"/>
          <a:stretch>
            <a:fillRect/>
          </a:stretch>
        </p:blipFill>
        <p:spPr>
          <a:xfrm>
            <a:off x="228600" y="4365805"/>
            <a:ext cx="1447800" cy="617046"/>
          </a:xfrm>
          <a:prstGeom prst="rect">
            <a:avLst/>
          </a:prstGeom>
        </p:spPr>
      </p:pic>
    </p:spTree>
    <p:extLst>
      <p:ext uri="{BB962C8B-B14F-4D97-AF65-F5344CB8AC3E}">
        <p14:creationId xmlns:p14="http://schemas.microsoft.com/office/powerpoint/2010/main" val="130849548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8" name="TextBox 7"/>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5" name="Picture 4">
            <a:extLst>
              <a:ext uri="{FF2B5EF4-FFF2-40B4-BE49-F238E27FC236}">
                <a16:creationId xmlns:a16="http://schemas.microsoft.com/office/drawing/2014/main" id="{39BAA475-9A2C-5E42-9469-C17A6EEF09D7}"/>
              </a:ext>
            </a:extLst>
          </p:cNvPr>
          <p:cNvPicPr>
            <a:picLocks noChangeAspect="1"/>
          </p:cNvPicPr>
          <p:nvPr userDrawn="1"/>
        </p:nvPicPr>
        <p:blipFill>
          <a:blip r:embed="rId2"/>
          <a:stretch>
            <a:fillRect/>
          </a:stretch>
        </p:blipFill>
        <p:spPr>
          <a:xfrm>
            <a:off x="228600" y="4365805"/>
            <a:ext cx="1447800" cy="617046"/>
          </a:xfrm>
          <a:prstGeom prst="rect">
            <a:avLst/>
          </a:prstGeom>
        </p:spPr>
      </p:pic>
    </p:spTree>
    <p:extLst>
      <p:ext uri="{BB962C8B-B14F-4D97-AF65-F5344CB8AC3E}">
        <p14:creationId xmlns:p14="http://schemas.microsoft.com/office/powerpoint/2010/main" val="151110357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solidFill>
                  <a:schemeClr val="tx2"/>
                </a:solidFill>
              </a:defRPr>
            </a:lvl1pPr>
          </a:lstStyle>
          <a:p>
            <a:r>
              <a:rPr lang="en-US" dirty="0"/>
              <a:t>Click to edit Master title style</a:t>
            </a:r>
          </a:p>
        </p:txBody>
      </p:sp>
      <p:sp>
        <p:nvSpPr>
          <p:cNvPr id="6" name="TextBox 5"/>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5" name="Picture 4">
            <a:extLst>
              <a:ext uri="{FF2B5EF4-FFF2-40B4-BE49-F238E27FC236}">
                <a16:creationId xmlns:a16="http://schemas.microsoft.com/office/drawing/2014/main" id="{1FB12437-3080-7C49-A31E-0CBB83334BCC}"/>
              </a:ext>
            </a:extLst>
          </p:cNvPr>
          <p:cNvPicPr>
            <a:picLocks noChangeAspect="1"/>
          </p:cNvPicPr>
          <p:nvPr userDrawn="1"/>
        </p:nvPicPr>
        <p:blipFill>
          <a:blip r:embed="rId2"/>
          <a:stretch>
            <a:fillRect/>
          </a:stretch>
        </p:blipFill>
        <p:spPr>
          <a:xfrm>
            <a:off x="228600" y="4365805"/>
            <a:ext cx="1447800" cy="617046"/>
          </a:xfrm>
          <a:prstGeom prst="rect">
            <a:avLst/>
          </a:prstGeom>
        </p:spPr>
      </p:pic>
    </p:spTree>
    <p:extLst>
      <p:ext uri="{BB962C8B-B14F-4D97-AF65-F5344CB8AC3E}">
        <p14:creationId xmlns:p14="http://schemas.microsoft.com/office/powerpoint/2010/main" val="1492369693"/>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180035"/>
            <a:ext cx="7772400" cy="1125140"/>
          </a:xfrm>
        </p:spPr>
        <p:txBody>
          <a:bodyPr anchor="b"/>
          <a:lstStyle>
            <a:lvl1pPr marL="0" indent="0">
              <a:buNone/>
              <a:defRPr sz="2100" i="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685800" y="3371850"/>
            <a:ext cx="7772400" cy="571500"/>
          </a:xfrm>
        </p:spPr>
        <p:txBody>
          <a:bodyPr/>
          <a:lstStyle>
            <a:lvl1pPr algn="l">
              <a:defRPr>
                <a:solidFill>
                  <a:schemeClr val="tx2"/>
                </a:solidFill>
              </a:defRPr>
            </a:lvl1pPr>
          </a:lstStyle>
          <a:p>
            <a:r>
              <a:rPr lang="en-US" dirty="0"/>
              <a:t>Click to edit Master title style</a:t>
            </a:r>
          </a:p>
        </p:txBody>
      </p:sp>
      <p:sp>
        <p:nvSpPr>
          <p:cNvPr id="6" name="TextBox 5"/>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7" name="Picture 6">
            <a:extLst>
              <a:ext uri="{FF2B5EF4-FFF2-40B4-BE49-F238E27FC236}">
                <a16:creationId xmlns:a16="http://schemas.microsoft.com/office/drawing/2014/main" id="{EB39B20B-3F1A-2F4B-B122-CEB74E4B534B}"/>
              </a:ext>
            </a:extLst>
          </p:cNvPr>
          <p:cNvPicPr>
            <a:picLocks noChangeAspect="1"/>
          </p:cNvPicPr>
          <p:nvPr userDrawn="1"/>
        </p:nvPicPr>
        <p:blipFill>
          <a:blip r:embed="rId2"/>
          <a:stretch>
            <a:fillRect/>
          </a:stretch>
        </p:blipFill>
        <p:spPr>
          <a:xfrm>
            <a:off x="228600" y="4365805"/>
            <a:ext cx="1447800" cy="617046"/>
          </a:xfrm>
          <a:prstGeom prst="rect">
            <a:avLst/>
          </a:prstGeom>
        </p:spPr>
      </p:pic>
    </p:spTree>
    <p:extLst>
      <p:ext uri="{BB962C8B-B14F-4D97-AF65-F5344CB8AC3E}">
        <p14:creationId xmlns:p14="http://schemas.microsoft.com/office/powerpoint/2010/main" val="405204990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
        <p:nvSpPr>
          <p:cNvPr id="9" name="Title 1"/>
          <p:cNvSpPr>
            <a:spLocks noGrp="1"/>
          </p:cNvSpPr>
          <p:nvPr>
            <p:ph type="title" hasCustomPrompt="1"/>
          </p:nvPr>
        </p:nvSpPr>
        <p:spPr>
          <a:xfrm>
            <a:off x="438150" y="1819335"/>
            <a:ext cx="3429000" cy="830997"/>
          </a:xfrm>
          <a:noFill/>
        </p:spPr>
        <p:txBody>
          <a:bodyPr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38150" y="2971800"/>
            <a:ext cx="34290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pic>
        <p:nvPicPr>
          <p:cNvPr id="12" name="Picture 11">
            <a:extLst>
              <a:ext uri="{FF2B5EF4-FFF2-40B4-BE49-F238E27FC236}">
                <a16:creationId xmlns:a16="http://schemas.microsoft.com/office/drawing/2014/main" id="{99F328AE-26F0-42B9-988D-535B1145C96D}"/>
              </a:ext>
            </a:extLst>
          </p:cNvPr>
          <p:cNvPicPr>
            <a:picLocks noChangeAspect="1"/>
          </p:cNvPicPr>
          <p:nvPr userDrawn="1"/>
        </p:nvPicPr>
        <p:blipFill>
          <a:blip r:embed="rId3"/>
          <a:stretch>
            <a:fillRect/>
          </a:stretch>
        </p:blipFill>
        <p:spPr>
          <a:xfrm>
            <a:off x="4688069" y="600075"/>
            <a:ext cx="3768364" cy="3943350"/>
          </a:xfrm>
          <a:prstGeom prst="rect">
            <a:avLst/>
          </a:prstGeom>
        </p:spPr>
      </p:pic>
    </p:spTree>
    <p:extLst>
      <p:ext uri="{BB962C8B-B14F-4D97-AF65-F5344CB8AC3E}">
        <p14:creationId xmlns:p14="http://schemas.microsoft.com/office/powerpoint/2010/main" val="3215016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180035"/>
            <a:ext cx="7772400" cy="1125140"/>
          </a:xfrm>
        </p:spPr>
        <p:txBody>
          <a:bodyPr anchor="b"/>
          <a:lstStyle>
            <a:lvl1pPr marL="0" indent="0">
              <a:buNone/>
              <a:defRPr sz="2100" i="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685800" y="3371850"/>
            <a:ext cx="7772400" cy="571500"/>
          </a:xfrm>
        </p:spPr>
        <p:txBody>
          <a:bodyPr/>
          <a:lstStyle>
            <a:lvl1pPr algn="l">
              <a:defRPr>
                <a:solidFill>
                  <a:schemeClr val="tx2"/>
                </a:solidFill>
              </a:defRPr>
            </a:lvl1pPr>
          </a:lstStyle>
          <a:p>
            <a:r>
              <a:rPr lang="en-US" dirty="0"/>
              <a:t>Click to edit Master title style</a:t>
            </a:r>
          </a:p>
        </p:txBody>
      </p:sp>
      <p:sp>
        <p:nvSpPr>
          <p:cNvPr id="7" name="TextBox 6"/>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6" name="Picture 5">
            <a:extLst>
              <a:ext uri="{FF2B5EF4-FFF2-40B4-BE49-F238E27FC236}">
                <a16:creationId xmlns:a16="http://schemas.microsoft.com/office/drawing/2014/main" id="{CC34EFC6-33C6-2C41-A422-9CF2AA3C4F15}"/>
              </a:ext>
            </a:extLst>
          </p:cNvPr>
          <p:cNvPicPr>
            <a:picLocks noChangeAspect="1"/>
          </p:cNvPicPr>
          <p:nvPr userDrawn="1"/>
        </p:nvPicPr>
        <p:blipFill>
          <a:blip r:embed="rId2"/>
          <a:stretch>
            <a:fillRect/>
          </a:stretch>
        </p:blipFill>
        <p:spPr>
          <a:xfrm>
            <a:off x="228600" y="4365805"/>
            <a:ext cx="1447800" cy="617046"/>
          </a:xfrm>
          <a:prstGeom prst="rect">
            <a:avLst/>
          </a:prstGeom>
        </p:spPr>
      </p:pic>
    </p:spTree>
    <p:extLst>
      <p:ext uri="{BB962C8B-B14F-4D97-AF65-F5344CB8AC3E}">
        <p14:creationId xmlns:p14="http://schemas.microsoft.com/office/powerpoint/2010/main" val="215110422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2900" b="1" dirty="0">
                <a:solidFill>
                  <a:schemeClr val="tx2"/>
                </a:solidFill>
                <a:latin typeface="+mj-lt"/>
                <a:ea typeface="+mj-ea"/>
                <a:cs typeface="Segoe UI" pitchFamily="34" charset="0"/>
              </a:defRPr>
            </a:lvl1pPr>
          </a:lstStyle>
          <a:p>
            <a:r>
              <a:rPr lang="en-US" dirty="0"/>
              <a:t>Click to edit Master title style</a:t>
            </a:r>
          </a:p>
        </p:txBody>
      </p:sp>
      <p:sp>
        <p:nvSpPr>
          <p:cNvPr id="8"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solidFill>
                  <a:schemeClr val="tx2"/>
                </a:solidFill>
                <a:latin typeface="Calibri" pitchFamily="34" charset="0"/>
              </a:defRPr>
            </a:lvl1pPr>
            <a:lvl2pPr>
              <a:buClrTx/>
              <a:buFont typeface="Wingdings" pitchFamily="2" charset="2"/>
              <a:buChar char="o"/>
              <a:defRPr sz="1900" b="0">
                <a:solidFill>
                  <a:schemeClr val="tx2"/>
                </a:solidFill>
                <a:latin typeface="Calibri Light" pitchFamily="34" charset="0"/>
              </a:defRPr>
            </a:lvl2pPr>
            <a:lvl3pPr>
              <a:buClrTx/>
              <a:buFont typeface="Wingdings" pitchFamily="2" charset="2"/>
              <a:buChar char="o"/>
              <a:defRPr sz="1700" b="0">
                <a:solidFill>
                  <a:schemeClr val="tx2"/>
                </a:solidFill>
                <a:latin typeface="Calibri Light" pitchFamily="34" charset="0"/>
              </a:defRPr>
            </a:lvl3pPr>
            <a:lvl4pPr>
              <a:buClrTx/>
              <a:buFont typeface="Wingdings" pitchFamily="2" charset="2"/>
              <a:buChar char="o"/>
              <a:defRPr sz="1500" b="0">
                <a:solidFill>
                  <a:schemeClr val="tx2"/>
                </a:solidFill>
                <a:latin typeface="Calibri Light" pitchFamily="34" charset="0"/>
              </a:defRPr>
            </a:lvl4pPr>
            <a:lvl5pPr>
              <a:buClrTx/>
              <a:buFont typeface="Wingdings" pitchFamily="2" charset="2"/>
              <a:buChar char="o"/>
              <a:defRPr sz="1300" b="0">
                <a:solidFill>
                  <a:schemeClr val="tx2"/>
                </a:solidFill>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6" name="Picture 5">
            <a:extLst>
              <a:ext uri="{FF2B5EF4-FFF2-40B4-BE49-F238E27FC236}">
                <a16:creationId xmlns:a16="http://schemas.microsoft.com/office/drawing/2014/main" id="{1EE94398-45A8-0445-8E0D-FD8E2CA21962}"/>
              </a:ext>
            </a:extLst>
          </p:cNvPr>
          <p:cNvPicPr>
            <a:picLocks noChangeAspect="1"/>
          </p:cNvPicPr>
          <p:nvPr userDrawn="1"/>
        </p:nvPicPr>
        <p:blipFill>
          <a:blip r:embed="rId2"/>
          <a:stretch>
            <a:fillRect/>
          </a:stretch>
        </p:blipFill>
        <p:spPr>
          <a:xfrm>
            <a:off x="228600" y="4365805"/>
            <a:ext cx="1447800" cy="617046"/>
          </a:xfrm>
          <a:prstGeom prst="rect">
            <a:avLst/>
          </a:prstGeom>
        </p:spPr>
      </p:pic>
    </p:spTree>
    <p:extLst>
      <p:ext uri="{BB962C8B-B14F-4D97-AF65-F5344CB8AC3E}">
        <p14:creationId xmlns:p14="http://schemas.microsoft.com/office/powerpoint/2010/main" val="270820496"/>
      </p:ext>
    </p:extLst>
  </p:cSld>
  <p:clrMapOvr>
    <a:masterClrMapping/>
  </p:clrMapOv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457200" y="292894"/>
            <a:ext cx="8229600" cy="571500"/>
          </a:xfrm>
        </p:spPr>
        <p:txBody>
          <a:bodyPr/>
          <a:lstStyle>
            <a:lvl1pPr algn="ctr">
              <a:defRPr>
                <a:solidFill>
                  <a:schemeClr val="tx2"/>
                </a:solidFill>
              </a:defRPr>
            </a:lvl1pPr>
          </a:lstStyle>
          <a:p>
            <a:r>
              <a:rPr lang="en-US" dirty="0"/>
              <a:t>Demo</a:t>
            </a:r>
          </a:p>
        </p:txBody>
      </p:sp>
      <p:sp>
        <p:nvSpPr>
          <p:cNvPr id="11"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solidFill>
                  <a:schemeClr val="tx2"/>
                </a:solidFill>
                <a:latin typeface="Calibri" pitchFamily="34" charset="0"/>
              </a:defRPr>
            </a:lvl1pPr>
            <a:lvl2pPr>
              <a:buClrTx/>
              <a:buFont typeface="Wingdings" pitchFamily="2" charset="2"/>
              <a:buChar char="o"/>
              <a:defRPr sz="1900" b="0">
                <a:solidFill>
                  <a:schemeClr val="tx2"/>
                </a:solidFill>
                <a:latin typeface="Calibri Light" pitchFamily="34" charset="0"/>
              </a:defRPr>
            </a:lvl2pPr>
            <a:lvl3pPr>
              <a:buClrTx/>
              <a:buFont typeface="Wingdings" pitchFamily="2" charset="2"/>
              <a:buChar char="o"/>
              <a:defRPr sz="1700" b="0">
                <a:solidFill>
                  <a:schemeClr val="tx2"/>
                </a:solidFill>
                <a:latin typeface="Calibri Light" pitchFamily="34" charset="0"/>
              </a:defRPr>
            </a:lvl3pPr>
            <a:lvl4pPr>
              <a:buClrTx/>
              <a:buFont typeface="Wingdings" pitchFamily="2" charset="2"/>
              <a:buChar char="o"/>
              <a:defRPr sz="1500" b="0">
                <a:solidFill>
                  <a:schemeClr val="tx2"/>
                </a:solidFill>
                <a:latin typeface="Calibri Light" pitchFamily="34" charset="0"/>
              </a:defRPr>
            </a:lvl4pPr>
            <a:lvl5pPr>
              <a:buClrTx/>
              <a:buFont typeface="Wingdings" pitchFamily="2" charset="2"/>
              <a:buChar char="o"/>
              <a:defRPr sz="1300" b="0">
                <a:solidFill>
                  <a:schemeClr val="tx2"/>
                </a:solidFill>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6" name="Picture 5">
            <a:extLst>
              <a:ext uri="{FF2B5EF4-FFF2-40B4-BE49-F238E27FC236}">
                <a16:creationId xmlns:a16="http://schemas.microsoft.com/office/drawing/2014/main" id="{48429163-CDAB-F346-95D3-8E1E311D5AEF}"/>
              </a:ext>
            </a:extLst>
          </p:cNvPr>
          <p:cNvPicPr>
            <a:picLocks noChangeAspect="1"/>
          </p:cNvPicPr>
          <p:nvPr userDrawn="1"/>
        </p:nvPicPr>
        <p:blipFill>
          <a:blip r:embed="rId2"/>
          <a:stretch>
            <a:fillRect/>
          </a:stretch>
        </p:blipFill>
        <p:spPr>
          <a:xfrm>
            <a:off x="228600" y="4365805"/>
            <a:ext cx="1447800" cy="617046"/>
          </a:xfrm>
          <a:prstGeom prst="rect">
            <a:avLst/>
          </a:prstGeom>
        </p:spPr>
      </p:pic>
    </p:spTree>
    <p:extLst>
      <p:ext uri="{BB962C8B-B14F-4D97-AF65-F5344CB8AC3E}">
        <p14:creationId xmlns:p14="http://schemas.microsoft.com/office/powerpoint/2010/main" val="42885203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4000500" y="0"/>
            <a:ext cx="5143500" cy="5143500"/>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436532" y="2971800"/>
            <a:ext cx="3123437"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pic>
        <p:nvPicPr>
          <p:cNvPr id="10" name="Picture 9">
            <a:extLst>
              <a:ext uri="{FF2B5EF4-FFF2-40B4-BE49-F238E27FC236}">
                <a16:creationId xmlns:a16="http://schemas.microsoft.com/office/drawing/2014/main" id="{95964678-FE6C-4226-A11B-8D452DA7808C}"/>
              </a:ext>
            </a:extLst>
          </p:cNvPr>
          <p:cNvPicPr>
            <a:picLocks noChangeAspect="1"/>
          </p:cNvPicPr>
          <p:nvPr userDrawn="1"/>
        </p:nvPicPr>
        <p:blipFill>
          <a:blip r:embed="rId3"/>
          <a:stretch>
            <a:fillRect/>
          </a:stretch>
        </p:blipFill>
        <p:spPr>
          <a:xfrm>
            <a:off x="4688069" y="600075"/>
            <a:ext cx="3768364" cy="3943350"/>
          </a:xfrm>
          <a:prstGeom prst="rect">
            <a:avLst/>
          </a:prstGeom>
        </p:spPr>
      </p:pic>
    </p:spTree>
    <p:extLst>
      <p:ext uri="{BB962C8B-B14F-4D97-AF65-F5344CB8AC3E}">
        <p14:creationId xmlns:p14="http://schemas.microsoft.com/office/powerpoint/2010/main" val="3845613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441198" y="1819156"/>
            <a:ext cx="3125915" cy="830997"/>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436532" y="2971800"/>
            <a:ext cx="3123437"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4000500" y="0"/>
            <a:ext cx="5143500" cy="51435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dirty="0" err="1">
              <a:solidFill>
                <a:srgbClr val="00240D"/>
              </a:soli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5FC1A9B4-AD16-4E53-919C-38204BAF9E3C}"/>
              </a:ext>
            </a:extLst>
          </p:cNvPr>
          <p:cNvPicPr>
            <a:picLocks noChangeAspect="1"/>
          </p:cNvPicPr>
          <p:nvPr userDrawn="1"/>
        </p:nvPicPr>
        <p:blipFill>
          <a:blip r:embed="rId3"/>
          <a:stretch>
            <a:fillRect/>
          </a:stretch>
        </p:blipFill>
        <p:spPr>
          <a:xfrm>
            <a:off x="4688069" y="600075"/>
            <a:ext cx="3768364" cy="3943350"/>
          </a:xfrm>
          <a:prstGeom prst="rect">
            <a:avLst/>
          </a:prstGeom>
        </p:spPr>
      </p:pic>
    </p:spTree>
    <p:extLst>
      <p:ext uri="{BB962C8B-B14F-4D97-AF65-F5344CB8AC3E}">
        <p14:creationId xmlns:p14="http://schemas.microsoft.com/office/powerpoint/2010/main" val="4243700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
        <p:nvSpPr>
          <p:cNvPr id="9" name="Title 1"/>
          <p:cNvSpPr>
            <a:spLocks noGrp="1"/>
          </p:cNvSpPr>
          <p:nvPr>
            <p:ph type="title" hasCustomPrompt="1"/>
          </p:nvPr>
        </p:nvSpPr>
        <p:spPr>
          <a:xfrm>
            <a:off x="438150" y="2234833"/>
            <a:ext cx="6858000" cy="415499"/>
          </a:xfrm>
          <a:noFill/>
        </p:spPr>
        <p:txBody>
          <a:bodyPr lIns="0" tIns="0" rIns="0" bIns="0" anchor="b" anchorCtr="0">
            <a:spAutoFit/>
          </a:bodyPr>
          <a:lstStyle>
            <a:lvl1pPr>
              <a:defRPr sz="2700" spc="-38"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38150" y="2971800"/>
            <a:ext cx="6858000" cy="230833"/>
          </a:xfrm>
          <a:noFill/>
        </p:spPr>
        <p:txBody>
          <a:bodyPr wrap="square" lIns="0" tIns="0" rIns="0" bIns="0">
            <a:spAutoFit/>
          </a:bodyPr>
          <a:lstStyle>
            <a:lvl1pPr marL="0" indent="0">
              <a:spcBef>
                <a:spcPts val="0"/>
              </a:spcBef>
              <a:buNone/>
              <a:defRPr sz="15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504452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39793" y="1075778"/>
            <a:ext cx="8263890" cy="1209562"/>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54014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438150" y="1076623"/>
            <a:ext cx="8263890"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2362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4797878" y="1076325"/>
            <a:ext cx="3909060" cy="1237262"/>
          </a:xfrm>
        </p:spPr>
        <p:txBody>
          <a:bodyPr wrap="square">
            <a:spAutoFit/>
          </a:bodyPr>
          <a:lstStyle>
            <a:lvl1pPr marL="0" indent="0">
              <a:spcBef>
                <a:spcPts val="918"/>
              </a:spcBef>
              <a:buClr>
                <a:schemeClr val="tx1"/>
              </a:buClr>
              <a:buFont typeface="Wingdings" panose="05000000000000000000" pitchFamily="2" charset="2"/>
              <a:buNone/>
              <a:defRPr sz="2100" b="0">
                <a:latin typeface="Segoe UI Semilight" panose="020B0402040204020203" pitchFamily="34" charset="0"/>
                <a:cs typeface="Segoe UI Semilight" panose="020B0402040204020203" pitchFamily="34" charset="0"/>
              </a:defRPr>
            </a:lvl1pPr>
            <a:lvl2pPr marL="191691" indent="0">
              <a:buFont typeface="Wingdings" panose="05000000000000000000" pitchFamily="2" charset="2"/>
              <a:buNone/>
              <a:defRPr sz="1500" b="0"/>
            </a:lvl2pPr>
            <a:lvl3pPr marL="338138" indent="0">
              <a:buFont typeface="Wingdings" panose="05000000000000000000" pitchFamily="2" charset="2"/>
              <a:buNone/>
              <a:tabLst/>
              <a:defRPr sz="1200" b="0"/>
            </a:lvl3pPr>
            <a:lvl4pPr marL="489347" indent="0">
              <a:buFont typeface="Wingdings" panose="05000000000000000000" pitchFamily="2" charset="2"/>
              <a:buNone/>
              <a:defRPr sz="1050" b="0"/>
            </a:lvl4pPr>
            <a:lvl5pPr marL="640556" indent="0">
              <a:buFont typeface="Wingdings" panose="05000000000000000000" pitchFamily="2" charset="2"/>
              <a:buNone/>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27566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8150"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4792436" y="1078110"/>
            <a:ext cx="3909060" cy="1237262"/>
          </a:xfrm>
        </p:spPr>
        <p:txBody>
          <a:bodyPr wrap="square">
            <a:spAutoFit/>
          </a:bodyPr>
          <a:lstStyle>
            <a:lvl1pPr marL="173831" indent="-173831">
              <a:spcBef>
                <a:spcPts val="918"/>
              </a:spcBef>
              <a:buClr>
                <a:schemeClr val="tx1"/>
              </a:buClr>
              <a:buFont typeface="Wingdings" panose="05000000000000000000" pitchFamily="2" charset="2"/>
              <a:buChar char=""/>
              <a:defRPr sz="2100" b="0">
                <a:latin typeface="Segoe UI Semilight" panose="020B0402040204020203" pitchFamily="34" charset="0"/>
                <a:cs typeface="Segoe UI Semilight" panose="020B0402040204020203" pitchFamily="34" charset="0"/>
              </a:defRPr>
            </a:lvl1pPr>
            <a:lvl2pPr marL="320279" indent="-128588">
              <a:buFont typeface="Wingdings" panose="05000000000000000000" pitchFamily="2" charset="2"/>
              <a:buChar char=""/>
              <a:defRPr sz="1500" b="0"/>
            </a:lvl2pPr>
            <a:lvl3pPr marL="479822" indent="-141685">
              <a:buFont typeface="Wingdings" panose="05000000000000000000" pitchFamily="2" charset="2"/>
              <a:buChar char=""/>
              <a:tabLst/>
              <a:defRPr sz="1200" b="0"/>
            </a:lvl3pPr>
            <a:lvl4pPr marL="621506" indent="-132160">
              <a:buFont typeface="Wingdings" panose="05000000000000000000" pitchFamily="2" charset="2"/>
              <a:buChar char=""/>
              <a:defRPr sz="1050" b="0"/>
            </a:lvl4pPr>
            <a:lvl5pPr marL="767954" indent="-127397">
              <a:buFont typeface="Wingdings" panose="05000000000000000000" pitchFamily="2" charset="2"/>
              <a:buChar char=""/>
              <a:tabLst/>
              <a:defRPr sz="105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87375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197494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2" name="Title 1"/>
          <p:cNvSpPr>
            <a:spLocks noGrp="1"/>
          </p:cNvSpPr>
          <p:nvPr>
            <p:ph type="title" hasCustomPrompt="1"/>
          </p:nvPr>
        </p:nvSpPr>
        <p:spPr>
          <a:noFill/>
        </p:spPr>
        <p:txBody>
          <a:bodyPr rtlCol="0"/>
          <a:lstStyle>
            <a:lvl1pPr marL="0" indent="0" algn="ctr" defTabSz="-13873163" rtl="0" eaLnBrk="1" fontAlgn="base" hangingPunct="1">
              <a:spcBef>
                <a:spcPct val="0"/>
              </a:spcBef>
              <a:spcAft>
                <a:spcPct val="0"/>
              </a:spcAft>
              <a:defRPr lang="en-US" sz="2900" b="1" dirty="0">
                <a:solidFill>
                  <a:schemeClr val="accent2"/>
                </a:solidFill>
                <a:latin typeface="+mj-lt"/>
                <a:ea typeface="+mj-ea"/>
                <a:cs typeface="Segoe UI" pitchFamily="34" charset="0"/>
              </a:defRPr>
            </a:lvl1pPr>
          </a:lstStyle>
          <a:p>
            <a:r>
              <a:rPr lang="en-US" dirty="0"/>
              <a:t>References</a:t>
            </a:r>
          </a:p>
        </p:txBody>
      </p:sp>
      <p:sp>
        <p:nvSpPr>
          <p:cNvPr id="8"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10" name="TextBox 9"/>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373227158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3387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438151" y="342900"/>
            <a:ext cx="4131314" cy="295466"/>
          </a:xfrm>
        </p:spPr>
        <p:txBody>
          <a:bodyPr tIns="64008"/>
          <a:lstStyle>
            <a:lvl1pPr>
              <a:defRPr sz="15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373855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73818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725199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441197" y="1077517"/>
            <a:ext cx="8263890" cy="1431161"/>
          </a:xfrm>
        </p:spPr>
        <p:txBody>
          <a:bodyPr/>
          <a:lstStyle>
            <a:lvl1pPr marL="0" indent="0">
              <a:buNone/>
              <a:defRPr sz="21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5991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3845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10922"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788248" indent="0">
              <a:buNone/>
              <a:defRPr sz="135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190223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38150" y="4620988"/>
            <a:ext cx="3361593" cy="80791"/>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699218" eaLnBrk="0" hangingPunct="0"/>
            <a:r>
              <a:rPr lang="en-US" sz="525"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a:stretch>
            <a:fillRect/>
          </a:stretch>
        </p:blipFill>
        <p:spPr bwMode="black">
          <a:xfrm>
            <a:off x="438150" y="439341"/>
            <a:ext cx="1024830" cy="219456"/>
          </a:xfrm>
          <a:prstGeom prst="rect">
            <a:avLst/>
          </a:prstGeom>
        </p:spPr>
      </p:pic>
    </p:spTree>
    <p:extLst>
      <p:ext uri="{BB962C8B-B14F-4D97-AF65-F5344CB8AC3E}">
        <p14:creationId xmlns:p14="http://schemas.microsoft.com/office/powerpoint/2010/main" val="17781468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438150" y="1077516"/>
            <a:ext cx="8264129" cy="1661993"/>
          </a:xfrm>
        </p:spPr>
        <p:txBody>
          <a:bodyPr>
            <a:spAutoFit/>
          </a:bodyPr>
          <a:lstStyle>
            <a:lvl1pPr>
              <a:defRPr sz="2700">
                <a:latin typeface="+mn-lt"/>
              </a:defRPr>
            </a:lvl1pPr>
            <a:lvl2pPr>
              <a:defRPr sz="2100">
                <a:latin typeface="+mn-lt"/>
              </a:defRPr>
            </a:lvl2pPr>
            <a:lvl3pPr>
              <a:defRPr sz="1800">
                <a:latin typeface="+mn-lt"/>
              </a:defRPr>
            </a:lvl3pPr>
            <a:lvl4pPr>
              <a:defRPr sz="1500">
                <a:latin typeface="+mn-lt"/>
              </a:defRPr>
            </a:lvl4pPr>
            <a:lvl5pPr>
              <a:defRPr sz="135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4701779"/>
            <a:ext cx="9144001" cy="441722"/>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3083130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58001"/>
            <a:ext cx="9144000" cy="692497"/>
          </a:xfrm>
          <a:solidFill>
            <a:srgbClr val="0070C0"/>
          </a:solidFill>
        </p:spPr>
        <p:txBody>
          <a:bodyPr anchor="b"/>
          <a:lstStyle>
            <a:lvl1pPr algn="l">
              <a:defRPr sz="4500">
                <a:solidFill>
                  <a:schemeClr val="bg1"/>
                </a:solidFill>
              </a:defRPr>
            </a:lvl1pPr>
          </a:lstStyle>
          <a:p>
            <a:r>
              <a:rPr lang="en-US" dirty="0"/>
              <a:t> Click to edit Master title style</a:t>
            </a:r>
          </a:p>
        </p:txBody>
      </p:sp>
    </p:spTree>
    <p:extLst>
      <p:ext uri="{BB962C8B-B14F-4D97-AF65-F5344CB8AC3E}">
        <p14:creationId xmlns:p14="http://schemas.microsoft.com/office/powerpoint/2010/main" val="19669189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1906039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SUBHEA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9369" y="588362"/>
            <a:ext cx="4030410" cy="248963"/>
          </a:xfrm>
          <a:prstGeom prst="rect">
            <a:avLst/>
          </a:prstGeom>
        </p:spPr>
        <p:txBody>
          <a:bodyPr vert="horz"/>
          <a:lstStyle>
            <a:lvl1pPr marL="0" indent="0">
              <a:buNone/>
              <a:defRPr sz="1618"/>
            </a:lvl1pPr>
          </a:lstStyle>
          <a:p>
            <a:pPr lvl="0"/>
            <a:r>
              <a:rPr lang="en-CA" dirty="0"/>
              <a:t>Click to edit Master text styles</a:t>
            </a:r>
          </a:p>
        </p:txBody>
      </p:sp>
      <p:sp>
        <p:nvSpPr>
          <p:cNvPr id="6" name="Title 1"/>
          <p:cNvSpPr>
            <a:spLocks noGrp="1"/>
          </p:cNvSpPr>
          <p:nvPr>
            <p:ph type="title"/>
          </p:nvPr>
        </p:nvSpPr>
        <p:spPr>
          <a:xfrm>
            <a:off x="259369" y="193347"/>
            <a:ext cx="9144000" cy="407256"/>
          </a:xfrm>
          <a:prstGeom prst="rect">
            <a:avLst/>
          </a:prstGeom>
        </p:spPr>
        <p:txBody>
          <a:bodyPr lIns="0">
            <a:normAutofit/>
          </a:bodyPr>
          <a:lstStyle>
            <a:lvl1pPr>
              <a:defRPr sz="2353">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52055066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dirty="0"/>
              <a:t>Click to edit Master 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8" name="TextBox 7"/>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15227446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SUBHEAD, BODY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264959" y="1425378"/>
            <a:ext cx="8625254" cy="984116"/>
          </a:xfrm>
          <a:prstGeom prst="rect">
            <a:avLst/>
          </a:prstGeom>
        </p:spPr>
        <p:txBody>
          <a:bodyPr vert="horz"/>
          <a:lstStyle>
            <a:lvl1pPr marL="210091" indent="-210091">
              <a:lnSpc>
                <a:spcPct val="110000"/>
              </a:lnSpc>
              <a:buClr>
                <a:schemeClr val="tx1"/>
              </a:buClr>
              <a:buFont typeface="Arial"/>
              <a:buChar char="•"/>
              <a:defRPr sz="1029">
                <a:solidFill>
                  <a:schemeClr val="tx1"/>
                </a:solidFill>
              </a:defRPr>
            </a:lvl1pPr>
            <a:lvl2pPr marL="421306" indent="-210091">
              <a:lnSpc>
                <a:spcPct val="110000"/>
              </a:lnSpc>
              <a:buFont typeface="Lucida Grande"/>
              <a:buChar char="-"/>
              <a:defRPr sz="1029">
                <a:solidFill>
                  <a:schemeClr val="tx1"/>
                </a:solidFill>
              </a:defRPr>
            </a:lvl2pPr>
            <a:lvl3pPr marL="651363" indent="-210091">
              <a:lnSpc>
                <a:spcPct val="110000"/>
              </a:lnSpc>
              <a:buFont typeface="Courier New"/>
              <a:buChar char="o"/>
              <a:defRPr sz="1029">
                <a:solidFill>
                  <a:schemeClr val="tx1"/>
                </a:solidFill>
              </a:defRPr>
            </a:lvl3pPr>
            <a:lvl4pPr marL="862578" indent="-210091">
              <a:lnSpc>
                <a:spcPct val="110000"/>
              </a:lnSpc>
              <a:buFont typeface="Courier New"/>
              <a:buChar char="o"/>
              <a:defRPr sz="1029">
                <a:solidFill>
                  <a:schemeClr val="tx1"/>
                </a:solidFill>
              </a:defRPr>
            </a:lvl4pPr>
            <a:lvl5pPr marL="828995" indent="0">
              <a:buFont typeface="Wingdings" charset="2"/>
              <a:buNone/>
              <a:defRPr sz="1029">
                <a:solidFill>
                  <a:schemeClr val="tx1"/>
                </a:solidFill>
              </a:defRPr>
            </a:lvl5pPr>
          </a:lstStyle>
          <a:p>
            <a:pPr lvl="0"/>
            <a:r>
              <a:rPr lang="en-CA"/>
              <a:t>First level</a:t>
            </a:r>
          </a:p>
          <a:p>
            <a:pPr lvl="1"/>
            <a:r>
              <a:rPr lang="en-CA"/>
              <a:t>Second level</a:t>
            </a:r>
          </a:p>
          <a:p>
            <a:pPr lvl="2"/>
            <a:r>
              <a:rPr lang="en-CA"/>
              <a:t>Third level</a:t>
            </a:r>
            <a:endParaRPr lang="en-US"/>
          </a:p>
          <a:p>
            <a:pPr lvl="3"/>
            <a:endParaRPr lang="en-US"/>
          </a:p>
          <a:p>
            <a:pPr lvl="3"/>
            <a:endParaRPr lang="en-CA"/>
          </a:p>
        </p:txBody>
      </p:sp>
      <p:sp>
        <p:nvSpPr>
          <p:cNvPr id="8" name="Text Placeholder 3"/>
          <p:cNvSpPr>
            <a:spLocks noGrp="1"/>
          </p:cNvSpPr>
          <p:nvPr>
            <p:ph type="body" sz="quarter" idx="10"/>
          </p:nvPr>
        </p:nvSpPr>
        <p:spPr>
          <a:xfrm>
            <a:off x="259369" y="588362"/>
            <a:ext cx="4030410" cy="248963"/>
          </a:xfrm>
          <a:prstGeom prst="rect">
            <a:avLst/>
          </a:prstGeom>
        </p:spPr>
        <p:txBody>
          <a:bodyPr vert="horz"/>
          <a:lstStyle>
            <a:lvl1pPr marL="0" indent="0">
              <a:buNone/>
              <a:defRPr sz="1618"/>
            </a:lvl1pPr>
          </a:lstStyle>
          <a:p>
            <a:pPr lvl="0"/>
            <a:r>
              <a:rPr lang="en-CA" dirty="0"/>
              <a:t>Click to edit Master text styles</a:t>
            </a:r>
          </a:p>
        </p:txBody>
      </p:sp>
      <p:sp>
        <p:nvSpPr>
          <p:cNvPr id="6" name="Title 1"/>
          <p:cNvSpPr>
            <a:spLocks noGrp="1"/>
          </p:cNvSpPr>
          <p:nvPr>
            <p:ph type="title"/>
          </p:nvPr>
        </p:nvSpPr>
        <p:spPr>
          <a:xfrm>
            <a:off x="259369" y="193347"/>
            <a:ext cx="9144000" cy="407256"/>
          </a:xfrm>
          <a:prstGeom prst="rect">
            <a:avLst/>
          </a:prstGeom>
        </p:spPr>
        <p:txBody>
          <a:bodyPr lIns="0">
            <a:normAutofit/>
          </a:bodyPr>
          <a:lstStyle>
            <a:lvl1pPr>
              <a:defRPr sz="2353">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2187728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08E22-072B-48A8-BAD1-24CCE54ED1C3}"/>
              </a:ext>
            </a:extLst>
          </p:cNvPr>
          <p:cNvSpPr>
            <a:spLocks noGrp="1"/>
          </p:cNvSpPr>
          <p:nvPr>
            <p:ph type="title"/>
          </p:nvPr>
        </p:nvSpPr>
        <p:spPr>
          <a:xfrm>
            <a:off x="629841" y="804386"/>
            <a:ext cx="2949178" cy="738664"/>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5BC7B963-F318-4822-8D27-4EF12015D675}"/>
              </a:ext>
            </a:extLst>
          </p:cNvPr>
          <p:cNvSpPr>
            <a:spLocks noGrp="1"/>
          </p:cNvSpPr>
          <p:nvPr>
            <p:ph idx="1"/>
          </p:nvPr>
        </p:nvSpPr>
        <p:spPr>
          <a:xfrm>
            <a:off x="3887391" y="740569"/>
            <a:ext cx="4629150" cy="164352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539642B-B79B-4138-AC3D-BFBA1F06CCBF}"/>
              </a:ext>
            </a:extLst>
          </p:cNvPr>
          <p:cNvSpPr>
            <a:spLocks noGrp="1"/>
          </p:cNvSpPr>
          <p:nvPr>
            <p:ph type="body" sz="half" idx="2"/>
          </p:nvPr>
        </p:nvSpPr>
        <p:spPr>
          <a:xfrm>
            <a:off x="629841" y="1543050"/>
            <a:ext cx="2949178" cy="184666"/>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7" name="Slide Number Placeholder 6">
            <a:extLst>
              <a:ext uri="{FF2B5EF4-FFF2-40B4-BE49-F238E27FC236}">
                <a16:creationId xmlns:a16="http://schemas.microsoft.com/office/drawing/2014/main" id="{DC6FF213-660B-40AB-AD1A-B8CCFFFBB50C}"/>
              </a:ext>
            </a:extLst>
          </p:cNvPr>
          <p:cNvSpPr>
            <a:spLocks noGrp="1"/>
          </p:cNvSpPr>
          <p:nvPr>
            <p:ph type="sldNum" sz="quarter" idx="12"/>
          </p:nvPr>
        </p:nvSpPr>
        <p:spPr/>
        <p:txBody>
          <a:bodyPr/>
          <a:lstStyle/>
          <a:p>
            <a:fld id="{F9406C37-1267-4092-A3E4-2FCC75AA8F89}" type="slidenum">
              <a:rPr lang="en-US" smtClean="0"/>
              <a:t>‹#›</a:t>
            </a:fld>
            <a:endParaRPr lang="en-US"/>
          </a:p>
        </p:txBody>
      </p:sp>
    </p:spTree>
    <p:extLst>
      <p:ext uri="{BB962C8B-B14F-4D97-AF65-F5344CB8AC3E}">
        <p14:creationId xmlns:p14="http://schemas.microsoft.com/office/powerpoint/2010/main" val="24335094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438150" y="1076623"/>
            <a:ext cx="8263890" cy="12095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483567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SUBHEAD, BODY TEXT 2 COL">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264960" y="1425379"/>
            <a:ext cx="4217346" cy="984757"/>
          </a:xfrm>
          <a:prstGeom prst="rect">
            <a:avLst/>
          </a:prstGeom>
        </p:spPr>
        <p:txBody>
          <a:bodyPr vert="horz"/>
          <a:lstStyle>
            <a:lvl1pPr marL="210134" indent="-210134">
              <a:lnSpc>
                <a:spcPct val="110000"/>
              </a:lnSpc>
              <a:buClr>
                <a:schemeClr val="tx1"/>
              </a:buClr>
              <a:buFont typeface="Arial"/>
              <a:buChar char="•"/>
              <a:defRPr sz="1030">
                <a:solidFill>
                  <a:schemeClr val="tx1"/>
                </a:solidFill>
              </a:defRPr>
            </a:lvl1pPr>
            <a:lvl2pPr marL="421392" indent="-210134">
              <a:lnSpc>
                <a:spcPct val="110000"/>
              </a:lnSpc>
              <a:buFont typeface="Lucida Grande"/>
              <a:buChar char="-"/>
              <a:defRPr sz="1030">
                <a:solidFill>
                  <a:schemeClr val="tx1"/>
                </a:solidFill>
              </a:defRPr>
            </a:lvl2pPr>
            <a:lvl3pPr marL="651496" indent="-210134">
              <a:lnSpc>
                <a:spcPct val="110000"/>
              </a:lnSpc>
              <a:buFont typeface="Courier New"/>
              <a:buChar char="o"/>
              <a:defRPr sz="1030">
                <a:solidFill>
                  <a:schemeClr val="tx1"/>
                </a:solidFill>
              </a:defRPr>
            </a:lvl3pPr>
            <a:lvl4pPr marL="862754" indent="-210134">
              <a:lnSpc>
                <a:spcPct val="110000"/>
              </a:lnSpc>
              <a:buFont typeface="Courier New"/>
              <a:buChar char="o"/>
              <a:defRPr sz="1030">
                <a:solidFill>
                  <a:schemeClr val="tx1"/>
                </a:solidFill>
              </a:defRPr>
            </a:lvl4pPr>
            <a:lvl5pPr marL="829165" indent="0">
              <a:buFont typeface="Wingdings" charset="2"/>
              <a:buNone/>
              <a:defRPr sz="1030">
                <a:solidFill>
                  <a:schemeClr val="tx1"/>
                </a:solidFill>
              </a:defRPr>
            </a:lvl5pPr>
          </a:lstStyle>
          <a:p>
            <a:pPr lvl="0"/>
            <a:r>
              <a:rPr lang="en-CA"/>
              <a:t>First level</a:t>
            </a:r>
          </a:p>
          <a:p>
            <a:pPr lvl="1"/>
            <a:r>
              <a:rPr lang="en-CA"/>
              <a:t>Second level</a:t>
            </a:r>
          </a:p>
          <a:p>
            <a:pPr lvl="2"/>
            <a:r>
              <a:rPr lang="en-CA"/>
              <a:t>Third level</a:t>
            </a:r>
            <a:endParaRPr lang="en-US"/>
          </a:p>
          <a:p>
            <a:pPr lvl="3"/>
            <a:endParaRPr lang="en-US"/>
          </a:p>
          <a:p>
            <a:pPr lvl="3"/>
            <a:endParaRPr lang="en-CA"/>
          </a:p>
        </p:txBody>
      </p:sp>
      <p:sp>
        <p:nvSpPr>
          <p:cNvPr id="6" name="Text Placeholder 4"/>
          <p:cNvSpPr>
            <a:spLocks noGrp="1"/>
          </p:cNvSpPr>
          <p:nvPr>
            <p:ph type="body" sz="quarter" idx="12" hasCustomPrompt="1"/>
          </p:nvPr>
        </p:nvSpPr>
        <p:spPr>
          <a:xfrm>
            <a:off x="4648969" y="1425379"/>
            <a:ext cx="4217346" cy="984757"/>
          </a:xfrm>
          <a:prstGeom prst="rect">
            <a:avLst/>
          </a:prstGeom>
        </p:spPr>
        <p:txBody>
          <a:bodyPr vert="horz"/>
          <a:lstStyle>
            <a:lvl1pPr marL="210134" indent="-210134">
              <a:lnSpc>
                <a:spcPct val="110000"/>
              </a:lnSpc>
              <a:buClr>
                <a:schemeClr val="tx1"/>
              </a:buClr>
              <a:buFont typeface="Arial"/>
              <a:buChar char="•"/>
              <a:defRPr sz="1030">
                <a:solidFill>
                  <a:schemeClr val="tx1"/>
                </a:solidFill>
              </a:defRPr>
            </a:lvl1pPr>
            <a:lvl2pPr marL="421392" indent="-210134">
              <a:lnSpc>
                <a:spcPct val="110000"/>
              </a:lnSpc>
              <a:buFont typeface="Lucida Grande"/>
              <a:buChar char="-"/>
              <a:defRPr sz="1030">
                <a:solidFill>
                  <a:schemeClr val="tx1"/>
                </a:solidFill>
              </a:defRPr>
            </a:lvl2pPr>
            <a:lvl3pPr marL="651496" indent="-210134">
              <a:lnSpc>
                <a:spcPct val="110000"/>
              </a:lnSpc>
              <a:buFont typeface="Courier New"/>
              <a:buChar char="o"/>
              <a:defRPr sz="1030">
                <a:solidFill>
                  <a:schemeClr val="tx1"/>
                </a:solidFill>
              </a:defRPr>
            </a:lvl3pPr>
            <a:lvl4pPr marL="862754" indent="-210134">
              <a:lnSpc>
                <a:spcPct val="110000"/>
              </a:lnSpc>
              <a:buFont typeface="Courier New"/>
              <a:buChar char="o"/>
              <a:defRPr sz="1030">
                <a:solidFill>
                  <a:schemeClr val="tx1"/>
                </a:solidFill>
              </a:defRPr>
            </a:lvl4pPr>
            <a:lvl5pPr marL="829165" indent="0">
              <a:buFont typeface="Wingdings" charset="2"/>
              <a:buNone/>
              <a:defRPr sz="1030">
                <a:solidFill>
                  <a:schemeClr val="tx1"/>
                </a:solidFill>
              </a:defRPr>
            </a:lvl5pPr>
          </a:lstStyle>
          <a:p>
            <a:pPr lvl="0"/>
            <a:r>
              <a:rPr lang="en-CA"/>
              <a:t>First level</a:t>
            </a:r>
          </a:p>
          <a:p>
            <a:pPr lvl="1"/>
            <a:r>
              <a:rPr lang="en-CA"/>
              <a:t>Second level</a:t>
            </a:r>
          </a:p>
          <a:p>
            <a:pPr lvl="2"/>
            <a:r>
              <a:rPr lang="en-CA"/>
              <a:t>Third level</a:t>
            </a:r>
            <a:endParaRPr lang="en-US"/>
          </a:p>
          <a:p>
            <a:pPr lvl="3"/>
            <a:endParaRPr lang="en-US"/>
          </a:p>
          <a:p>
            <a:pPr lvl="3"/>
            <a:endParaRPr lang="en-CA"/>
          </a:p>
        </p:txBody>
      </p:sp>
      <p:sp>
        <p:nvSpPr>
          <p:cNvPr id="9" name="Text Placeholder 3"/>
          <p:cNvSpPr>
            <a:spLocks noGrp="1"/>
          </p:cNvSpPr>
          <p:nvPr>
            <p:ph type="body" sz="quarter" idx="10"/>
          </p:nvPr>
        </p:nvSpPr>
        <p:spPr>
          <a:xfrm>
            <a:off x="259370" y="588363"/>
            <a:ext cx="4030409" cy="248979"/>
          </a:xfrm>
          <a:prstGeom prst="rect">
            <a:avLst/>
          </a:prstGeom>
        </p:spPr>
        <p:txBody>
          <a:bodyPr vert="horz"/>
          <a:lstStyle>
            <a:lvl1pPr marL="0" indent="0">
              <a:buNone/>
              <a:defRPr sz="1618"/>
            </a:lvl1pPr>
          </a:lstStyle>
          <a:p>
            <a:pPr lvl="0"/>
            <a:r>
              <a:rPr lang="en-CA" dirty="0"/>
              <a:t>Click to edit Master text styles</a:t>
            </a:r>
          </a:p>
        </p:txBody>
      </p:sp>
      <p:sp>
        <p:nvSpPr>
          <p:cNvPr id="7" name="Title 1"/>
          <p:cNvSpPr>
            <a:spLocks noGrp="1"/>
          </p:cNvSpPr>
          <p:nvPr>
            <p:ph type="title"/>
          </p:nvPr>
        </p:nvSpPr>
        <p:spPr>
          <a:xfrm>
            <a:off x="259369" y="193347"/>
            <a:ext cx="9144000" cy="407256"/>
          </a:xfrm>
          <a:prstGeom prst="rect">
            <a:avLst/>
          </a:prstGeom>
        </p:spPr>
        <p:txBody>
          <a:bodyPr lIns="0">
            <a:normAutofit/>
          </a:bodyPr>
          <a:lstStyle>
            <a:lvl1pPr>
              <a:defRPr sz="2354">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23601335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4649038" y="884879"/>
            <a:ext cx="4227670" cy="226344"/>
          </a:xfrm>
          <a:prstGeom prst="rect">
            <a:avLst/>
          </a:prstGeom>
        </p:spPr>
        <p:txBody>
          <a:bodyPr vert="horz"/>
          <a:lstStyle>
            <a:lvl1pPr marL="0" indent="0">
              <a:buNone/>
              <a:defRPr sz="1471">
                <a:solidFill>
                  <a:srgbClr val="002050"/>
                </a:solidFill>
              </a:defRPr>
            </a:lvl1pPr>
          </a:lstStyle>
          <a:p>
            <a:endParaRPr lang="en-US"/>
          </a:p>
        </p:txBody>
      </p:sp>
      <p:sp>
        <p:nvSpPr>
          <p:cNvPr id="7" name="Text Placeholder 4"/>
          <p:cNvSpPr>
            <a:spLocks noGrp="1"/>
          </p:cNvSpPr>
          <p:nvPr>
            <p:ph type="body" sz="quarter" idx="11" hasCustomPrompt="1"/>
          </p:nvPr>
        </p:nvSpPr>
        <p:spPr>
          <a:xfrm>
            <a:off x="264960" y="1425379"/>
            <a:ext cx="4217346" cy="984757"/>
          </a:xfrm>
          <a:prstGeom prst="rect">
            <a:avLst/>
          </a:prstGeom>
        </p:spPr>
        <p:txBody>
          <a:bodyPr vert="horz"/>
          <a:lstStyle>
            <a:lvl1pPr marL="210134" indent="-210134">
              <a:lnSpc>
                <a:spcPct val="110000"/>
              </a:lnSpc>
              <a:buClr>
                <a:schemeClr val="tx1"/>
              </a:buClr>
              <a:buFont typeface="Arial"/>
              <a:buChar char="•"/>
              <a:defRPr sz="1030">
                <a:solidFill>
                  <a:schemeClr val="tx1"/>
                </a:solidFill>
              </a:defRPr>
            </a:lvl1pPr>
            <a:lvl2pPr marL="421392" indent="-210134">
              <a:lnSpc>
                <a:spcPct val="110000"/>
              </a:lnSpc>
              <a:buFont typeface="Lucida Grande"/>
              <a:buChar char="-"/>
              <a:defRPr sz="1030">
                <a:solidFill>
                  <a:schemeClr val="tx1"/>
                </a:solidFill>
              </a:defRPr>
            </a:lvl2pPr>
            <a:lvl3pPr marL="651496" indent="-210134">
              <a:lnSpc>
                <a:spcPct val="110000"/>
              </a:lnSpc>
              <a:buFont typeface="Courier New"/>
              <a:buChar char="o"/>
              <a:defRPr sz="1030">
                <a:solidFill>
                  <a:schemeClr val="tx1"/>
                </a:solidFill>
              </a:defRPr>
            </a:lvl3pPr>
            <a:lvl4pPr marL="862754" indent="-210134">
              <a:lnSpc>
                <a:spcPct val="110000"/>
              </a:lnSpc>
              <a:buFont typeface="Courier New"/>
              <a:buChar char="o"/>
              <a:defRPr sz="1030">
                <a:solidFill>
                  <a:schemeClr val="tx1"/>
                </a:solidFill>
              </a:defRPr>
            </a:lvl4pPr>
            <a:lvl5pPr marL="829165" indent="0">
              <a:buFont typeface="Wingdings" charset="2"/>
              <a:buNone/>
              <a:defRPr sz="1030">
                <a:solidFill>
                  <a:schemeClr val="tx1"/>
                </a:solidFill>
              </a:defRPr>
            </a:lvl5pPr>
          </a:lstStyle>
          <a:p>
            <a:pPr lvl="0"/>
            <a:r>
              <a:rPr lang="en-CA" dirty="0"/>
              <a:t>First level</a:t>
            </a:r>
          </a:p>
          <a:p>
            <a:pPr lvl="1"/>
            <a:r>
              <a:rPr lang="en-CA" dirty="0"/>
              <a:t>Second level</a:t>
            </a:r>
          </a:p>
          <a:p>
            <a:pPr lvl="2"/>
            <a:r>
              <a:rPr lang="en-CA" dirty="0"/>
              <a:t>Third level</a:t>
            </a:r>
            <a:endParaRPr lang="en-US" dirty="0"/>
          </a:p>
          <a:p>
            <a:pPr lvl="3"/>
            <a:endParaRPr lang="en-US" dirty="0"/>
          </a:p>
          <a:p>
            <a:pPr lvl="3"/>
            <a:endParaRPr lang="en-CA" dirty="0"/>
          </a:p>
        </p:txBody>
      </p:sp>
      <p:sp>
        <p:nvSpPr>
          <p:cNvPr id="8" name="Text Placeholder 3"/>
          <p:cNvSpPr>
            <a:spLocks noGrp="1"/>
          </p:cNvSpPr>
          <p:nvPr>
            <p:ph type="body" sz="quarter" idx="12"/>
          </p:nvPr>
        </p:nvSpPr>
        <p:spPr>
          <a:xfrm>
            <a:off x="259370" y="588363"/>
            <a:ext cx="4030409" cy="248979"/>
          </a:xfrm>
          <a:prstGeom prst="rect">
            <a:avLst/>
          </a:prstGeom>
        </p:spPr>
        <p:txBody>
          <a:bodyPr vert="horz"/>
          <a:lstStyle>
            <a:lvl1pPr marL="0" indent="0">
              <a:buNone/>
              <a:defRPr sz="1618"/>
            </a:lvl1pPr>
          </a:lstStyle>
          <a:p>
            <a:pPr lvl="0"/>
            <a:r>
              <a:rPr lang="en-CA" dirty="0"/>
              <a:t>Click to edit Master text styles</a:t>
            </a:r>
          </a:p>
        </p:txBody>
      </p:sp>
      <p:sp>
        <p:nvSpPr>
          <p:cNvPr id="6" name="Title 1"/>
          <p:cNvSpPr>
            <a:spLocks noGrp="1"/>
          </p:cNvSpPr>
          <p:nvPr>
            <p:ph type="title"/>
          </p:nvPr>
        </p:nvSpPr>
        <p:spPr>
          <a:xfrm>
            <a:off x="259369" y="193347"/>
            <a:ext cx="9144000" cy="407256"/>
          </a:xfrm>
          <a:prstGeom prst="rect">
            <a:avLst/>
          </a:prstGeom>
        </p:spPr>
        <p:txBody>
          <a:bodyPr lIns="0">
            <a:normAutofit/>
          </a:bodyPr>
          <a:lstStyle>
            <a:lvl1pPr>
              <a:defRPr sz="2354">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06838613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rtlCol="0"/>
          <a:lstStyle>
            <a:lvl1pPr marL="0" indent="0" algn="ctr" defTabSz="-13873163" rtl="0" eaLnBrk="1" fontAlgn="base" hangingPunct="1">
              <a:spcBef>
                <a:spcPct val="0"/>
              </a:spcBef>
              <a:spcAft>
                <a:spcPct val="0"/>
              </a:spcAft>
              <a:defRPr lang="en-US" sz="2900" b="1" dirty="0">
                <a:solidFill>
                  <a:schemeClr val="accent2"/>
                </a:solidFill>
                <a:latin typeface="Calibri"/>
                <a:ea typeface="+mj-ea"/>
                <a:cs typeface="Segoe UI" pitchFamily="34" charset="0"/>
              </a:defRPr>
            </a:lvl1pPr>
          </a:lstStyle>
          <a:p>
            <a:r>
              <a:rPr lang="en-US" dirty="0"/>
              <a:t>Click to edit Master title style</a:t>
            </a:r>
          </a:p>
        </p:txBody>
      </p:sp>
      <p:sp>
        <p:nvSpPr>
          <p:cNvPr id="3"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Tree>
    <p:extLst>
      <p:ext uri="{BB962C8B-B14F-4D97-AF65-F5344CB8AC3E}">
        <p14:creationId xmlns:p14="http://schemas.microsoft.com/office/powerpoint/2010/main" val="3825912966"/>
      </p:ext>
    </p:extLst>
  </p:cSld>
  <p:clrMapOvr>
    <a:masterClrMapping/>
  </p:clrMapOvr>
  <p:transition>
    <p:fade/>
  </p:transition>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180035"/>
            <a:ext cx="7772400" cy="1125140"/>
          </a:xfrm>
        </p:spPr>
        <p:txBody>
          <a:bodyPr anchor="b"/>
          <a:lstStyle>
            <a:lvl1pPr marL="0" indent="0">
              <a:buNone/>
              <a:defRPr sz="210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685800" y="3371850"/>
            <a:ext cx="7772400" cy="571500"/>
          </a:xfrm>
        </p:spPr>
        <p:txBody>
          <a:bodyPr/>
          <a:lstStyle>
            <a:lvl1pPr algn="l">
              <a:defRPr>
                <a:solidFill>
                  <a:schemeClr val="tx1"/>
                </a:solidFill>
              </a:defRPr>
            </a:lvl1pPr>
          </a:lstStyle>
          <a:p>
            <a:r>
              <a:rPr lang="en-US" dirty="0"/>
              <a:t>Click to edit 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6" name="TextBox 5"/>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35213469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solidFill>
                  <a:schemeClr val="accent2"/>
                </a:solidFill>
              </a:defRPr>
            </a:lvl1p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6" name="TextBox 5"/>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381645607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Image Right - List Lef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B3AA29C-2E9C-964A-B581-B46459F2EC61}"/>
              </a:ext>
            </a:extLst>
          </p:cNvPr>
          <p:cNvSpPr>
            <a:spLocks noGrp="1"/>
          </p:cNvSpPr>
          <p:nvPr>
            <p:ph type="body" sz="quarter" idx="13" hasCustomPrompt="1"/>
          </p:nvPr>
        </p:nvSpPr>
        <p:spPr>
          <a:xfrm>
            <a:off x="478767" y="1577112"/>
            <a:ext cx="5499340" cy="434639"/>
          </a:xfrm>
        </p:spPr>
        <p:txBody>
          <a:bodyPr lIns="274320" anchor="t"/>
          <a:lstStyle>
            <a:lvl1pPr marL="0" indent="0" algn="r">
              <a:lnSpc>
                <a:spcPct val="150000"/>
              </a:lnSpc>
              <a:buNone/>
              <a:defRPr/>
            </a:lvl1pPr>
          </a:lstStyle>
          <a:p>
            <a:pPr lvl="0"/>
            <a:r>
              <a:rPr lang="en-US"/>
              <a:t>Click to add text</a:t>
            </a:r>
          </a:p>
        </p:txBody>
      </p:sp>
      <p:sp>
        <p:nvSpPr>
          <p:cNvPr id="11" name="Title 10">
            <a:extLst>
              <a:ext uri="{FF2B5EF4-FFF2-40B4-BE49-F238E27FC236}">
                <a16:creationId xmlns:a16="http://schemas.microsoft.com/office/drawing/2014/main" id="{879ABC1B-B7F3-704D-B5D6-664F33BD7444}"/>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DCDEE8D0-E922-FD45-8DFA-8A15BCC80ED5}"/>
              </a:ext>
            </a:extLst>
          </p:cNvPr>
          <p:cNvSpPr/>
          <p:nvPr userDrawn="1"/>
        </p:nvSpPr>
        <p:spPr bwMode="auto">
          <a:xfrm flipH="1">
            <a:off x="6300114" y="1351750"/>
            <a:ext cx="1478756" cy="30153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77AD7670-E0DC-D44C-955D-B9FA14C6B89D}"/>
              </a:ext>
            </a:extLst>
          </p:cNvPr>
          <p:cNvSpPr/>
          <p:nvPr userDrawn="1"/>
        </p:nvSpPr>
        <p:spPr bwMode="auto">
          <a:xfrm flipH="1">
            <a:off x="6413740" y="1351750"/>
            <a:ext cx="2730260" cy="30153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l" defTabSz="699354" fontAlgn="base">
              <a:spcBef>
                <a:spcPct val="0"/>
              </a:spcBef>
              <a:spcAft>
                <a:spcPct val="0"/>
              </a:spcAft>
            </a:pPr>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66" name="Content Placeholder 54">
            <a:extLst>
              <a:ext uri="{FF2B5EF4-FFF2-40B4-BE49-F238E27FC236}">
                <a16:creationId xmlns:a16="http://schemas.microsoft.com/office/drawing/2014/main" id="{9212B039-8523-8D4B-867D-A6E79EAAE615}"/>
              </a:ext>
            </a:extLst>
          </p:cNvPr>
          <p:cNvSpPr>
            <a:spLocks noGrp="1"/>
          </p:cNvSpPr>
          <p:nvPr>
            <p:ph sz="quarter" idx="36" hasCustomPrompt="1"/>
          </p:nvPr>
        </p:nvSpPr>
        <p:spPr>
          <a:xfrm>
            <a:off x="6929168" y="1569040"/>
            <a:ext cx="1829909" cy="2580792"/>
          </a:xfrm>
        </p:spPr>
        <p:txBody>
          <a:bodyPr anchor="ctr">
            <a:noAutofit/>
          </a:bodyPr>
          <a:lstStyle>
            <a:lvl1pPr marL="0" indent="0" algn="ctr">
              <a:buNone/>
              <a:defRPr sz="788"/>
            </a:lvl1pPr>
          </a:lstStyle>
          <a:p>
            <a:pPr lvl="0"/>
            <a:r>
              <a:rPr lang="en-US"/>
              <a:t>content</a:t>
            </a:r>
          </a:p>
        </p:txBody>
      </p:sp>
    </p:spTree>
    <p:extLst>
      <p:ext uri="{BB962C8B-B14F-4D97-AF65-F5344CB8AC3E}">
        <p14:creationId xmlns:p14="http://schemas.microsoft.com/office/powerpoint/2010/main" val="495528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1+#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50" fill="hold"/>
                                        <p:tgtEl>
                                          <p:spTgt spid="15"/>
                                        </p:tgtEl>
                                        <p:attrNameLst>
                                          <p:attrName>ppt_x</p:attrName>
                                        </p:attrNameLst>
                                      </p:cBhvr>
                                      <p:tavLst>
                                        <p:tav tm="0">
                                          <p:val>
                                            <p:strVal val="1+#ppt_w/2"/>
                                          </p:val>
                                        </p:tav>
                                        <p:tav tm="100000">
                                          <p:val>
                                            <p:strVal val="#ppt_x"/>
                                          </p:val>
                                        </p:tav>
                                      </p:tavLst>
                                    </p:anim>
                                    <p:anim calcmode="lin" valueType="num">
                                      <p:cBhvr additive="base">
                                        <p:cTn id="12" dur="750" fill="hold"/>
                                        <p:tgtEl>
                                          <p:spTgt spid="15"/>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66">
                                            <p:txEl>
                                              <p:pRg st="0" end="0"/>
                                            </p:txEl>
                                          </p:spTgt>
                                        </p:tgtEl>
                                        <p:attrNameLst>
                                          <p:attrName>style.visibility</p:attrName>
                                        </p:attrNameLst>
                                      </p:cBhvr>
                                      <p:to>
                                        <p:strVal val="visible"/>
                                      </p:to>
                                    </p:set>
                                    <p:animEffect transition="in" filter="fade">
                                      <p:cBhvr>
                                        <p:cTn id="16" dur="500"/>
                                        <p:tgtEl>
                                          <p:spTgt spid="66">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xEl>
                                              <p:pRg st="0" end="0"/>
                                            </p:txEl>
                                          </p:spTgt>
                                        </p:tgtEl>
                                        <p:attrNameLst>
                                          <p:attrName>style.visibility</p:attrName>
                                        </p:attrNameLst>
                                      </p:cBhvr>
                                      <p:to>
                                        <p:strVal val="visible"/>
                                      </p:to>
                                    </p:set>
                                    <p:animEffect transition="in" filter="fade">
                                      <p:cBhvr>
                                        <p:cTn id="21"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4" grpId="0" animBg="1"/>
      <p:bldP spid="15" grpId="0" animBg="1"/>
      <p:bldP spid="66" grpId="0" build="p">
        <p:tmplLst>
          <p:tmpl lvl="1">
            <p:tnLst>
              <p:par>
                <p:cTn presetID="10" presetClass="entr" presetSubtype="0" fill="hold" nodeType="afterEffect">
                  <p:stCondLst>
                    <p:cond delay="0"/>
                  </p:stCondLst>
                  <p:childTnLst>
                    <p:set>
                      <p:cBhvr>
                        <p:cTn dur="1" fill="hold">
                          <p:stCondLst>
                            <p:cond delay="0"/>
                          </p:stCondLst>
                        </p:cTn>
                        <p:tgtEl>
                          <p:spTgt spid="66"/>
                        </p:tgtEl>
                        <p:attrNameLst>
                          <p:attrName>style.visibility</p:attrName>
                        </p:attrNameLst>
                      </p:cBhvr>
                      <p:to>
                        <p:strVal val="visible"/>
                      </p:to>
                    </p:set>
                    <p:animEffect transition="in" filter="fade">
                      <p:cBhvr>
                        <p:cTn dur="500"/>
                        <p:tgtEl>
                          <p:spTgt spid="66"/>
                        </p:tgtEl>
                      </p:cBhvr>
                    </p:animEffect>
                  </p:childTnLst>
                </p:cTn>
              </p:par>
            </p:tnLst>
          </p:tmpl>
        </p:tmplLst>
      </p:bldP>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271379" y="4837646"/>
            <a:ext cx="8690033" cy="88722"/>
          </a:xfrm>
          <a:prstGeom prst="rect">
            <a:avLst/>
          </a:prstGeom>
        </p:spPr>
        <p:txBody>
          <a:bodyPr vert="horz" lIns="91440" tIns="45720" rIns="91440" bIns="45720" numCol="2" rtlCol="0" anchor="ctr"/>
          <a:lstStyle>
            <a:lvl1pPr algn="l">
              <a:defRPr sz="515">
                <a:solidFill>
                  <a:schemeClr val="tx1">
                    <a:tint val="75000"/>
                  </a:schemeClr>
                </a:solidFill>
              </a:defRPr>
            </a:lvl1pPr>
          </a:lstStyle>
          <a:p>
            <a:r>
              <a:rPr lang="en-US">
                <a:solidFill>
                  <a:schemeClr val="bg1">
                    <a:lumMod val="65000"/>
                  </a:schemeClr>
                </a:solidFill>
              </a:rPr>
              <a:t>© Microsoft Corporation                                                                                  								                                Azure </a:t>
            </a:r>
          </a:p>
        </p:txBody>
      </p:sp>
      <p:sp>
        <p:nvSpPr>
          <p:cNvPr id="3" name="Title 2">
            <a:extLst>
              <a:ext uri="{FF2B5EF4-FFF2-40B4-BE49-F238E27FC236}">
                <a16:creationId xmlns:a16="http://schemas.microsoft.com/office/drawing/2014/main" id="{106B06AA-85BA-477C-9561-F51AD9204F16}"/>
              </a:ext>
            </a:extLst>
          </p:cNvPr>
          <p:cNvSpPr>
            <a:spLocks noGrp="1"/>
          </p:cNvSpPr>
          <p:nvPr>
            <p:ph type="title" hasCustomPrompt="1"/>
          </p:nvPr>
        </p:nvSpPr>
        <p:spPr/>
        <p:txBody>
          <a:bodyPr/>
          <a:lstStyle>
            <a:lvl1pPr>
              <a:defRPr/>
            </a:lvl1pPr>
          </a:lstStyle>
          <a:p>
            <a:r>
              <a:rPr lang="en-US"/>
              <a:t>Title</a:t>
            </a:r>
          </a:p>
        </p:txBody>
      </p:sp>
    </p:spTree>
    <p:extLst>
      <p:ext uri="{BB962C8B-B14F-4D97-AF65-F5344CB8AC3E}">
        <p14:creationId xmlns:p14="http://schemas.microsoft.com/office/powerpoint/2010/main" val="144918562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solidFill>
                  <a:schemeClr val="accent2"/>
                </a:solidFill>
              </a:defRPr>
            </a:lvl1p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6" name="TextBox 5"/>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110994180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2900" b="1" dirty="0">
                <a:solidFill>
                  <a:schemeClr val="accent2"/>
                </a:solidFill>
                <a:latin typeface="+mj-lt"/>
                <a:ea typeface="+mj-ea"/>
                <a:cs typeface="Segoe UI" pitchFamily="34" charset="0"/>
              </a:defRPr>
            </a:lvl1pPr>
          </a:lstStyle>
          <a:p>
            <a:r>
              <a:rPr lang="en-US" dirty="0"/>
              <a:t>Click to edit Master title style</a:t>
            </a:r>
          </a:p>
        </p:txBody>
      </p:sp>
      <p:sp>
        <p:nvSpPr>
          <p:cNvPr id="8"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7" name="TextBox 6"/>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1936456494"/>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6A6F9B3-E657-E143-B07D-EFBEFF5EA3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4" name="Picture 3">
            <a:extLst>
              <a:ext uri="{FF2B5EF4-FFF2-40B4-BE49-F238E27FC236}">
                <a16:creationId xmlns:a16="http://schemas.microsoft.com/office/drawing/2014/main" id="{FB9BB61D-E226-BA45-85DD-587D8E4FE720}"/>
              </a:ext>
            </a:extLst>
          </p:cNvPr>
          <p:cNvPicPr>
            <a:picLocks noChangeAspect="1"/>
          </p:cNvPicPr>
          <p:nvPr userDrawn="1"/>
        </p:nvPicPr>
        <p:blipFill rotWithShape="1">
          <a:blip r:embed="rId3"/>
          <a:srcRect l="27424" t="70194" r="19361" b="4281"/>
          <a:stretch/>
        </p:blipFill>
        <p:spPr>
          <a:xfrm rot="10800000">
            <a:off x="0" y="590550"/>
            <a:ext cx="9144000" cy="1219200"/>
          </a:xfrm>
          <a:prstGeom prst="rect">
            <a:avLst/>
          </a:prstGeom>
        </p:spPr>
      </p:pic>
      <p:sp>
        <p:nvSpPr>
          <p:cNvPr id="5" name="TextBox 4">
            <a:extLst>
              <a:ext uri="{FF2B5EF4-FFF2-40B4-BE49-F238E27FC236}">
                <a16:creationId xmlns:a16="http://schemas.microsoft.com/office/drawing/2014/main" id="{E6988257-3874-F14D-9DBE-23AADC4D2AC7}"/>
              </a:ext>
            </a:extLst>
          </p:cNvPr>
          <p:cNvSpPr txBox="1"/>
          <p:nvPr userDrawn="1"/>
        </p:nvSpPr>
        <p:spPr bwMode="auto">
          <a:xfrm>
            <a:off x="533400" y="992401"/>
            <a:ext cx="2057400" cy="415498"/>
          </a:xfrm>
          <a:prstGeom prst="rect">
            <a:avLst/>
          </a:prstGeom>
          <a:noFill/>
          <a:ln w="9525">
            <a:noFill/>
            <a:miter lim="800000"/>
            <a:headEnd/>
            <a:tailEnd/>
          </a:ln>
        </p:spPr>
        <p:txBody>
          <a:bodyPr wrap="square">
            <a:spAutoFit/>
          </a:bodyPr>
          <a:lstStyle/>
          <a:p>
            <a:r>
              <a:rPr lang="en-US" sz="2100" b="1" dirty="0">
                <a:solidFill>
                  <a:schemeClr val="bg1"/>
                </a:solidFill>
                <a:effectLst/>
                <a:latin typeface="Calibri" panose="020F0502020204030204" pitchFamily="34" charset="0"/>
                <a:cs typeface="Calibri" panose="020F0502020204030204" pitchFamily="34" charset="0"/>
              </a:rPr>
              <a:t>APRIL 5-7, 2022</a:t>
            </a:r>
            <a:endParaRPr lang="en-US" sz="2100" b="1" dirty="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A4F11F8B-D680-EA44-BA6C-292BE82172BE}"/>
              </a:ext>
            </a:extLst>
          </p:cNvPr>
          <p:cNvSpPr txBox="1"/>
          <p:nvPr userDrawn="1"/>
        </p:nvSpPr>
        <p:spPr bwMode="auto">
          <a:xfrm>
            <a:off x="6580517" y="900618"/>
            <a:ext cx="2057400" cy="630942"/>
          </a:xfrm>
          <a:prstGeom prst="rect">
            <a:avLst/>
          </a:prstGeom>
          <a:noFill/>
          <a:ln w="9525">
            <a:noFill/>
            <a:miter lim="800000"/>
            <a:headEnd/>
            <a:tailEnd/>
          </a:ln>
        </p:spPr>
        <p:txBody>
          <a:bodyPr wrap="square">
            <a:spAutoFit/>
          </a:bodyPr>
          <a:lstStyle/>
          <a:p>
            <a:pPr algn="ctr"/>
            <a:r>
              <a:rPr lang="en-US" sz="2100" b="1" dirty="0">
                <a:solidFill>
                  <a:schemeClr val="bg1"/>
                </a:solidFill>
                <a:effectLst/>
                <a:latin typeface="Calibri" panose="020F0502020204030204" pitchFamily="34" charset="0"/>
                <a:cs typeface="Calibri" panose="020F0502020204030204" pitchFamily="34" charset="0"/>
              </a:rPr>
              <a:t>LAS VEGAS, NV</a:t>
            </a:r>
          </a:p>
          <a:p>
            <a:pPr algn="ctr"/>
            <a:r>
              <a:rPr lang="en-US" sz="1400" b="1" dirty="0">
                <a:solidFill>
                  <a:schemeClr val="bg1"/>
                </a:solidFill>
                <a:latin typeface="Calibri" panose="020F0502020204030204" pitchFamily="34" charset="0"/>
                <a:cs typeface="Calibri" panose="020F0502020204030204" pitchFamily="34" charset="0"/>
              </a:rPr>
              <a:t>MGM GRAND</a:t>
            </a:r>
            <a:endParaRPr lang="en-US" sz="1600" b="1" dirty="0">
              <a:solidFill>
                <a:schemeClr val="bg1"/>
              </a:solidFill>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DD8684E-25C8-0B47-A9DC-FC18FEE3DB9A}"/>
              </a:ext>
            </a:extLst>
          </p:cNvPr>
          <p:cNvPicPr>
            <a:picLocks noChangeAspect="1"/>
          </p:cNvPicPr>
          <p:nvPr userDrawn="1"/>
        </p:nvPicPr>
        <p:blipFill>
          <a:blip r:embed="rId4"/>
          <a:stretch>
            <a:fillRect/>
          </a:stretch>
        </p:blipFill>
        <p:spPr>
          <a:xfrm>
            <a:off x="3879227" y="882650"/>
            <a:ext cx="1529550" cy="654050"/>
          </a:xfrm>
          <a:prstGeom prst="rect">
            <a:avLst/>
          </a:prstGeom>
        </p:spPr>
      </p:pic>
    </p:spTree>
    <p:extLst>
      <p:ext uri="{BB962C8B-B14F-4D97-AF65-F5344CB8AC3E}">
        <p14:creationId xmlns:p14="http://schemas.microsoft.com/office/powerpoint/2010/main" val="389916575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326105" y="1905235"/>
            <a:ext cx="7051170" cy="1344828"/>
          </a:xfrm>
          <a:noFill/>
        </p:spPr>
        <p:txBody>
          <a:bodyPr lIns="0" tIns="0" rIns="0" bIns="182880" anchor="b" anchorCtr="0"/>
          <a:lstStyle>
            <a:lvl1pPr>
              <a:defRPr sz="3968" strike="noStrike" spc="-11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326105" y="3257121"/>
            <a:ext cx="7051170" cy="709076"/>
          </a:xfrm>
          <a:noFill/>
        </p:spPr>
        <p:txBody>
          <a:bodyPr lIns="0" tIns="0" rIns="0" bIns="0">
            <a:noAutofit/>
          </a:bodyPr>
          <a:lstStyle>
            <a:lvl1pPr marL="0" indent="0">
              <a:lnSpc>
                <a:spcPct val="100000"/>
              </a:lnSpc>
              <a:spcBef>
                <a:spcPts val="0"/>
              </a:spcBef>
              <a:spcAft>
                <a:spcPts val="0"/>
              </a:spcAft>
              <a:buNone/>
              <a:defRPr sz="1324"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91B34878-4E2A-4A5D-B3D3-F6CCF3BD21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155" y="183214"/>
            <a:ext cx="1308026" cy="432640"/>
          </a:xfrm>
          <a:prstGeom prst="rect">
            <a:avLst/>
          </a:prstGeom>
        </p:spPr>
      </p:pic>
    </p:spTree>
    <p:extLst>
      <p:ext uri="{BB962C8B-B14F-4D97-AF65-F5344CB8AC3E}">
        <p14:creationId xmlns:p14="http://schemas.microsoft.com/office/powerpoint/2010/main" val="3494694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BC1E75-E2E7-40DF-9B34-E7ECA97A3F1B}"/>
              </a:ext>
            </a:extLst>
          </p:cNvPr>
          <p:cNvSpPr>
            <a:spLocks noGrp="1"/>
          </p:cNvSpPr>
          <p:nvPr>
            <p:ph type="title" hasCustomPrompt="1"/>
          </p:nvPr>
        </p:nvSpPr>
        <p:spPr>
          <a:xfrm>
            <a:off x="326105" y="1905235"/>
            <a:ext cx="7051170" cy="1344828"/>
          </a:xfrm>
          <a:noFill/>
        </p:spPr>
        <p:txBody>
          <a:bodyPr lIns="0" tIns="0" rIns="0" bIns="182880" anchor="b" anchorCtr="0"/>
          <a:lstStyle>
            <a:lvl1pPr>
              <a:defRPr sz="3968" strike="noStrike" spc="-110" baseline="0">
                <a:solidFill>
                  <a:schemeClr val="tx2"/>
                </a:solidFill>
                <a:latin typeface="+mj-lt"/>
              </a:defRPr>
            </a:lvl1pPr>
          </a:lstStyle>
          <a:p>
            <a:r>
              <a:rPr lang="en-US"/>
              <a:t>Azure presentation</a:t>
            </a:r>
            <a:br>
              <a:rPr lang="en-US"/>
            </a:br>
            <a:r>
              <a:rPr lang="en-US"/>
              <a:t>title or event name</a:t>
            </a:r>
          </a:p>
        </p:txBody>
      </p:sp>
      <p:sp>
        <p:nvSpPr>
          <p:cNvPr id="7" name="Text Placeholder 4">
            <a:extLst>
              <a:ext uri="{FF2B5EF4-FFF2-40B4-BE49-F238E27FC236}">
                <a16:creationId xmlns:a16="http://schemas.microsoft.com/office/drawing/2014/main" id="{71BFA596-B43C-4DAC-A798-0D495345CD98}"/>
              </a:ext>
            </a:extLst>
          </p:cNvPr>
          <p:cNvSpPr>
            <a:spLocks noGrp="1"/>
          </p:cNvSpPr>
          <p:nvPr>
            <p:ph type="body" sz="quarter" idx="12" hasCustomPrompt="1"/>
          </p:nvPr>
        </p:nvSpPr>
        <p:spPr>
          <a:xfrm>
            <a:off x="326105" y="3257121"/>
            <a:ext cx="7051170" cy="709076"/>
          </a:xfrm>
          <a:noFill/>
        </p:spPr>
        <p:txBody>
          <a:bodyPr lIns="0" tIns="0" rIns="0" bIns="0">
            <a:noAutofit/>
          </a:bodyPr>
          <a:lstStyle>
            <a:lvl1pPr marL="0" indent="0">
              <a:lnSpc>
                <a:spcPct val="100000"/>
              </a:lnSpc>
              <a:spcBef>
                <a:spcPts val="0"/>
              </a:spcBef>
              <a:spcAft>
                <a:spcPts val="0"/>
              </a:spcAft>
              <a:buNone/>
              <a:defRPr sz="1324" spc="0" baseline="0">
                <a:solidFill>
                  <a:schemeClr val="tx1"/>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588C950A-4A3C-4BAC-B975-217A561584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5928" y="185239"/>
            <a:ext cx="1306255" cy="432054"/>
          </a:xfrm>
          <a:prstGeom prst="rect">
            <a:avLst/>
          </a:prstGeom>
        </p:spPr>
      </p:pic>
    </p:spTree>
    <p:extLst>
      <p:ext uri="{BB962C8B-B14F-4D97-AF65-F5344CB8AC3E}">
        <p14:creationId xmlns:p14="http://schemas.microsoft.com/office/powerpoint/2010/main" val="3945601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40F2F5-3765-493D-B3AE-18E37F967F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14" name="Rectangle 13">
            <a:extLst>
              <a:ext uri="{FF2B5EF4-FFF2-40B4-BE49-F238E27FC236}">
                <a16:creationId xmlns:a16="http://schemas.microsoft.com/office/drawing/2014/main" id="{55FF95E8-9533-49BC-B701-E6EBF5B64B5A}"/>
              </a:ext>
            </a:extLst>
          </p:cNvPr>
          <p:cNvSpPr/>
          <p:nvPr userDrawn="1"/>
        </p:nvSpPr>
        <p:spPr bwMode="auto">
          <a:xfrm>
            <a:off x="1" y="0"/>
            <a:ext cx="6801623" cy="5143500"/>
          </a:xfrm>
          <a:prstGeom prst="rect">
            <a:avLst/>
          </a:prstGeom>
          <a:gradFill flip="none" rotWithShape="1">
            <a:gsLst>
              <a:gs pos="0">
                <a:schemeClr val="accent1">
                  <a:lumMod val="5000"/>
                  <a:lumOff val="95000"/>
                  <a:alpha val="94000"/>
                </a:schemeClr>
              </a:gs>
              <a:gs pos="55800">
                <a:srgbClr val="FFFFFF">
                  <a:alpha val="60000"/>
                </a:srgb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6" tIns="107540" rIns="134426" bIns="107540" numCol="1" spcCol="0" rtlCol="0" fromWordArt="0" anchor="t" anchorCtr="0" forceAA="0" compatLnSpc="1">
            <a:prstTxWarp prst="textNoShape">
              <a:avLst/>
            </a:prstTxWarp>
            <a:noAutofit/>
          </a:bodyPr>
          <a:lstStyle/>
          <a:p>
            <a:pPr algn="ctr" defTabSz="685313"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72AEB49B-91DB-49CD-9812-DE40D464738E}"/>
              </a:ext>
            </a:extLst>
          </p:cNvPr>
          <p:cNvSpPr/>
          <p:nvPr userDrawn="1"/>
        </p:nvSpPr>
        <p:spPr bwMode="auto">
          <a:xfrm>
            <a:off x="319818" y="1596197"/>
            <a:ext cx="5608492" cy="26896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t" anchorCtr="0" forceAA="0" compatLnSpc="1">
            <a:prstTxWarp prst="textNoShape">
              <a:avLst/>
            </a:prstTxWarp>
            <a:noAutofit/>
          </a:bodyPr>
          <a:lstStyle/>
          <a:p>
            <a:pPr lvl="0" algn="ctr" defTabSz="685182"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a:extLst>
              <a:ext uri="{FF2B5EF4-FFF2-40B4-BE49-F238E27FC236}">
                <a16:creationId xmlns:a16="http://schemas.microsoft.com/office/drawing/2014/main" id="{B7E5A94F-1B0E-438C-BEB0-08319283D993}"/>
              </a:ext>
            </a:extLst>
          </p:cNvPr>
          <p:cNvSpPr>
            <a:spLocks noGrp="1"/>
          </p:cNvSpPr>
          <p:nvPr>
            <p:ph type="title" hasCustomPrompt="1"/>
          </p:nvPr>
        </p:nvSpPr>
        <p:spPr>
          <a:xfrm>
            <a:off x="486731" y="1905235"/>
            <a:ext cx="5271353" cy="1344828"/>
          </a:xfrm>
          <a:noFill/>
        </p:spPr>
        <p:txBody>
          <a:bodyPr lIns="0" tIns="0" rIns="0" bIns="182880" anchor="b" anchorCtr="0"/>
          <a:lstStyle>
            <a:lvl1pPr>
              <a:defRPr sz="3968" strike="noStrike" spc="-110" baseline="0">
                <a:solidFill>
                  <a:schemeClr val="bg2"/>
                </a:solidFill>
                <a:latin typeface="+mj-lt"/>
              </a:defRPr>
            </a:lvl1pPr>
          </a:lstStyle>
          <a:p>
            <a:r>
              <a:rPr lang="en-US"/>
              <a:t>Azure presentation</a:t>
            </a:r>
            <a:br>
              <a:rPr lang="en-US"/>
            </a:br>
            <a:r>
              <a:rPr lang="en-US"/>
              <a:t>title or event name</a:t>
            </a:r>
          </a:p>
        </p:txBody>
      </p:sp>
      <p:sp>
        <p:nvSpPr>
          <p:cNvPr id="13" name="Text Placeholder 4">
            <a:extLst>
              <a:ext uri="{FF2B5EF4-FFF2-40B4-BE49-F238E27FC236}">
                <a16:creationId xmlns:a16="http://schemas.microsoft.com/office/drawing/2014/main" id="{4AF19190-07D8-48EC-8023-0C17CCD354E3}"/>
              </a:ext>
            </a:extLst>
          </p:cNvPr>
          <p:cNvSpPr>
            <a:spLocks noGrp="1"/>
          </p:cNvSpPr>
          <p:nvPr>
            <p:ph type="body" sz="quarter" idx="12" hasCustomPrompt="1"/>
          </p:nvPr>
        </p:nvSpPr>
        <p:spPr>
          <a:xfrm>
            <a:off x="486734" y="3257121"/>
            <a:ext cx="4580890" cy="709076"/>
          </a:xfrm>
          <a:noFill/>
        </p:spPr>
        <p:txBody>
          <a:bodyPr lIns="0" tIns="0" rIns="0" bIns="0">
            <a:noAutofit/>
          </a:bodyPr>
          <a:lstStyle>
            <a:lvl1pPr marL="0" indent="0">
              <a:lnSpc>
                <a:spcPct val="100000"/>
              </a:lnSpc>
              <a:spcBef>
                <a:spcPts val="0"/>
              </a:spcBef>
              <a:spcAft>
                <a:spcPts val="0"/>
              </a:spcAft>
              <a:buNone/>
              <a:defRPr sz="1324" spc="0" baseline="0">
                <a:solidFill>
                  <a:schemeClr val="bg2"/>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BB94A8BD-C373-4DF1-B831-20BEEA1C57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5928" y="185239"/>
            <a:ext cx="1306255" cy="432054"/>
          </a:xfrm>
          <a:prstGeom prst="rect">
            <a:avLst/>
          </a:prstGeom>
        </p:spPr>
      </p:pic>
    </p:spTree>
    <p:extLst>
      <p:ext uri="{BB962C8B-B14F-4D97-AF65-F5344CB8AC3E}">
        <p14:creationId xmlns:p14="http://schemas.microsoft.com/office/powerpoint/2010/main" val="5737449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Presentation title slide whit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3E6D01-3E0F-4BD4-80CB-FAB8F44B0A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
          <a:stretch/>
        </p:blipFill>
        <p:spPr>
          <a:xfrm>
            <a:off x="0" y="0"/>
            <a:ext cx="9144000" cy="5143500"/>
          </a:xfrm>
          <a:prstGeom prst="rect">
            <a:avLst/>
          </a:prstGeom>
        </p:spPr>
      </p:pic>
      <p:sp>
        <p:nvSpPr>
          <p:cNvPr id="16" name="Rectangle 15">
            <a:extLst>
              <a:ext uri="{FF2B5EF4-FFF2-40B4-BE49-F238E27FC236}">
                <a16:creationId xmlns:a16="http://schemas.microsoft.com/office/drawing/2014/main" id="{C01F7B8B-303A-4D8B-98B1-89FED98B9B16}"/>
              </a:ext>
            </a:extLst>
          </p:cNvPr>
          <p:cNvSpPr/>
          <p:nvPr userDrawn="1"/>
        </p:nvSpPr>
        <p:spPr bwMode="auto">
          <a:xfrm rot="5400000">
            <a:off x="4207777" y="-4207772"/>
            <a:ext cx="728450" cy="9144001"/>
          </a:xfrm>
          <a:prstGeom prst="rect">
            <a:avLst/>
          </a:prstGeom>
          <a:gradFill flip="none" rotWithShape="1">
            <a:gsLst>
              <a:gs pos="0">
                <a:schemeClr val="accent1">
                  <a:lumMod val="5000"/>
                  <a:lumOff val="95000"/>
                  <a:alpha val="75000"/>
                </a:schemeClr>
              </a:gs>
              <a:gs pos="100000">
                <a:schemeClr val="bg2">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26" tIns="107540" rIns="134426" bIns="107540" numCol="1" spcCol="0" rtlCol="0" fromWordArt="0" anchor="t" anchorCtr="0" forceAA="0" compatLnSpc="1">
            <a:prstTxWarp prst="textNoShape">
              <a:avLst/>
            </a:prstTxWarp>
            <a:noAutofit/>
          </a:bodyPr>
          <a:lstStyle/>
          <a:p>
            <a:pPr algn="ctr" defTabSz="685313"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a16="http://schemas.microsoft.com/office/drawing/2014/main" id="{13532A61-7338-495C-8787-A222781205FF}"/>
              </a:ext>
            </a:extLst>
          </p:cNvPr>
          <p:cNvSpPr/>
          <p:nvPr userDrawn="1"/>
        </p:nvSpPr>
        <p:spPr bwMode="auto">
          <a:xfrm>
            <a:off x="319819" y="1596197"/>
            <a:ext cx="5608492" cy="26896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06" tIns="107525" rIns="134406" bIns="107525" numCol="1" spcCol="0" rtlCol="0" fromWordArt="0" anchor="t" anchorCtr="0" forceAA="0" compatLnSpc="1">
            <a:prstTxWarp prst="textNoShape">
              <a:avLst/>
            </a:prstTxWarp>
            <a:noAutofit/>
          </a:bodyPr>
          <a:lstStyle/>
          <a:p>
            <a:pPr lvl="0" algn="ctr" defTabSz="685182"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486731" y="1905235"/>
            <a:ext cx="5271353" cy="1344828"/>
          </a:xfrm>
          <a:noFill/>
        </p:spPr>
        <p:txBody>
          <a:bodyPr lIns="0" tIns="0" rIns="0" bIns="182880" anchor="b" anchorCtr="0"/>
          <a:lstStyle>
            <a:lvl1pPr>
              <a:defRPr sz="3968" strike="noStrike" spc="-11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486734" y="3257121"/>
            <a:ext cx="4580890" cy="709076"/>
          </a:xfrm>
          <a:noFill/>
        </p:spPr>
        <p:txBody>
          <a:bodyPr lIns="0" tIns="0" rIns="0" bIns="0">
            <a:noAutofit/>
          </a:bodyPr>
          <a:lstStyle>
            <a:lvl1pPr marL="0" indent="0">
              <a:lnSpc>
                <a:spcPct val="100000"/>
              </a:lnSpc>
              <a:spcBef>
                <a:spcPts val="0"/>
              </a:spcBef>
              <a:spcAft>
                <a:spcPts val="0"/>
              </a:spcAft>
              <a:buNone/>
              <a:defRPr sz="1324" spc="0" baseline="0">
                <a:solidFill>
                  <a:schemeClr val="tx1"/>
                </a:solidFill>
                <a:latin typeface="+mn-lt"/>
              </a:defRPr>
            </a:lvl1pPr>
          </a:lstStyle>
          <a:p>
            <a:pPr lvl="0"/>
            <a:r>
              <a:rPr lang="en-US"/>
              <a:t>Author name</a:t>
            </a:r>
          </a:p>
          <a:p>
            <a:pPr lvl="0"/>
            <a:r>
              <a:rPr lang="en-US"/>
              <a:t>Date</a:t>
            </a:r>
          </a:p>
        </p:txBody>
      </p:sp>
      <p:pic>
        <p:nvPicPr>
          <p:cNvPr id="8" name="Picture 7">
            <a:extLst>
              <a:ext uri="{FF2B5EF4-FFF2-40B4-BE49-F238E27FC236}">
                <a16:creationId xmlns:a16="http://schemas.microsoft.com/office/drawing/2014/main" id="{784461FB-856C-44B7-AF3E-D21A18D132C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5928" y="185239"/>
            <a:ext cx="1306255" cy="432054"/>
          </a:xfrm>
          <a:prstGeom prst="rect">
            <a:avLst/>
          </a:prstGeom>
        </p:spPr>
      </p:pic>
    </p:spTree>
    <p:extLst>
      <p:ext uri="{BB962C8B-B14F-4D97-AF65-F5344CB8AC3E}">
        <p14:creationId xmlns:p14="http://schemas.microsoft.com/office/powerpoint/2010/main" val="15796894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esentation title slide blu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9144000" cy="51435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319818" y="1596197"/>
            <a:ext cx="5608492" cy="268965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lvl="0"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486731" y="1905235"/>
            <a:ext cx="5271353" cy="1344828"/>
          </a:xfrm>
          <a:noFill/>
        </p:spPr>
        <p:txBody>
          <a:bodyPr lIns="0" tIns="0" rIns="0" bIns="182880" anchor="b" anchorCtr="0"/>
          <a:lstStyle>
            <a:lvl1pPr>
              <a:defRPr sz="3970" strike="noStrike" spc="-110" baseline="0">
                <a:solidFill>
                  <a:schemeClr val="bg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486732" y="3257119"/>
            <a:ext cx="4580890" cy="709076"/>
          </a:xfrm>
          <a:noFill/>
        </p:spPr>
        <p:txBody>
          <a:bodyPr lIns="0" tIns="0" rIns="0" bIns="0">
            <a:noAutofit/>
          </a:bodyPr>
          <a:lstStyle>
            <a:lvl1pPr marL="0" indent="0">
              <a:lnSpc>
                <a:spcPct val="100000"/>
              </a:lnSpc>
              <a:spcBef>
                <a:spcPts val="0"/>
              </a:spcBef>
              <a:spcAft>
                <a:spcPts val="0"/>
              </a:spcAft>
              <a:buNone/>
              <a:defRPr sz="1324" spc="0" baseline="0">
                <a:solidFill>
                  <a:schemeClr val="bg2"/>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69752010-03A3-4EA2-99F5-BD7256D6539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5928" y="185239"/>
            <a:ext cx="1306255" cy="432054"/>
          </a:xfrm>
          <a:prstGeom prst="rect">
            <a:avLst/>
          </a:prstGeom>
        </p:spPr>
      </p:pic>
    </p:spTree>
    <p:extLst>
      <p:ext uri="{BB962C8B-B14F-4D97-AF65-F5344CB8AC3E}">
        <p14:creationId xmlns:p14="http://schemas.microsoft.com/office/powerpoint/2010/main" val="1624118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esentation title slide white phot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1978148-DDB8-4B1B-91B8-28130218C585}"/>
              </a:ext>
            </a:extLst>
          </p:cNvPr>
          <p:cNvGrpSpPr/>
          <p:nvPr userDrawn="1"/>
        </p:nvGrpSpPr>
        <p:grpSpPr>
          <a:xfrm>
            <a:off x="0" y="-1"/>
            <a:ext cx="9144000" cy="5143501"/>
            <a:chOff x="0" y="-1"/>
            <a:chExt cx="12436475" cy="6994526"/>
          </a:xfrm>
        </p:grpSpPr>
        <p:pic>
          <p:nvPicPr>
            <p:cNvPr id="6" name="Picture 5">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2" name="Rectangle 1">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a:extLst>
              <a:ext uri="{FF2B5EF4-FFF2-40B4-BE49-F238E27FC236}">
                <a16:creationId xmlns:a16="http://schemas.microsoft.com/office/drawing/2014/main" id="{13532A61-7338-495C-8787-A222781205FF}"/>
              </a:ext>
            </a:extLst>
          </p:cNvPr>
          <p:cNvSpPr/>
          <p:nvPr userDrawn="1"/>
        </p:nvSpPr>
        <p:spPr bwMode="auto">
          <a:xfrm>
            <a:off x="319819" y="1596197"/>
            <a:ext cx="5608492" cy="268965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lvl="0"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a:extLst>
              <a:ext uri="{FF2B5EF4-FFF2-40B4-BE49-F238E27FC236}">
                <a16:creationId xmlns:a16="http://schemas.microsoft.com/office/drawing/2014/main" id="{C12028E2-C5DC-4CA9-88C9-D5024B2AD46E}"/>
              </a:ext>
            </a:extLst>
          </p:cNvPr>
          <p:cNvSpPr>
            <a:spLocks noGrp="1"/>
          </p:cNvSpPr>
          <p:nvPr>
            <p:ph type="title" hasCustomPrompt="1"/>
          </p:nvPr>
        </p:nvSpPr>
        <p:spPr>
          <a:xfrm>
            <a:off x="486731" y="1905235"/>
            <a:ext cx="5271353" cy="1344828"/>
          </a:xfrm>
          <a:noFill/>
        </p:spPr>
        <p:txBody>
          <a:bodyPr lIns="0" tIns="0" rIns="0" bIns="182880" anchor="b" anchorCtr="0"/>
          <a:lstStyle>
            <a:lvl1pPr>
              <a:defRPr sz="3970" strike="noStrike" spc="-110" baseline="0">
                <a:solidFill>
                  <a:schemeClr val="tx2"/>
                </a:solidFill>
                <a:latin typeface="+mj-lt"/>
              </a:defRPr>
            </a:lvl1pPr>
          </a:lstStyle>
          <a:p>
            <a:r>
              <a:rPr lang="en-US"/>
              <a:t>Azure presentation</a:t>
            </a:r>
            <a:br>
              <a:rPr lang="en-US"/>
            </a:br>
            <a:r>
              <a:rPr lang="en-US"/>
              <a:t>title or event name</a:t>
            </a:r>
          </a:p>
        </p:txBody>
      </p:sp>
      <p:sp>
        <p:nvSpPr>
          <p:cNvPr id="15" name="Text Placeholder 4">
            <a:extLst>
              <a:ext uri="{FF2B5EF4-FFF2-40B4-BE49-F238E27FC236}">
                <a16:creationId xmlns:a16="http://schemas.microsoft.com/office/drawing/2014/main" id="{6EFA9DF5-3A2A-422C-B2A6-A700C5CFD6E7}"/>
              </a:ext>
            </a:extLst>
          </p:cNvPr>
          <p:cNvSpPr>
            <a:spLocks noGrp="1"/>
          </p:cNvSpPr>
          <p:nvPr>
            <p:ph type="body" sz="quarter" idx="12" hasCustomPrompt="1"/>
          </p:nvPr>
        </p:nvSpPr>
        <p:spPr>
          <a:xfrm>
            <a:off x="486732" y="3257119"/>
            <a:ext cx="4580890" cy="709076"/>
          </a:xfrm>
          <a:noFill/>
        </p:spPr>
        <p:txBody>
          <a:bodyPr lIns="0" tIns="0" rIns="0" bIns="0">
            <a:noAutofit/>
          </a:bodyPr>
          <a:lstStyle>
            <a:lvl1pPr marL="0" indent="0">
              <a:lnSpc>
                <a:spcPct val="100000"/>
              </a:lnSpc>
              <a:spcBef>
                <a:spcPts val="0"/>
              </a:spcBef>
              <a:spcAft>
                <a:spcPts val="0"/>
              </a:spcAft>
              <a:buNone/>
              <a:defRPr sz="1324" spc="0" baseline="0">
                <a:solidFill>
                  <a:schemeClr val="tx1"/>
                </a:solidFill>
                <a:latin typeface="+mn-lt"/>
              </a:defRPr>
            </a:lvl1pPr>
          </a:lstStyle>
          <a:p>
            <a:pPr lvl="0"/>
            <a:r>
              <a:rPr lang="en-US"/>
              <a:t>Author name</a:t>
            </a:r>
          </a:p>
          <a:p>
            <a:pPr lvl="0"/>
            <a:r>
              <a:rPr lang="en-US"/>
              <a:t>Date</a:t>
            </a:r>
          </a:p>
        </p:txBody>
      </p:sp>
      <p:pic>
        <p:nvPicPr>
          <p:cNvPr id="10" name="Picture 9">
            <a:extLst>
              <a:ext uri="{FF2B5EF4-FFF2-40B4-BE49-F238E27FC236}">
                <a16:creationId xmlns:a16="http://schemas.microsoft.com/office/drawing/2014/main" id="{CB22DF54-0BC3-4D9B-8F6B-B26F307853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5928" y="185239"/>
            <a:ext cx="1306255" cy="432054"/>
          </a:xfrm>
          <a:prstGeom prst="rect">
            <a:avLst/>
          </a:prstGeom>
        </p:spPr>
      </p:pic>
    </p:spTree>
    <p:extLst>
      <p:ext uri="{BB962C8B-B14F-4D97-AF65-F5344CB8AC3E}">
        <p14:creationId xmlns:p14="http://schemas.microsoft.com/office/powerpoint/2010/main" val="863838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342901" y="1931821"/>
            <a:ext cx="6315074" cy="457049"/>
          </a:xfrm>
          <a:prstGeom prst="rect">
            <a:avLst/>
          </a:prstGeom>
        </p:spPr>
        <p:txBody>
          <a:bodyPr vert="horz" wrap="square" lIns="0" tIns="0" rIns="0" bIns="0" rtlCol="0" anchor="b">
            <a:spAutoFit/>
          </a:bodyPr>
          <a:lstStyle>
            <a:lvl1pPr>
              <a:defRPr sz="33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342900" y="2388870"/>
            <a:ext cx="7492366" cy="280799"/>
          </a:xfrm>
        </p:spPr>
        <p:txBody>
          <a:bodyPr>
            <a:spAutoFit/>
          </a:bodyPr>
          <a:lstStyle>
            <a:lvl1pPr marL="0" indent="0" algn="l">
              <a:spcBef>
                <a:spcPts val="0"/>
              </a:spcBef>
              <a:spcAft>
                <a:spcPts val="900"/>
              </a:spcAft>
              <a:buNone/>
              <a:defRPr sz="1800" b="1" i="0" spc="-45" baseline="0">
                <a:solidFill>
                  <a:schemeClr val="tx2"/>
                </a:solidFill>
                <a:latin typeface="Segoe UI Semibold" charset="0"/>
                <a:ea typeface="Segoe UI Semibold" charset="0"/>
                <a:cs typeface="Segoe UI Semibold"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2731920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ontent Half Left">
    <p:bg>
      <p:bgRef idx="1001">
        <a:schemeClr val="bg2"/>
      </p:bgRef>
    </p:bg>
    <p:spTree>
      <p:nvGrpSpPr>
        <p:cNvPr id="1" name=""/>
        <p:cNvGrpSpPr/>
        <p:nvPr/>
      </p:nvGrpSpPr>
      <p:grpSpPr>
        <a:xfrm>
          <a:off x="0" y="0"/>
          <a:ext cx="0" cy="0"/>
          <a:chOff x="0" y="0"/>
          <a:chExt cx="0" cy="0"/>
        </a:xfrm>
      </p:grpSpPr>
      <p:sp>
        <p:nvSpPr>
          <p:cNvPr id="11" name="Title Placeholder 2">
            <a:extLst>
              <a:ext uri="{FF2B5EF4-FFF2-40B4-BE49-F238E27FC236}">
                <a16:creationId xmlns:a16="http://schemas.microsoft.com/office/drawing/2014/main" id="{9AFD44FB-5EE2-4D3E-9C7F-A0CA74B39F11}"/>
              </a:ext>
            </a:extLst>
          </p:cNvPr>
          <p:cNvSpPr>
            <a:spLocks noGrp="1"/>
          </p:cNvSpPr>
          <p:nvPr>
            <p:ph type="title"/>
          </p:nvPr>
        </p:nvSpPr>
        <p:spPr>
          <a:xfrm>
            <a:off x="342900" y="1484285"/>
            <a:ext cx="3086100" cy="914096"/>
          </a:xfrm>
          <a:prstGeom prst="rect">
            <a:avLst/>
          </a:prstGeom>
        </p:spPr>
        <p:txBody>
          <a:bodyPr vert="horz" wrap="square" lIns="0" tIns="0" rIns="0" bIns="0" rtlCol="0" anchor="b">
            <a:spAutoFit/>
          </a:bodyPr>
          <a:lstStyle>
            <a:lvl1pPr>
              <a:defRPr sz="3300" b="1" i="0">
                <a:solidFill>
                  <a:schemeClr val="tx1"/>
                </a:solidFill>
                <a:latin typeface="Segoe Pro Semibold" charset="0"/>
                <a:ea typeface="Segoe Pro Semibold" charset="0"/>
                <a:cs typeface="Segoe Pro Semibold" charset="0"/>
              </a:defRPr>
            </a:lvl1pPr>
          </a:lstStyle>
          <a:p>
            <a:r>
              <a:rPr lang="en-US"/>
              <a:t>Click to edit Master title style</a:t>
            </a:r>
          </a:p>
        </p:txBody>
      </p:sp>
      <p:sp>
        <p:nvSpPr>
          <p:cNvPr id="6" name="Subtitle 2">
            <a:extLst>
              <a:ext uri="{FF2B5EF4-FFF2-40B4-BE49-F238E27FC236}">
                <a16:creationId xmlns:a16="http://schemas.microsoft.com/office/drawing/2014/main" id="{AC21BB0E-11FF-4849-A437-1A08AE905469}"/>
              </a:ext>
            </a:extLst>
          </p:cNvPr>
          <p:cNvSpPr>
            <a:spLocks noGrp="1"/>
          </p:cNvSpPr>
          <p:nvPr>
            <p:ph type="subTitle" idx="27"/>
          </p:nvPr>
        </p:nvSpPr>
        <p:spPr>
          <a:xfrm>
            <a:off x="342900" y="2398381"/>
            <a:ext cx="3086100" cy="553998"/>
          </a:xfrm>
        </p:spPr>
        <p:txBody>
          <a:bodyPr>
            <a:spAutoFit/>
          </a:bodyPr>
          <a:lstStyle>
            <a:lvl1pPr marL="0" indent="0" algn="l">
              <a:spcBef>
                <a:spcPts val="0"/>
              </a:spcBef>
              <a:spcAft>
                <a:spcPts val="900"/>
              </a:spcAft>
              <a:buNone/>
              <a:defRPr sz="1800" b="1" i="0" spc="-45" baseline="0">
                <a:solidFill>
                  <a:schemeClr val="tx1"/>
                </a:solidFill>
                <a:latin typeface="Segoe UI Semibold" charset="0"/>
                <a:ea typeface="Segoe UI Semibold" charset="0"/>
                <a:cs typeface="Segoe UI Semibold"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 name="Rectangle 1">
            <a:extLst>
              <a:ext uri="{FF2B5EF4-FFF2-40B4-BE49-F238E27FC236}">
                <a16:creationId xmlns:a16="http://schemas.microsoft.com/office/drawing/2014/main" id="{A2B61818-2F60-44E2-929C-E391BC061332}"/>
              </a:ext>
            </a:extLst>
          </p:cNvPr>
          <p:cNvSpPr/>
          <p:nvPr userDrawn="1"/>
        </p:nvSpPr>
        <p:spPr>
          <a:xfrm>
            <a:off x="4572000" y="0"/>
            <a:ext cx="4572000" cy="51435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0483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180035"/>
            <a:ext cx="7772400" cy="1125140"/>
          </a:xfrm>
        </p:spPr>
        <p:txBody>
          <a:bodyPr anchor="b"/>
          <a:lstStyle>
            <a:lvl1pPr marL="0" indent="0">
              <a:buNone/>
              <a:defRPr sz="210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685800" y="3371850"/>
            <a:ext cx="7772400" cy="571500"/>
          </a:xfrm>
        </p:spPr>
        <p:txBody>
          <a:bodyPr/>
          <a:lstStyle>
            <a:lvl1pPr algn="l">
              <a:defRPr>
                <a:solidFill>
                  <a:schemeClr val="tx1"/>
                </a:solidFill>
              </a:defRPr>
            </a:lvl1pPr>
          </a:lstStyle>
          <a:p>
            <a:r>
              <a:rPr lang="en-US" dirty="0"/>
              <a:t>Click to edit Master title styl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6" name="TextBox 5"/>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249317171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p:bg>
      <p:bgRef idx="1001">
        <a:schemeClr val="bg2"/>
      </p:bgRef>
    </p:bg>
    <p:spTree>
      <p:nvGrpSpPr>
        <p:cNvPr id="1" name=""/>
        <p:cNvGrpSpPr/>
        <p:nvPr/>
      </p:nvGrpSpPr>
      <p:grpSpPr>
        <a:xfrm>
          <a:off x="0" y="0"/>
          <a:ext cx="0" cy="0"/>
          <a:chOff x="0" y="0"/>
          <a:chExt cx="0" cy="0"/>
        </a:xfrm>
      </p:grpSpPr>
      <p:sp>
        <p:nvSpPr>
          <p:cNvPr id="5" name="Footer Placeholder 6" hidden="1"/>
          <p:cNvSpPr txBox="1">
            <a:spLocks/>
          </p:cNvSpPr>
          <p:nvPr userDrawn="1"/>
        </p:nvSpPr>
        <p:spPr>
          <a:xfrm>
            <a:off x="7897093" y="4914900"/>
            <a:ext cx="1247768"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a:solidFill>
                  <a:srgbClr val="666666"/>
                </a:solidFill>
              </a:rPr>
              <a:t>MICROSOFT CONFIDENTIAL</a:t>
            </a:r>
          </a:p>
        </p:txBody>
      </p:sp>
      <p:sp>
        <p:nvSpPr>
          <p:cNvPr id="3" name="Title 2">
            <a:extLst>
              <a:ext uri="{FF2B5EF4-FFF2-40B4-BE49-F238E27FC236}">
                <a16:creationId xmlns:a16="http://schemas.microsoft.com/office/drawing/2014/main" id="{E76FA948-653B-4CA7-915C-E0E626C881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828710"/>
      </p:ext>
    </p:extLst>
  </p:cSld>
  <p:clrMapOvr>
    <a:overrideClrMapping bg1="dk1" tx1="lt1" bg2="dk2" tx2="lt2" accent1="accent1" accent2="accent2" accent3="accent3" accent4="accent4" accent5="accent5" accent6="accent6" hlink="hlink" folHlink="folHlink"/>
  </p:clrMapOvr>
  <p:transition>
    <p:fade/>
  </p:transition>
  <p:hf hdr="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319818" y="840430"/>
            <a:ext cx="8504831" cy="829865"/>
          </a:xfrm>
        </p:spPr>
        <p:txBody>
          <a:bodyPr wrap="square" lIns="0" tIns="0" rIns="0" bIns="0">
            <a:spAutoFit/>
          </a:bodyPr>
          <a:lstStyle>
            <a:lvl1pPr marL="0" marR="0" indent="0" algn="l" defTabSz="685644" rtl="0" eaLnBrk="1" fontAlgn="auto" latinLnBrk="0" hangingPunct="1">
              <a:lnSpc>
                <a:spcPct val="100000"/>
              </a:lnSpc>
              <a:spcBef>
                <a:spcPts val="0"/>
              </a:spcBef>
              <a:spcAft>
                <a:spcPts val="1028"/>
              </a:spcAft>
              <a:buClrTx/>
              <a:buSzPct val="90000"/>
              <a:buFont typeface="Wingdings" panose="05000000000000000000" pitchFamily="2" charset="2"/>
              <a:buNone/>
              <a:tabLst/>
              <a:defRPr lang="en-US" sz="1324" b="1" i="0" kern="1200" spc="0" baseline="0" dirty="0">
                <a:solidFill>
                  <a:srgbClr val="000000"/>
                </a:solidFill>
                <a:latin typeface="+mn-lt"/>
                <a:ea typeface="+mn-ea"/>
                <a:cs typeface="+mn-cs"/>
              </a:defRPr>
            </a:lvl1pPr>
            <a:lvl2pPr marL="0" indent="0">
              <a:lnSpc>
                <a:spcPct val="100000"/>
              </a:lnSpc>
              <a:spcBef>
                <a:spcPts val="0"/>
              </a:spcBef>
              <a:spcAft>
                <a:spcPts val="1028"/>
              </a:spcAft>
              <a:buNone/>
              <a:defRPr sz="1324">
                <a:solidFill>
                  <a:srgbClr val="000000"/>
                </a:solidFill>
              </a:defRPr>
            </a:lvl2pPr>
            <a:lvl3pPr marL="0" indent="0">
              <a:lnSpc>
                <a:spcPct val="100000"/>
              </a:lnSpc>
              <a:spcBef>
                <a:spcPts val="0"/>
              </a:spcBef>
              <a:spcAft>
                <a:spcPts val="1028"/>
              </a:spcAft>
              <a:buNone/>
              <a:defRPr sz="1028">
                <a:solidFill>
                  <a:srgbClr val="000000"/>
                </a:solidFill>
              </a:defRPr>
            </a:lvl3pPr>
            <a:lvl4pPr marL="504121" indent="0">
              <a:spcBef>
                <a:spcPts val="0"/>
              </a:spcBef>
              <a:spcAft>
                <a:spcPts val="955"/>
              </a:spcAft>
              <a:buNone/>
              <a:defRPr sz="1471"/>
            </a:lvl4pPr>
            <a:lvl5pPr marL="672161"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319819" y="166939"/>
            <a:ext cx="8502029" cy="554507"/>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a:t>
            </a:r>
          </a:p>
        </p:txBody>
      </p:sp>
      <p:grpSp>
        <p:nvGrpSpPr>
          <p:cNvPr id="7" name="Group 6">
            <a:extLst>
              <a:ext uri="{FF2B5EF4-FFF2-40B4-BE49-F238E27FC236}">
                <a16:creationId xmlns:a16="http://schemas.microsoft.com/office/drawing/2014/main" id="{6182A7AF-E813-4C15-9BF4-9097D7492EC1}"/>
              </a:ext>
            </a:extLst>
          </p:cNvPr>
          <p:cNvGrpSpPr/>
          <p:nvPr userDrawn="1"/>
        </p:nvGrpSpPr>
        <p:grpSpPr>
          <a:xfrm>
            <a:off x="327285" y="4823277"/>
            <a:ext cx="8494564" cy="71302"/>
            <a:chOff x="445128" y="6559056"/>
            <a:chExt cx="11553197" cy="96962"/>
          </a:xfrm>
        </p:grpSpPr>
        <p:sp>
          <p:nvSpPr>
            <p:cNvPr id="8" name="TextBox 7">
              <a:extLst>
                <a:ext uri="{FF2B5EF4-FFF2-40B4-BE49-F238E27FC236}">
                  <a16:creationId xmlns:a16="http://schemas.microsoft.com/office/drawing/2014/main" id="{23054922-7BB2-4879-9591-0FC564128406}"/>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9" name="Freeform: Shape 8">
              <a:extLst>
                <a:ext uri="{FF2B5EF4-FFF2-40B4-BE49-F238E27FC236}">
                  <a16:creationId xmlns:a16="http://schemas.microsoft.com/office/drawing/2014/main" id="{8F459D94-C874-4D77-AEED-DD630F44578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5757903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body with bullets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327988" y="840430"/>
            <a:ext cx="8504831" cy="829865"/>
          </a:xfrm>
        </p:spPr>
        <p:txBody>
          <a:bodyPr wrap="square" lIns="0" tIns="0" rIns="0" bIns="0">
            <a:spAutoFit/>
          </a:bodyPr>
          <a:lstStyle>
            <a:lvl1pPr marL="210050" indent="-210050">
              <a:lnSpc>
                <a:spcPct val="100000"/>
              </a:lnSpc>
              <a:spcBef>
                <a:spcPts val="0"/>
              </a:spcBef>
              <a:spcAft>
                <a:spcPts val="1028"/>
              </a:spcAft>
              <a:buFont typeface="Arial" panose="020B0604020202020204" pitchFamily="34" charset="0"/>
              <a:buChar char="•"/>
              <a:defRPr sz="1324" b="0" i="0">
                <a:solidFill>
                  <a:srgbClr val="000000"/>
                </a:solidFill>
                <a:latin typeface="+mj-lt"/>
              </a:defRPr>
            </a:lvl1pPr>
            <a:lvl2pPr marL="378090" indent="-210050">
              <a:lnSpc>
                <a:spcPct val="100000"/>
              </a:lnSpc>
              <a:spcBef>
                <a:spcPts val="0"/>
              </a:spcBef>
              <a:spcAft>
                <a:spcPts val="1028"/>
              </a:spcAft>
              <a:buFont typeface="Arial" panose="020B0604020202020204" pitchFamily="34" charset="0"/>
              <a:buChar char="•"/>
              <a:defRPr sz="1324">
                <a:solidFill>
                  <a:srgbClr val="000000"/>
                </a:solidFill>
              </a:defRPr>
            </a:lvl2pPr>
            <a:lvl3pPr marL="546131" indent="-210050">
              <a:lnSpc>
                <a:spcPct val="100000"/>
              </a:lnSpc>
              <a:spcBef>
                <a:spcPts val="0"/>
              </a:spcBef>
              <a:spcAft>
                <a:spcPts val="1028"/>
              </a:spcAft>
              <a:buFont typeface="Arial" panose="020B0604020202020204" pitchFamily="34" charset="0"/>
              <a:buChar char="•"/>
              <a:defRPr sz="1028">
                <a:solidFill>
                  <a:srgbClr val="000000"/>
                </a:solidFill>
              </a:defRPr>
            </a:lvl3pPr>
            <a:lvl4pPr marL="504121" indent="0">
              <a:spcBef>
                <a:spcPts val="0"/>
              </a:spcBef>
              <a:spcAft>
                <a:spcPts val="955"/>
              </a:spcAft>
              <a:buNone/>
              <a:defRPr sz="1471"/>
            </a:lvl4pPr>
            <a:lvl5pPr marL="672161" indent="0">
              <a:buNone/>
              <a:defRPr/>
            </a:lvl5pPr>
          </a:lstStyle>
          <a:p>
            <a:pPr lvl="0"/>
            <a:r>
              <a:rPr lang="en-US"/>
              <a:t>First level Segoe UI </a:t>
            </a:r>
            <a:r>
              <a:rPr lang="en-US" err="1"/>
              <a:t>Semibold</a:t>
            </a:r>
            <a:r>
              <a:rPr lang="en-US"/>
              <a:t> 18pt</a:t>
            </a:r>
          </a:p>
          <a:p>
            <a:pPr lvl="1"/>
            <a:r>
              <a:rPr lang="en-US"/>
              <a:t>Second level Segoe UI 18pt</a:t>
            </a:r>
          </a:p>
          <a:p>
            <a:pPr lvl="2"/>
            <a:r>
              <a:rPr lang="en-US"/>
              <a:t>Third level Segoe UI 14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319819" y="166939"/>
            <a:ext cx="8502029" cy="554507"/>
          </a:xfrm>
          <a:prstGeom prst="rect">
            <a:avLst/>
          </a:prstGeom>
        </p:spPr>
        <p:txBody>
          <a:bodyPr vert="horz" wrap="square" lIns="0" tIns="164592" rIns="0" bIns="0" rtlCol="0" anchor="t">
            <a:noAutofit/>
          </a:bodyPr>
          <a:lstStyle>
            <a:lvl1pPr>
              <a:defRPr>
                <a:solidFill>
                  <a:schemeClr val="tx2"/>
                </a:solidFill>
              </a:defRPr>
            </a:lvl1pPr>
          </a:lstStyle>
          <a:p>
            <a:r>
              <a:rPr lang="en-US"/>
              <a:t>Heading Segoe UI </a:t>
            </a:r>
            <a:r>
              <a:rPr lang="en-US" err="1"/>
              <a:t>Semibold</a:t>
            </a:r>
            <a:r>
              <a:rPr lang="en-US"/>
              <a:t> 36pt (with bullets)</a:t>
            </a:r>
          </a:p>
        </p:txBody>
      </p:sp>
      <p:grpSp>
        <p:nvGrpSpPr>
          <p:cNvPr id="7" name="Group 6">
            <a:extLst>
              <a:ext uri="{FF2B5EF4-FFF2-40B4-BE49-F238E27FC236}">
                <a16:creationId xmlns:a16="http://schemas.microsoft.com/office/drawing/2014/main" id="{4B26EB38-B802-47F3-8575-888FC1AA6B67}"/>
              </a:ext>
            </a:extLst>
          </p:cNvPr>
          <p:cNvGrpSpPr/>
          <p:nvPr userDrawn="1"/>
        </p:nvGrpSpPr>
        <p:grpSpPr>
          <a:xfrm>
            <a:off x="327285" y="4823277"/>
            <a:ext cx="8494564" cy="71302"/>
            <a:chOff x="445128" y="6559056"/>
            <a:chExt cx="11553197" cy="96962"/>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0066693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mp; body with bullets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B26EB38-B802-47F3-8575-888FC1AA6B67}"/>
              </a:ext>
            </a:extLst>
          </p:cNvPr>
          <p:cNvGrpSpPr/>
          <p:nvPr userDrawn="1"/>
        </p:nvGrpSpPr>
        <p:grpSpPr>
          <a:xfrm>
            <a:off x="327285" y="4823277"/>
            <a:ext cx="8494564" cy="71302"/>
            <a:chOff x="445128" y="6559056"/>
            <a:chExt cx="11553197" cy="96962"/>
          </a:xfrm>
        </p:grpSpPr>
        <p:sp>
          <p:nvSpPr>
            <p:cNvPr id="8" name="TextBox 7">
              <a:extLst>
                <a:ext uri="{FF2B5EF4-FFF2-40B4-BE49-F238E27FC236}">
                  <a16:creationId xmlns:a16="http://schemas.microsoft.com/office/drawing/2014/main" id="{E0F140AB-64C1-48AA-A79D-6818AEB0D90E}"/>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9" name="Freeform: Shape 8">
              <a:extLst>
                <a:ext uri="{FF2B5EF4-FFF2-40B4-BE49-F238E27FC236}">
                  <a16:creationId xmlns:a16="http://schemas.microsoft.com/office/drawing/2014/main" id="{D3818870-6D91-4EAA-9132-2E15E4E80F8B}"/>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
        <p:nvSpPr>
          <p:cNvPr id="3" name="Text Placeholder 2">
            <a:extLst>
              <a:ext uri="{FF2B5EF4-FFF2-40B4-BE49-F238E27FC236}">
                <a16:creationId xmlns:a16="http://schemas.microsoft.com/office/drawing/2014/main" id="{0E2CAED3-5C3B-4638-84D2-AFD40B0A6536}"/>
              </a:ext>
            </a:extLst>
          </p:cNvPr>
          <p:cNvSpPr>
            <a:spLocks noGrp="1"/>
          </p:cNvSpPr>
          <p:nvPr>
            <p:ph type="body" sz="quarter" idx="11"/>
          </p:nvPr>
        </p:nvSpPr>
        <p:spPr>
          <a:xfrm>
            <a:off x="327423" y="721519"/>
            <a:ext cx="8502253" cy="230833"/>
          </a:xfrm>
        </p:spPr>
        <p:txBody>
          <a:bodyPr/>
          <a:lstStyle>
            <a:lvl1pPr>
              <a:defRPr sz="1500" b="0">
                <a:solidFill>
                  <a:schemeClr val="tx2"/>
                </a:solidFill>
              </a:defRPr>
            </a:lvl1pPr>
          </a:lstStyle>
          <a:p>
            <a:pPr lvl="0"/>
            <a:r>
              <a:rPr lang="en-US"/>
              <a:t>Click to edit Master text styles</a:t>
            </a:r>
          </a:p>
        </p:txBody>
      </p:sp>
      <p:sp>
        <p:nvSpPr>
          <p:cNvPr id="4" name="Title 3">
            <a:extLst>
              <a:ext uri="{FF2B5EF4-FFF2-40B4-BE49-F238E27FC236}">
                <a16:creationId xmlns:a16="http://schemas.microsoft.com/office/drawing/2014/main" id="{E6B7040F-1E2C-4F82-ABB7-F07F089ED8B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182184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93F0F27-6B90-4485-A3C5-1C1E05E189E8}"/>
              </a:ext>
            </a:extLst>
          </p:cNvPr>
          <p:cNvGrpSpPr/>
          <p:nvPr userDrawn="1"/>
        </p:nvGrpSpPr>
        <p:grpSpPr>
          <a:xfrm>
            <a:off x="327285" y="4823277"/>
            <a:ext cx="8494564" cy="71302"/>
            <a:chOff x="445128" y="6559056"/>
            <a:chExt cx="11553197" cy="96962"/>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7897F37A-7EA1-4CFC-9E0B-8E83614C55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57690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327988" y="843519"/>
            <a:ext cx="8504831" cy="611083"/>
          </a:xfrm>
        </p:spPr>
        <p:txBody>
          <a:bodyPr wrap="square" lIns="0" tIns="0" rIns="0" bIns="0">
            <a:spAutoFit/>
          </a:bodyPr>
          <a:lstStyle>
            <a:lvl1pPr marL="0" indent="0">
              <a:lnSpc>
                <a:spcPct val="100000"/>
              </a:lnSpc>
              <a:spcBef>
                <a:spcPts val="0"/>
              </a:spcBef>
              <a:spcAft>
                <a:spcPts val="1028"/>
              </a:spcAft>
              <a:buNone/>
              <a:defRPr sz="1324" b="0" i="0">
                <a:solidFill>
                  <a:srgbClr val="000000"/>
                </a:solidFill>
                <a:latin typeface="+mn-lt"/>
              </a:defRPr>
            </a:lvl1pPr>
            <a:lvl2pPr marL="168041" indent="0">
              <a:lnSpc>
                <a:spcPct val="100000"/>
              </a:lnSpc>
              <a:spcBef>
                <a:spcPts val="0"/>
              </a:spcBef>
              <a:spcAft>
                <a:spcPts val="1028"/>
              </a:spcAft>
              <a:buNone/>
              <a:defRPr sz="1324">
                <a:solidFill>
                  <a:srgbClr val="000000"/>
                </a:solidFill>
              </a:defRPr>
            </a:lvl2pPr>
            <a:lvl3pPr marL="336080" indent="0">
              <a:lnSpc>
                <a:spcPct val="100000"/>
              </a:lnSpc>
              <a:spcBef>
                <a:spcPts val="0"/>
              </a:spcBef>
              <a:spcAft>
                <a:spcPts val="1028"/>
              </a:spcAft>
              <a:buNone/>
              <a:defRPr sz="1028">
                <a:solidFill>
                  <a:srgbClr val="000000"/>
                </a:solidFill>
              </a:defRPr>
            </a:lvl3pPr>
            <a:lvl4pPr marL="504121" indent="0">
              <a:spcBef>
                <a:spcPts val="0"/>
              </a:spcBef>
              <a:spcAft>
                <a:spcPts val="955"/>
              </a:spcAft>
              <a:buNone/>
              <a:defRPr sz="1471"/>
            </a:lvl4pPr>
            <a:lvl5pPr marL="672161"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319819" y="166939"/>
            <a:ext cx="8502029" cy="554507"/>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319819" y="1734968"/>
            <a:ext cx="2722891" cy="1951868"/>
          </a:xfrm>
        </p:spPr>
        <p:txBody>
          <a:bodyPr lIns="0" tIns="0" rIns="0" bIns="0">
            <a:noAutofit/>
          </a:bodyPr>
          <a:lstStyle>
            <a:lvl1pPr marL="0" indent="0">
              <a:lnSpc>
                <a:spcPct val="100000"/>
              </a:lnSpc>
              <a:spcBef>
                <a:spcPts val="0"/>
              </a:spcBef>
              <a:spcAft>
                <a:spcPts val="662"/>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662"/>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3211021" y="1734968"/>
            <a:ext cx="2717288" cy="1951868"/>
          </a:xfrm>
        </p:spPr>
        <p:txBody>
          <a:bodyPr lIns="0" tIns="0" rIns="0" bIns="0">
            <a:noAutofit/>
          </a:bodyPr>
          <a:lstStyle>
            <a:lvl1pPr marL="0" indent="0">
              <a:lnSpc>
                <a:spcPct val="100000"/>
              </a:lnSpc>
              <a:spcBef>
                <a:spcPts val="0"/>
              </a:spcBef>
              <a:spcAft>
                <a:spcPts val="662"/>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662"/>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095223" y="1734969"/>
            <a:ext cx="2722891" cy="1986890"/>
          </a:xfrm>
        </p:spPr>
        <p:txBody>
          <a:bodyPr lIns="0" tIns="0" rIns="0" bIns="0"/>
          <a:lstStyle>
            <a:lvl1pPr marL="0" indent="0">
              <a:lnSpc>
                <a:spcPct val="100000"/>
              </a:lnSpc>
              <a:spcBef>
                <a:spcPts val="0"/>
              </a:spcBef>
              <a:spcAft>
                <a:spcPts val="662"/>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662"/>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p:txBody>
      </p:sp>
      <p:grpSp>
        <p:nvGrpSpPr>
          <p:cNvPr id="11" name="Group 10">
            <a:extLst>
              <a:ext uri="{FF2B5EF4-FFF2-40B4-BE49-F238E27FC236}">
                <a16:creationId xmlns:a16="http://schemas.microsoft.com/office/drawing/2014/main" id="{B3053341-E5CB-4603-A7D1-F64915184546}"/>
              </a:ext>
            </a:extLst>
          </p:cNvPr>
          <p:cNvGrpSpPr/>
          <p:nvPr userDrawn="1"/>
        </p:nvGrpSpPr>
        <p:grpSpPr>
          <a:xfrm>
            <a:off x="327285" y="4823277"/>
            <a:ext cx="8494564" cy="71302"/>
            <a:chOff x="445128" y="6559056"/>
            <a:chExt cx="11553197" cy="96962"/>
          </a:xfrm>
        </p:grpSpPr>
        <p:sp>
          <p:nvSpPr>
            <p:cNvPr id="12" name="TextBox 11">
              <a:extLst>
                <a:ext uri="{FF2B5EF4-FFF2-40B4-BE49-F238E27FC236}">
                  <a16:creationId xmlns:a16="http://schemas.microsoft.com/office/drawing/2014/main" id="{4E6D7F9D-B875-4E75-BE96-C6AEB682F0FA}"/>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13" name="Freeform: Shape 12">
              <a:extLst>
                <a:ext uri="{FF2B5EF4-FFF2-40B4-BE49-F238E27FC236}">
                  <a16:creationId xmlns:a16="http://schemas.microsoft.com/office/drawing/2014/main" id="{5B40F06A-D2B5-4A80-B009-4D9116EA0EAD}"/>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0082396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319818" y="840432"/>
            <a:ext cx="8504831" cy="611083"/>
          </a:xfrm>
        </p:spPr>
        <p:txBody>
          <a:bodyPr wrap="square" lIns="0" tIns="0" rIns="0" bIns="0">
            <a:spAutoFit/>
          </a:bodyPr>
          <a:lstStyle>
            <a:lvl1pPr marL="0" indent="0">
              <a:lnSpc>
                <a:spcPct val="100000"/>
              </a:lnSpc>
              <a:spcBef>
                <a:spcPts val="0"/>
              </a:spcBef>
              <a:spcAft>
                <a:spcPts val="662"/>
              </a:spcAft>
              <a:buNone/>
              <a:defRPr sz="1324" b="0" i="0">
                <a:solidFill>
                  <a:srgbClr val="000000"/>
                </a:solidFill>
                <a:latin typeface="+mn-lt"/>
              </a:defRPr>
            </a:lvl1pPr>
            <a:lvl2pPr marL="168041" indent="0">
              <a:lnSpc>
                <a:spcPct val="100000"/>
              </a:lnSpc>
              <a:spcBef>
                <a:spcPts val="0"/>
              </a:spcBef>
              <a:spcAft>
                <a:spcPts val="1028"/>
              </a:spcAft>
              <a:buNone/>
              <a:defRPr sz="1324">
                <a:solidFill>
                  <a:srgbClr val="000000"/>
                </a:solidFill>
              </a:defRPr>
            </a:lvl2pPr>
            <a:lvl3pPr marL="336080" indent="0">
              <a:lnSpc>
                <a:spcPct val="100000"/>
              </a:lnSpc>
              <a:spcBef>
                <a:spcPts val="0"/>
              </a:spcBef>
              <a:spcAft>
                <a:spcPts val="1028"/>
              </a:spcAft>
              <a:buNone/>
              <a:defRPr sz="1028">
                <a:solidFill>
                  <a:srgbClr val="000000"/>
                </a:solidFill>
              </a:defRPr>
            </a:lvl3pPr>
            <a:lvl4pPr marL="504121" indent="0">
              <a:spcBef>
                <a:spcPts val="0"/>
              </a:spcBef>
              <a:spcAft>
                <a:spcPts val="955"/>
              </a:spcAft>
              <a:buNone/>
              <a:defRPr sz="1471"/>
            </a:lvl4pPr>
            <a:lvl5pPr marL="672161"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319819" y="166939"/>
            <a:ext cx="8502029" cy="554507"/>
          </a:xfrm>
          <a:prstGeom prst="rect">
            <a:avLst/>
          </a:prstGeom>
        </p:spPr>
        <p:txBody>
          <a:bodyPr vert="horz" wrap="square" lIns="0" tIns="164592" rIns="0" bIns="0" rtlCol="0" anchor="t">
            <a:noAutofit/>
          </a:bodyPr>
          <a:lstStyle>
            <a:lvl1pPr>
              <a:defRPr>
                <a:solidFill>
                  <a:schemeClr val="tx2"/>
                </a:solidFill>
              </a:defRPr>
            </a:lvl1pPr>
          </a:lstStyle>
          <a:p>
            <a:r>
              <a:rPr lang="en-US"/>
              <a:t>Three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319819" y="1733132"/>
            <a:ext cx="2722891" cy="1951868"/>
          </a:xfrm>
        </p:spPr>
        <p:txBody>
          <a:bodyPr lIns="0" tIns="0" rIns="0" bIns="0">
            <a:noAutofit/>
          </a:bodyPr>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marL="210050" lvl="1" indent="-210050">
              <a:buFont typeface="Arial" panose="020B0604020202020204" pitchFamily="34" charset="0"/>
              <a:buChar char="•"/>
            </a:pPr>
            <a:r>
              <a:rPr lang="en-US"/>
              <a:t>Body copy Segoe Regular 14</a:t>
            </a:r>
          </a:p>
          <a:p>
            <a:pPr marL="210050" lvl="1" indent="-210050">
              <a:buFont typeface="Arial" panose="020B0604020202020204" pitchFamily="34" charset="0"/>
              <a:buChar char="•"/>
            </a:pPr>
            <a:r>
              <a:rPr lang="en-US"/>
              <a:t>Lorem ipsum dolor sit </a:t>
            </a:r>
            <a:r>
              <a:rPr lang="en-US" err="1"/>
              <a:t>amet</a:t>
            </a:r>
            <a:r>
              <a:rPr lang="en-US"/>
              <a:t>, </a:t>
            </a:r>
            <a:r>
              <a:rPr lang="en-US" err="1"/>
              <a:t>consectetur</a:t>
            </a:r>
            <a:endParaRPr lang="en-US"/>
          </a:p>
          <a:p>
            <a:pPr marL="210050" lvl="1" indent="-2100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10050" lvl="1" indent="-2100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10050" lvl="1" indent="-2100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10050" lvl="1" indent="-2100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10050" lvl="1" indent="-2100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10050" lvl="1" indent="-2100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a:p>
            <a:pPr marL="210050" lvl="1" indent="-210050">
              <a:buFont typeface="Arial" panose="020B0604020202020204" pitchFamily="34" charset="0"/>
              <a:buChar char="•"/>
            </a:pPr>
            <a:endParaRPr lang="en-US"/>
          </a:p>
        </p:txBody>
      </p:sp>
      <p:sp>
        <p:nvSpPr>
          <p:cNvPr id="5" name="Text Placeholder 4">
            <a:extLst>
              <a:ext uri="{FF2B5EF4-FFF2-40B4-BE49-F238E27FC236}">
                <a16:creationId xmlns:a16="http://schemas.microsoft.com/office/drawing/2014/main" id="{EA2FCB46-ABD2-4E30-8117-D04A48472535}"/>
              </a:ext>
            </a:extLst>
          </p:cNvPr>
          <p:cNvSpPr>
            <a:spLocks noGrp="1"/>
          </p:cNvSpPr>
          <p:nvPr>
            <p:ph type="body" sz="quarter" idx="12" hasCustomPrompt="1"/>
          </p:nvPr>
        </p:nvSpPr>
        <p:spPr>
          <a:xfrm>
            <a:off x="3211021" y="1733132"/>
            <a:ext cx="2717288" cy="1951868"/>
          </a:xfrm>
        </p:spPr>
        <p:txBody>
          <a:bodyPr lIns="0" tIns="0" rIns="0" bIns="0">
            <a:noAutofit/>
          </a:bodyPr>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marL="210050" lvl="1" indent="-210050">
              <a:buFont typeface="Arial" panose="020B0604020202020204" pitchFamily="34" charset="0"/>
              <a:buChar char="•"/>
            </a:pPr>
            <a:r>
              <a:rPr lang="en-US"/>
              <a:t>Body copy Segoe Regular 14</a:t>
            </a:r>
          </a:p>
          <a:p>
            <a:pPr marL="210050" lvl="1" indent="-210050">
              <a:buFont typeface="Arial" panose="020B0604020202020204" pitchFamily="34" charset="0"/>
              <a:buChar char="•"/>
            </a:pPr>
            <a:r>
              <a:rPr lang="en-US"/>
              <a:t>Lorem ipsum dolor sit </a:t>
            </a:r>
            <a:r>
              <a:rPr lang="en-US" err="1"/>
              <a:t>amet</a:t>
            </a:r>
            <a:r>
              <a:rPr lang="en-US"/>
              <a:t>, </a:t>
            </a:r>
            <a:r>
              <a:rPr lang="en-US" err="1"/>
              <a:t>consectetur</a:t>
            </a:r>
            <a:endParaRPr lang="en-US"/>
          </a:p>
          <a:p>
            <a:pPr marL="210050" lvl="1" indent="-2100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10050" lvl="1" indent="-2100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10050" lvl="1" indent="-2100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10050" lvl="1" indent="-2100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10050" lvl="1" indent="-2100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10050" lvl="1" indent="-2100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6095223" y="1733132"/>
            <a:ext cx="2722891" cy="1936620"/>
          </a:xfrm>
        </p:spPr>
        <p:txBody>
          <a:bodyPr lIns="0" tIns="0" rIns="0" bIns="0"/>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marL="210050" lvl="1" indent="-210050">
              <a:buFont typeface="Arial" panose="020B0604020202020204" pitchFamily="34" charset="0"/>
              <a:buChar char="•"/>
            </a:pPr>
            <a:r>
              <a:rPr lang="en-US"/>
              <a:t>Body copy Segoe Regular 14</a:t>
            </a:r>
          </a:p>
          <a:p>
            <a:pPr marL="210050" lvl="1" indent="-210050">
              <a:buFont typeface="Arial" panose="020B0604020202020204" pitchFamily="34" charset="0"/>
              <a:buChar char="•"/>
            </a:pPr>
            <a:r>
              <a:rPr lang="en-US"/>
              <a:t>Lorem ipsum dolor sit </a:t>
            </a:r>
            <a:r>
              <a:rPr lang="en-US" err="1"/>
              <a:t>amet</a:t>
            </a:r>
            <a:r>
              <a:rPr lang="en-US"/>
              <a:t>, </a:t>
            </a:r>
            <a:r>
              <a:rPr lang="en-US" err="1"/>
              <a:t>consectetur</a:t>
            </a:r>
            <a:endParaRPr lang="en-US"/>
          </a:p>
          <a:p>
            <a:pPr marL="210050" lvl="1" indent="-210050">
              <a:buFont typeface="Arial" panose="020B0604020202020204" pitchFamily="34" charset="0"/>
              <a:buChar char="•"/>
            </a:pP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endParaRPr lang="en-US"/>
          </a:p>
          <a:p>
            <a:pPr marL="210050" lvl="1" indent="-210050">
              <a:buFont typeface="Arial" panose="020B0604020202020204" pitchFamily="34" charset="0"/>
              <a:buChar char="•"/>
            </a:pPr>
            <a:r>
              <a:rPr lang="en-US" err="1"/>
              <a:t>Incididunt</a:t>
            </a:r>
            <a:r>
              <a:rPr lang="en-US"/>
              <a:t> </a:t>
            </a:r>
            <a:r>
              <a:rPr lang="en-US" err="1"/>
              <a:t>ut</a:t>
            </a:r>
            <a:r>
              <a:rPr lang="en-US"/>
              <a:t> </a:t>
            </a:r>
            <a:r>
              <a:rPr lang="en-US" err="1"/>
              <a:t>labore</a:t>
            </a:r>
            <a:r>
              <a:rPr lang="en-US"/>
              <a:t> et dolore magna</a:t>
            </a:r>
          </a:p>
          <a:p>
            <a:pPr marL="210050" lvl="1" indent="-210050">
              <a:buFont typeface="Arial" panose="020B0604020202020204" pitchFamily="34" charset="0"/>
              <a:buChar char="•"/>
            </a:pP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endParaRPr lang="en-US"/>
          </a:p>
          <a:p>
            <a:pPr marL="210050" lvl="1" indent="-210050">
              <a:buFont typeface="Arial" panose="020B0604020202020204" pitchFamily="34" charset="0"/>
              <a:buChar char="•"/>
            </a:pPr>
            <a:r>
              <a:rPr lang="en-US"/>
              <a:t>Exercitation </a:t>
            </a:r>
            <a:r>
              <a:rPr lang="en-US" err="1"/>
              <a:t>ullamco</a:t>
            </a:r>
            <a:r>
              <a:rPr lang="en-US"/>
              <a:t> </a:t>
            </a:r>
            <a:r>
              <a:rPr lang="en-US" err="1"/>
              <a:t>laboris</a:t>
            </a:r>
            <a:r>
              <a:rPr lang="en-US"/>
              <a:t> nisi </a:t>
            </a:r>
            <a:r>
              <a:rPr lang="en-US" err="1"/>
              <a:t>ut</a:t>
            </a:r>
            <a:r>
              <a:rPr lang="en-US"/>
              <a:t> </a:t>
            </a:r>
            <a:r>
              <a:rPr lang="en-US" err="1"/>
              <a:t>aliquip</a:t>
            </a:r>
            <a:endParaRPr lang="en-US"/>
          </a:p>
          <a:p>
            <a:pPr marL="210050" lvl="1" indent="-210050">
              <a:buFont typeface="Arial" panose="020B0604020202020204" pitchFamily="34" charset="0"/>
              <a:buChar char="•"/>
            </a:pP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endParaRPr lang="en-US"/>
          </a:p>
          <a:p>
            <a:pPr marL="210050" lvl="1" indent="-210050">
              <a:buFont typeface="Arial" panose="020B0604020202020204" pitchFamily="34" charset="0"/>
              <a:buChar char="•"/>
            </a:pPr>
            <a:r>
              <a:rPr lang="en-US"/>
              <a:t>In </a:t>
            </a:r>
            <a:r>
              <a:rPr lang="en-US" err="1"/>
              <a:t>reprehenderit</a:t>
            </a:r>
            <a:r>
              <a:rPr lang="en-US"/>
              <a:t> in </a:t>
            </a:r>
            <a:r>
              <a:rPr lang="en-US" err="1"/>
              <a:t>voluptate</a:t>
            </a:r>
            <a:r>
              <a:rPr lang="en-US"/>
              <a:t> </a:t>
            </a:r>
            <a:r>
              <a:rPr lang="en-US" err="1"/>
              <a:t>velit</a:t>
            </a:r>
            <a:r>
              <a:rPr lang="en-US"/>
              <a:t> </a:t>
            </a:r>
            <a:r>
              <a:rPr lang="en-US" err="1"/>
              <a:t>esse</a:t>
            </a:r>
            <a:endParaRPr lang="en-US"/>
          </a:p>
        </p:txBody>
      </p:sp>
      <p:grpSp>
        <p:nvGrpSpPr>
          <p:cNvPr id="11" name="Group 10">
            <a:extLst>
              <a:ext uri="{FF2B5EF4-FFF2-40B4-BE49-F238E27FC236}">
                <a16:creationId xmlns:a16="http://schemas.microsoft.com/office/drawing/2014/main" id="{D9F8B0FF-313D-4C1A-A7B1-593EFBB6799A}"/>
              </a:ext>
            </a:extLst>
          </p:cNvPr>
          <p:cNvGrpSpPr/>
          <p:nvPr userDrawn="1"/>
        </p:nvGrpSpPr>
        <p:grpSpPr>
          <a:xfrm>
            <a:off x="327285" y="4823277"/>
            <a:ext cx="8494564" cy="71302"/>
            <a:chOff x="445128" y="6559056"/>
            <a:chExt cx="11553197" cy="96962"/>
          </a:xfrm>
        </p:grpSpPr>
        <p:sp>
          <p:nvSpPr>
            <p:cNvPr id="12" name="TextBox 11">
              <a:extLst>
                <a:ext uri="{FF2B5EF4-FFF2-40B4-BE49-F238E27FC236}">
                  <a16:creationId xmlns:a16="http://schemas.microsoft.com/office/drawing/2014/main" id="{2891F4A9-544F-4CF3-A3B0-A9DCC101E957}"/>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13" name="Freeform: Shape 12">
              <a:extLst>
                <a:ext uri="{FF2B5EF4-FFF2-40B4-BE49-F238E27FC236}">
                  <a16:creationId xmlns:a16="http://schemas.microsoft.com/office/drawing/2014/main" id="{96146284-39AE-45CB-80C2-9315EFA1A67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85813450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327988" y="836163"/>
            <a:ext cx="8504831" cy="611083"/>
          </a:xfrm>
        </p:spPr>
        <p:txBody>
          <a:bodyPr wrap="square" lIns="0" tIns="0" rIns="0" bIns="0">
            <a:spAutoFit/>
          </a:bodyPr>
          <a:lstStyle>
            <a:lvl1pPr marL="0" indent="0">
              <a:lnSpc>
                <a:spcPct val="100000"/>
              </a:lnSpc>
              <a:spcBef>
                <a:spcPts val="0"/>
              </a:spcBef>
              <a:spcAft>
                <a:spcPts val="662"/>
              </a:spcAft>
              <a:buNone/>
              <a:defRPr sz="1324" b="0" i="0">
                <a:solidFill>
                  <a:srgbClr val="000000"/>
                </a:solidFill>
                <a:latin typeface="+mn-lt"/>
              </a:defRPr>
            </a:lvl1pPr>
            <a:lvl2pPr marL="168041" indent="0">
              <a:lnSpc>
                <a:spcPct val="100000"/>
              </a:lnSpc>
              <a:spcBef>
                <a:spcPts val="0"/>
              </a:spcBef>
              <a:spcAft>
                <a:spcPts val="1028"/>
              </a:spcAft>
              <a:buNone/>
              <a:defRPr sz="1324">
                <a:solidFill>
                  <a:srgbClr val="000000"/>
                </a:solidFill>
              </a:defRPr>
            </a:lvl2pPr>
            <a:lvl3pPr marL="336080" indent="0">
              <a:lnSpc>
                <a:spcPct val="100000"/>
              </a:lnSpc>
              <a:spcBef>
                <a:spcPts val="0"/>
              </a:spcBef>
              <a:spcAft>
                <a:spcPts val="1028"/>
              </a:spcAft>
              <a:buNone/>
              <a:defRPr sz="1028">
                <a:solidFill>
                  <a:srgbClr val="000000"/>
                </a:solidFill>
              </a:defRPr>
            </a:lvl3pPr>
            <a:lvl4pPr marL="504121" indent="0">
              <a:spcBef>
                <a:spcPts val="0"/>
              </a:spcBef>
              <a:spcAft>
                <a:spcPts val="955"/>
              </a:spcAft>
              <a:buNone/>
              <a:defRPr sz="1471"/>
            </a:lvl4pPr>
            <a:lvl5pPr marL="672161"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319819" y="165538"/>
            <a:ext cx="8502029" cy="554507"/>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319819" y="1734967"/>
            <a:ext cx="4166975" cy="1951868"/>
          </a:xfrm>
        </p:spPr>
        <p:txBody>
          <a:bodyPr lIns="0" tIns="0" rIns="0" bIns="0">
            <a:noAutofit/>
          </a:bodyPr>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4657210" y="1734968"/>
            <a:ext cx="4160905" cy="1951868"/>
          </a:xfrm>
        </p:spPr>
        <p:txBody>
          <a:bodyPr lIns="0" tIns="0" rIns="0" bIns="0"/>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p>
        </p:txBody>
      </p:sp>
      <p:grpSp>
        <p:nvGrpSpPr>
          <p:cNvPr id="11" name="Group 10">
            <a:extLst>
              <a:ext uri="{FF2B5EF4-FFF2-40B4-BE49-F238E27FC236}">
                <a16:creationId xmlns:a16="http://schemas.microsoft.com/office/drawing/2014/main" id="{46ABC6A5-2286-458F-8881-7622FBA353AE}"/>
              </a:ext>
            </a:extLst>
          </p:cNvPr>
          <p:cNvGrpSpPr/>
          <p:nvPr userDrawn="1"/>
        </p:nvGrpSpPr>
        <p:grpSpPr>
          <a:xfrm>
            <a:off x="327285" y="4823277"/>
            <a:ext cx="8494564" cy="71302"/>
            <a:chOff x="445128" y="6559056"/>
            <a:chExt cx="11553197" cy="96962"/>
          </a:xfrm>
        </p:grpSpPr>
        <p:sp>
          <p:nvSpPr>
            <p:cNvPr id="12" name="TextBox 11">
              <a:extLst>
                <a:ext uri="{FF2B5EF4-FFF2-40B4-BE49-F238E27FC236}">
                  <a16:creationId xmlns:a16="http://schemas.microsoft.com/office/drawing/2014/main" id="{D0FAD3E8-4D59-4DCB-AE9B-C4D805BB43B9}"/>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13" name="Freeform: Shape 12">
              <a:extLst>
                <a:ext uri="{FF2B5EF4-FFF2-40B4-BE49-F238E27FC236}">
                  <a16:creationId xmlns:a16="http://schemas.microsoft.com/office/drawing/2014/main" id="{0E7DB636-1AE5-4AD4-9DFE-8A8AEFEE08A6}"/>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55379001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text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327988" y="836163"/>
            <a:ext cx="8504831" cy="611083"/>
          </a:xfrm>
        </p:spPr>
        <p:txBody>
          <a:bodyPr wrap="square" lIns="0" tIns="0" rIns="0" bIns="0">
            <a:spAutoFit/>
          </a:bodyPr>
          <a:lstStyle>
            <a:lvl1pPr marL="0" indent="0">
              <a:lnSpc>
                <a:spcPct val="100000"/>
              </a:lnSpc>
              <a:spcBef>
                <a:spcPts val="0"/>
              </a:spcBef>
              <a:spcAft>
                <a:spcPts val="662"/>
              </a:spcAft>
              <a:buNone/>
              <a:defRPr sz="1324" b="0" i="0">
                <a:solidFill>
                  <a:srgbClr val="000000"/>
                </a:solidFill>
                <a:latin typeface="+mn-lt"/>
              </a:defRPr>
            </a:lvl1pPr>
            <a:lvl2pPr marL="168041" indent="0">
              <a:lnSpc>
                <a:spcPct val="100000"/>
              </a:lnSpc>
              <a:spcBef>
                <a:spcPts val="0"/>
              </a:spcBef>
              <a:spcAft>
                <a:spcPts val="1028"/>
              </a:spcAft>
              <a:buNone/>
              <a:defRPr sz="1324">
                <a:solidFill>
                  <a:srgbClr val="000000"/>
                </a:solidFill>
              </a:defRPr>
            </a:lvl2pPr>
            <a:lvl3pPr marL="336080" indent="0">
              <a:lnSpc>
                <a:spcPct val="100000"/>
              </a:lnSpc>
              <a:spcBef>
                <a:spcPts val="0"/>
              </a:spcBef>
              <a:spcAft>
                <a:spcPts val="1028"/>
              </a:spcAft>
              <a:buNone/>
              <a:defRPr sz="1028">
                <a:solidFill>
                  <a:srgbClr val="000000"/>
                </a:solidFill>
              </a:defRPr>
            </a:lvl3pPr>
            <a:lvl4pPr marL="504121" indent="0">
              <a:spcBef>
                <a:spcPts val="0"/>
              </a:spcBef>
              <a:spcAft>
                <a:spcPts val="955"/>
              </a:spcAft>
              <a:buNone/>
              <a:defRPr sz="1471"/>
            </a:lvl4pPr>
            <a:lvl5pPr marL="672161" indent="0">
              <a:buNone/>
              <a:defRPr/>
            </a:lvl5pPr>
          </a:lstStyle>
          <a:p>
            <a:pPr lvl="0"/>
            <a:r>
              <a:rPr lang="en-US"/>
              <a:t>Body copy Segoe Regular 18.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319819" y="166939"/>
            <a:ext cx="8502029" cy="554507"/>
          </a:xfrm>
          <a:prstGeom prst="rect">
            <a:avLst/>
          </a:prstGeom>
        </p:spPr>
        <p:txBody>
          <a:bodyPr vert="horz" wrap="square" lIns="0" tIns="164592" rIns="0" bIns="0" rtlCol="0" anchor="t">
            <a:noAutofit/>
          </a:bodyPr>
          <a:lstStyle>
            <a:lvl1pPr>
              <a:defRPr>
                <a:solidFill>
                  <a:schemeClr val="tx2"/>
                </a:solidFill>
              </a:defRPr>
            </a:lvl1pPr>
          </a:lstStyle>
          <a:p>
            <a:r>
              <a:rPr lang="en-US"/>
              <a:t>Two column text layout (with bullets)</a:t>
            </a:r>
          </a:p>
        </p:txBody>
      </p:sp>
      <p:sp>
        <p:nvSpPr>
          <p:cNvPr id="4" name="Text Placeholder 4">
            <a:extLst>
              <a:ext uri="{FF2B5EF4-FFF2-40B4-BE49-F238E27FC236}">
                <a16:creationId xmlns:a16="http://schemas.microsoft.com/office/drawing/2014/main" id="{6849D465-70FF-451A-8BED-41C7ADC63065}"/>
              </a:ext>
            </a:extLst>
          </p:cNvPr>
          <p:cNvSpPr>
            <a:spLocks noGrp="1"/>
          </p:cNvSpPr>
          <p:nvPr>
            <p:ph type="body" sz="quarter" idx="11" hasCustomPrompt="1"/>
          </p:nvPr>
        </p:nvSpPr>
        <p:spPr>
          <a:xfrm>
            <a:off x="319819" y="1734967"/>
            <a:ext cx="4166975" cy="1953956"/>
          </a:xfrm>
        </p:spPr>
        <p:txBody>
          <a:bodyPr lIns="0" tIns="0" rIns="0" bIns="0">
            <a:noAutofit/>
          </a:bodyPr>
          <a:lstStyle>
            <a:lvl1pPr marL="0" marR="0" indent="0" algn="l" defTabSz="685644" rtl="0" eaLnBrk="1" fontAlgn="auto" latinLnBrk="0" hangingPunct="1">
              <a:lnSpc>
                <a:spcPct val="100000"/>
              </a:lnSpc>
              <a:spcBef>
                <a:spcPts val="0"/>
              </a:spcBef>
              <a:spcAft>
                <a:spcPts val="515"/>
              </a:spcAft>
              <a:buClrTx/>
              <a:buSzPct val="90000"/>
              <a:buFont typeface="Wingdings" panose="05000000000000000000" pitchFamily="2" charset="2"/>
              <a:buNone/>
              <a:tabLst/>
              <a:defRPr sz="1028" b="1">
                <a:solidFill>
                  <a:schemeClr val="tx2"/>
                </a:solidFill>
                <a:latin typeface="+mn-lt"/>
              </a:defRPr>
            </a:lvl1pPr>
            <a:lvl2pPr marL="210050" marR="0" indent="-210050" algn="l" defTabSz="685644" rtl="0" eaLnBrk="1" fontAlgn="auto" latinLnBrk="0" hangingPunct="1">
              <a:lnSpc>
                <a:spcPct val="100000"/>
              </a:lnSpc>
              <a:spcBef>
                <a:spcPts val="0"/>
              </a:spcBef>
              <a:spcAft>
                <a:spcPts val="515"/>
              </a:spcAft>
              <a:buClrTx/>
              <a:buSzPct val="90000"/>
              <a:buFont typeface="Arial" panose="020B0604020202020204" pitchFamily="34" charset="0"/>
              <a:buChar char="•"/>
              <a:tabLst/>
              <a:defRPr sz="1028">
                <a:solidFill>
                  <a:srgbClr val="000000"/>
                </a:solidFill>
              </a:defRPr>
            </a:lvl2pPr>
            <a:lvl3pPr marL="336080" indent="0">
              <a:buNone/>
              <a:defRPr/>
            </a:lvl3pPr>
            <a:lvl4pPr marL="504121" indent="0">
              <a:buNone/>
              <a:defRPr/>
            </a:lvl4pPr>
            <a:lvl5pPr marL="672161" indent="0">
              <a:buNone/>
              <a:defRPr/>
            </a:lvl5pPr>
          </a:lstStyle>
          <a:p>
            <a:pPr marL="0" marR="0" lvl="0" indent="0" algn="l" defTabSz="685644" rtl="0" eaLnBrk="1" fontAlgn="auto" latinLnBrk="0" hangingPunct="1">
              <a:lnSpc>
                <a:spcPct val="100000"/>
              </a:lnSpc>
              <a:spcBef>
                <a:spcPts val="0"/>
              </a:spcBef>
              <a:spcAft>
                <a:spcPts val="662"/>
              </a:spcAft>
              <a:buClrTx/>
              <a:buSzPct val="90000"/>
              <a:buFont typeface="Wingdings" panose="05000000000000000000" pitchFamily="2" charset="2"/>
              <a:buNone/>
              <a:tabLst/>
              <a:defRPr/>
            </a:pPr>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sp>
        <p:nvSpPr>
          <p:cNvPr id="6" name="Text Placeholder 4">
            <a:extLst>
              <a:ext uri="{FF2B5EF4-FFF2-40B4-BE49-F238E27FC236}">
                <a16:creationId xmlns:a16="http://schemas.microsoft.com/office/drawing/2014/main" id="{36529D97-59E4-4F82-95B3-25E40D5A28FF}"/>
              </a:ext>
            </a:extLst>
          </p:cNvPr>
          <p:cNvSpPr>
            <a:spLocks noGrp="1"/>
          </p:cNvSpPr>
          <p:nvPr>
            <p:ph type="body" sz="quarter" idx="13" hasCustomPrompt="1"/>
          </p:nvPr>
        </p:nvSpPr>
        <p:spPr>
          <a:xfrm>
            <a:off x="4657210" y="1734969"/>
            <a:ext cx="4160905" cy="1953955"/>
          </a:xfrm>
        </p:spPr>
        <p:txBody>
          <a:bodyPr lIns="0" tIns="0" rIns="0" bIns="0"/>
          <a:lstStyle>
            <a:lvl1pPr marL="0" indent="0">
              <a:lnSpc>
                <a:spcPct val="100000"/>
              </a:lnSpc>
              <a:spcBef>
                <a:spcPts val="0"/>
              </a:spcBef>
              <a:spcAft>
                <a:spcPts val="515"/>
              </a:spcAft>
              <a:buNone/>
              <a:defRPr sz="1028" b="1">
                <a:solidFill>
                  <a:schemeClr val="tx2"/>
                </a:solidFill>
                <a:latin typeface="+mn-lt"/>
              </a:defRPr>
            </a:lvl1pPr>
            <a:lvl2pPr marL="210050" marR="0" indent="-210050" algn="l" defTabSz="685644" rtl="0" eaLnBrk="1" fontAlgn="auto" latinLnBrk="0" hangingPunct="1">
              <a:lnSpc>
                <a:spcPct val="100000"/>
              </a:lnSpc>
              <a:spcBef>
                <a:spcPts val="0"/>
              </a:spcBef>
              <a:spcAft>
                <a:spcPts val="515"/>
              </a:spcAft>
              <a:buClrTx/>
              <a:buSzPct val="90000"/>
              <a:buFont typeface="Arial" panose="020B0604020202020204" pitchFamily="34" charset="0"/>
              <a:buChar char="•"/>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pPr lvl="1"/>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a:t>
            </a:r>
          </a:p>
          <a:p>
            <a:pPr lvl="1"/>
            <a:r>
              <a:rPr lang="en-US"/>
              <a:t>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r>
              <a:rPr lang="en-US" err="1"/>
              <a:t>duis</a:t>
            </a:r>
            <a:r>
              <a:rPr lang="en-US"/>
              <a:t> </a:t>
            </a:r>
            <a:r>
              <a:rPr lang="en-US" err="1"/>
              <a:t>aute</a:t>
            </a:r>
            <a:r>
              <a:rPr lang="en-US"/>
              <a:t> </a:t>
            </a:r>
            <a:r>
              <a:rPr lang="en-US" err="1"/>
              <a:t>irure</a:t>
            </a:r>
            <a:r>
              <a:rPr lang="en-US"/>
              <a:t> dolor in</a:t>
            </a:r>
          </a:p>
          <a:p>
            <a:pPr lvl="1"/>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endParaRPr lang="en-US"/>
          </a:p>
          <a:p>
            <a:pPr lvl="1"/>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a:t>
            </a:r>
            <a:r>
              <a:rPr lang="en-US" err="1"/>
              <a:t>sunt</a:t>
            </a:r>
            <a:r>
              <a:rPr lang="en-US"/>
              <a:t> in</a:t>
            </a:r>
          </a:p>
          <a:p>
            <a:pPr lvl="1"/>
            <a:r>
              <a:rPr lang="en-US"/>
              <a:t>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lorem ipsum dolor</a:t>
            </a:r>
          </a:p>
        </p:txBody>
      </p:sp>
      <p:grpSp>
        <p:nvGrpSpPr>
          <p:cNvPr id="11" name="Group 10">
            <a:extLst>
              <a:ext uri="{FF2B5EF4-FFF2-40B4-BE49-F238E27FC236}">
                <a16:creationId xmlns:a16="http://schemas.microsoft.com/office/drawing/2014/main" id="{651489A3-DD10-44FD-9986-8AB7959BD216}"/>
              </a:ext>
            </a:extLst>
          </p:cNvPr>
          <p:cNvGrpSpPr/>
          <p:nvPr userDrawn="1"/>
        </p:nvGrpSpPr>
        <p:grpSpPr>
          <a:xfrm>
            <a:off x="327285" y="4823277"/>
            <a:ext cx="8494564" cy="71302"/>
            <a:chOff x="445128" y="6559056"/>
            <a:chExt cx="11553197" cy="96962"/>
          </a:xfrm>
        </p:grpSpPr>
        <p:sp>
          <p:nvSpPr>
            <p:cNvPr id="12" name="TextBox 11">
              <a:extLst>
                <a:ext uri="{FF2B5EF4-FFF2-40B4-BE49-F238E27FC236}">
                  <a16:creationId xmlns:a16="http://schemas.microsoft.com/office/drawing/2014/main" id="{57FA93B7-EB2D-43DF-9ADE-BBAF11C96106}"/>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13" name="Freeform: Shape 12">
              <a:extLst>
                <a:ext uri="{FF2B5EF4-FFF2-40B4-BE49-F238E27FC236}">
                  <a16:creationId xmlns:a16="http://schemas.microsoft.com/office/drawing/2014/main" id="{EB7E7DE8-E117-4547-956A-5A96D5B1E5F0}"/>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94126698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Photo layout">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4657208" y="0"/>
            <a:ext cx="4486793" cy="51435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47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319819" y="166937"/>
            <a:ext cx="4166975" cy="568517"/>
          </a:xfrm>
          <a:prstGeom prst="rect">
            <a:avLst/>
          </a:prstGeom>
        </p:spPr>
        <p:txBody>
          <a:bodyPr vert="horz" wrap="square" lIns="0" tIns="164592" rIns="0" bIns="0" rtlCol="0" anchor="t">
            <a:noAutofit/>
          </a:bodyPr>
          <a:lstStyle>
            <a:lvl1pPr>
              <a:defRPr/>
            </a:lvl1pPr>
          </a:lstStyle>
          <a:p>
            <a:r>
              <a:rPr lang="en-US"/>
              <a:t>Photo layout</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319818" y="847436"/>
            <a:ext cx="4166974" cy="1930132"/>
          </a:xfrm>
        </p:spPr>
        <p:txBody>
          <a:bodyPr wrap="square" lIns="0" tIns="0" rIns="0" bIns="0">
            <a:noAutofit/>
          </a:bodyPr>
          <a:lstStyle>
            <a:lvl1pPr marL="0" marR="0" indent="0" algn="l" defTabSz="685644" rtl="0" eaLnBrk="1" fontAlgn="auto" latinLnBrk="0" hangingPunct="1">
              <a:lnSpc>
                <a:spcPct val="90000"/>
              </a:lnSpc>
              <a:spcBef>
                <a:spcPts val="0"/>
              </a:spcBef>
              <a:spcAft>
                <a:spcPts val="1912"/>
              </a:spcAft>
              <a:buClrTx/>
              <a:buSzPct val="90000"/>
              <a:buFont typeface="Wingdings" panose="05000000000000000000" pitchFamily="2" charset="2"/>
              <a:buNone/>
              <a:tabLst/>
              <a:defRPr sz="2059" b="0" i="0">
                <a:solidFill>
                  <a:srgbClr val="000000"/>
                </a:solidFill>
                <a:latin typeface="+mn-lt"/>
              </a:defRPr>
            </a:lvl1pPr>
            <a:lvl2pPr marL="168041" marR="0" indent="0" algn="l" defTabSz="68564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336080" indent="0">
              <a:buNone/>
              <a:defRPr/>
            </a:lvl3pPr>
            <a:lvl4pPr marL="504121" indent="0">
              <a:buNone/>
              <a:defRPr/>
            </a:lvl4pPr>
            <a:lvl5pPr marL="672161" indent="0">
              <a:buNone/>
              <a:defRPr/>
            </a:lvl5pPr>
          </a:lstStyle>
          <a:p>
            <a:pPr lvl="0"/>
            <a:r>
              <a:rPr lang="pt-BR"/>
              <a:t>Subhead Segoe UI 28pt</a:t>
            </a:r>
          </a:p>
          <a:p>
            <a:pPr lvl="0"/>
            <a:r>
              <a:rPr lang="pt-BR"/>
              <a:t>Subhead Segoe UI 28pt</a:t>
            </a:r>
          </a:p>
          <a:p>
            <a:pPr lvl="0"/>
            <a:r>
              <a:rPr lang="pt-BR"/>
              <a:t>Subhead Segoe UI 28pt</a:t>
            </a:r>
          </a:p>
        </p:txBody>
      </p:sp>
      <p:grpSp>
        <p:nvGrpSpPr>
          <p:cNvPr id="7" name="Group 6">
            <a:extLst>
              <a:ext uri="{FF2B5EF4-FFF2-40B4-BE49-F238E27FC236}">
                <a16:creationId xmlns:a16="http://schemas.microsoft.com/office/drawing/2014/main" id="{50554184-0121-4D93-A92D-8254F04359E5}"/>
              </a:ext>
            </a:extLst>
          </p:cNvPr>
          <p:cNvGrpSpPr/>
          <p:nvPr userDrawn="1"/>
        </p:nvGrpSpPr>
        <p:grpSpPr>
          <a:xfrm>
            <a:off x="327285" y="4823277"/>
            <a:ext cx="8494564" cy="71302"/>
            <a:chOff x="445128" y="6559056"/>
            <a:chExt cx="11553197" cy="96962"/>
          </a:xfrm>
        </p:grpSpPr>
        <p:sp>
          <p:nvSpPr>
            <p:cNvPr id="8" name="TextBox 7">
              <a:extLst>
                <a:ext uri="{FF2B5EF4-FFF2-40B4-BE49-F238E27FC236}">
                  <a16:creationId xmlns:a16="http://schemas.microsoft.com/office/drawing/2014/main" id="{5D0B40D0-B633-4D61-B3DE-ECCE7632298F}"/>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9" name="Freeform: Shape 8">
              <a:extLst>
                <a:ext uri="{FF2B5EF4-FFF2-40B4-BE49-F238E27FC236}">
                  <a16:creationId xmlns:a16="http://schemas.microsoft.com/office/drawing/2014/main" id="{A50068B5-65EC-465E-BF0B-07A2D86F6A1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84726282"/>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180035"/>
            <a:ext cx="7772400" cy="1125140"/>
          </a:xfrm>
        </p:spPr>
        <p:txBody>
          <a:bodyPr anchor="b"/>
          <a:lstStyle>
            <a:lvl1pPr marL="0" indent="0">
              <a:buNone/>
              <a:defRPr sz="210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Title 3"/>
          <p:cNvSpPr>
            <a:spLocks noGrp="1"/>
          </p:cNvSpPr>
          <p:nvPr>
            <p:ph type="title"/>
          </p:nvPr>
        </p:nvSpPr>
        <p:spPr>
          <a:xfrm>
            <a:off x="685800" y="3371850"/>
            <a:ext cx="7772400" cy="571500"/>
          </a:xfrm>
        </p:spPr>
        <p:txBody>
          <a:bodyPr/>
          <a:lstStyle>
            <a:lvl1pPr algn="l">
              <a:defRPr>
                <a:solidFill>
                  <a:schemeClr val="tx1"/>
                </a:solidFill>
              </a:defRPr>
            </a:lvl1pPr>
          </a:lstStyle>
          <a:p>
            <a:r>
              <a:rPr lang="en-US" dirty="0"/>
              <a:t>Click to edit Master 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7" name="TextBox 6"/>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97423829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319819" y="884879"/>
            <a:ext cx="2724291" cy="1937860"/>
          </a:xfrm>
          <a:blipFill>
            <a:blip r:embed="rId2"/>
            <a:stretch>
              <a:fillRect/>
            </a:stretch>
          </a:blipFill>
        </p:spPr>
        <p:txBody>
          <a:bodyPr anchor="ctr">
            <a:noAutofit/>
          </a:bodyPr>
          <a:lstStyle>
            <a:lvl1pPr marL="0" indent="0" algn="ctr">
              <a:buNone/>
              <a:defRPr sz="1324"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3211023" y="884879"/>
            <a:ext cx="2717288" cy="1937860"/>
          </a:xfrm>
          <a:blipFill>
            <a:blip r:embed="rId3"/>
            <a:stretch>
              <a:fillRect/>
            </a:stretch>
          </a:blipFill>
        </p:spPr>
        <p:txBody>
          <a:bodyPr anchor="ctr">
            <a:noAutofit/>
          </a:bodyPr>
          <a:lstStyle>
            <a:lvl1pPr marL="0" indent="0" algn="ctr">
              <a:buNone/>
              <a:defRPr sz="1324"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6095223" y="884879"/>
            <a:ext cx="2725502" cy="1937861"/>
          </a:xfrm>
          <a:blipFill>
            <a:blip r:embed="rId4"/>
            <a:stretch>
              <a:fillRect/>
            </a:stretch>
          </a:blipFill>
        </p:spPr>
        <p:txBody>
          <a:bodyPr anchor="ctr">
            <a:noAutofit/>
          </a:bodyPr>
          <a:lstStyle>
            <a:lvl1pPr marL="0" indent="0" algn="ctr">
              <a:buNone/>
              <a:defRPr sz="1324"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319819" y="2989674"/>
            <a:ext cx="2722891" cy="859130"/>
          </a:xfrm>
        </p:spPr>
        <p:txBody>
          <a:bodyPr lIns="0" tIns="0" rIns="0" bIns="0"/>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9" name="Text Placeholder 4"/>
          <p:cNvSpPr>
            <a:spLocks noGrp="1"/>
          </p:cNvSpPr>
          <p:nvPr>
            <p:ph type="body" sz="quarter" idx="12" hasCustomPrompt="1"/>
          </p:nvPr>
        </p:nvSpPr>
        <p:spPr>
          <a:xfrm>
            <a:off x="3211021" y="2989674"/>
            <a:ext cx="2717288" cy="859130"/>
          </a:xfrm>
        </p:spPr>
        <p:txBody>
          <a:bodyPr lIns="0" tIns="0" rIns="0" bIns="0"/>
          <a:lstStyle>
            <a:lvl1pPr marL="0" indent="0">
              <a:lnSpc>
                <a:spcPct val="100000"/>
              </a:lnSpc>
              <a:spcBef>
                <a:spcPts val="0"/>
              </a:spcBef>
              <a:spcAft>
                <a:spcPts val="515"/>
              </a:spcAft>
              <a:buNone/>
              <a:defRPr lang="en-US" sz="1028" b="1" kern="1200" spc="0" baseline="0" dirty="0" smtClean="0">
                <a:solidFill>
                  <a:schemeClr val="tx2"/>
                </a:solidFill>
                <a:latin typeface="+mn-lt"/>
                <a:ea typeface="+mn-ea"/>
                <a:cs typeface="+mn-cs"/>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0" name="Text Placeholder 4"/>
          <p:cNvSpPr>
            <a:spLocks noGrp="1"/>
          </p:cNvSpPr>
          <p:nvPr>
            <p:ph type="body" sz="quarter" idx="13" hasCustomPrompt="1"/>
          </p:nvPr>
        </p:nvSpPr>
        <p:spPr>
          <a:xfrm>
            <a:off x="6095223" y="2989674"/>
            <a:ext cx="2722891" cy="859130"/>
          </a:xfrm>
        </p:spPr>
        <p:txBody>
          <a:bodyPr lIns="0" tIns="0" rIns="0" bIns="0"/>
          <a:lstStyle>
            <a:lvl1pPr marL="0" indent="0">
              <a:lnSpc>
                <a:spcPct val="100000"/>
              </a:lnSpc>
              <a:spcBef>
                <a:spcPts val="0"/>
              </a:spcBef>
              <a:spcAft>
                <a:spcPts val="515"/>
              </a:spcAft>
              <a:buNone/>
              <a:defRPr lang="en-US" sz="1028" b="1" kern="1200" spc="0" baseline="0" dirty="0">
                <a:solidFill>
                  <a:schemeClr val="tx2"/>
                </a:solidFill>
                <a:latin typeface="+mn-lt"/>
                <a:ea typeface="+mn-ea"/>
                <a:cs typeface="+mn-cs"/>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Paragraph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316084" y="166939"/>
            <a:ext cx="8502029" cy="554507"/>
          </a:xfrm>
          <a:prstGeom prst="rect">
            <a:avLst/>
          </a:prstGeom>
        </p:spPr>
        <p:txBody>
          <a:bodyPr vert="horz" wrap="square" lIns="0" tIns="164592" rIns="0" bIns="0" rtlCol="0" anchor="t">
            <a:noAutofit/>
          </a:bodyPr>
          <a:lstStyle>
            <a:lvl1pPr>
              <a:defRPr/>
            </a:lvl1pPr>
          </a:lstStyle>
          <a:p>
            <a:r>
              <a:rPr lang="en-US"/>
              <a:t>Three column photo layout</a:t>
            </a:r>
          </a:p>
        </p:txBody>
      </p:sp>
      <p:grpSp>
        <p:nvGrpSpPr>
          <p:cNvPr id="18" name="Group 17">
            <a:extLst>
              <a:ext uri="{FF2B5EF4-FFF2-40B4-BE49-F238E27FC236}">
                <a16:creationId xmlns:a16="http://schemas.microsoft.com/office/drawing/2014/main" id="{CCC9C6B4-9B54-4D0C-8B87-A0A4642CD206}"/>
              </a:ext>
            </a:extLst>
          </p:cNvPr>
          <p:cNvGrpSpPr/>
          <p:nvPr userDrawn="1"/>
        </p:nvGrpSpPr>
        <p:grpSpPr>
          <a:xfrm>
            <a:off x="327285" y="4823277"/>
            <a:ext cx="8494564" cy="71302"/>
            <a:chOff x="445128" y="6559056"/>
            <a:chExt cx="11553197" cy="96962"/>
          </a:xfrm>
        </p:grpSpPr>
        <p:sp>
          <p:nvSpPr>
            <p:cNvPr id="19" name="TextBox 18">
              <a:extLst>
                <a:ext uri="{FF2B5EF4-FFF2-40B4-BE49-F238E27FC236}">
                  <a16:creationId xmlns:a16="http://schemas.microsoft.com/office/drawing/2014/main" id="{40EF3F47-A607-4398-A1C3-1F89AAA510A5}"/>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20" name="Freeform: Shape 19">
              <a:extLst>
                <a:ext uri="{FF2B5EF4-FFF2-40B4-BE49-F238E27FC236}">
                  <a16:creationId xmlns:a16="http://schemas.microsoft.com/office/drawing/2014/main" id="{FE4C43B4-0FA2-4818-8D3B-FC12237FA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2627843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photo with bullet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319819" y="884879"/>
            <a:ext cx="2724291" cy="1937860"/>
          </a:xfrm>
          <a:blipFill>
            <a:blip r:embed="rId2"/>
            <a:stretch>
              <a:fillRect/>
            </a:stretch>
          </a:blipFill>
        </p:spPr>
        <p:txBody>
          <a:bodyPr anchor="ctr">
            <a:noAutofit/>
          </a:bodyPr>
          <a:lstStyle>
            <a:lvl1pPr marL="0" indent="0" algn="ctr">
              <a:buNone/>
              <a:defRPr sz="1324" b="1">
                <a:solidFill>
                  <a:schemeClr val="bg2"/>
                </a:solidFill>
                <a:latin typeface="+mn-lt"/>
              </a:defRPr>
            </a:lvl1pPr>
          </a:lstStyle>
          <a:p>
            <a:r>
              <a:rPr lang="en-US"/>
              <a:t>Drop photo here</a:t>
            </a:r>
          </a:p>
        </p:txBody>
      </p:sp>
      <p:sp>
        <p:nvSpPr>
          <p:cNvPr id="12" name="Picture Placeholder 10"/>
          <p:cNvSpPr>
            <a:spLocks noGrp="1"/>
          </p:cNvSpPr>
          <p:nvPr>
            <p:ph type="pic" sz="quarter" idx="15" hasCustomPrompt="1"/>
          </p:nvPr>
        </p:nvSpPr>
        <p:spPr>
          <a:xfrm>
            <a:off x="3211023" y="884879"/>
            <a:ext cx="2717288" cy="1937860"/>
          </a:xfrm>
          <a:blipFill>
            <a:blip r:embed="rId3"/>
            <a:stretch>
              <a:fillRect/>
            </a:stretch>
          </a:blipFill>
        </p:spPr>
        <p:txBody>
          <a:bodyPr anchor="ctr">
            <a:noAutofit/>
          </a:bodyPr>
          <a:lstStyle>
            <a:lvl1pPr marL="0" indent="0" algn="ctr">
              <a:buNone/>
              <a:defRPr sz="1324" b="1">
                <a:solidFill>
                  <a:schemeClr val="bg2"/>
                </a:solidFill>
                <a:latin typeface="+mn-lt"/>
              </a:defRPr>
            </a:lvl1pPr>
          </a:lstStyle>
          <a:p>
            <a:r>
              <a:rPr lang="en-US"/>
              <a:t>Drop photo here</a:t>
            </a:r>
          </a:p>
        </p:txBody>
      </p:sp>
      <p:sp>
        <p:nvSpPr>
          <p:cNvPr id="13" name="Picture Placeholder 10"/>
          <p:cNvSpPr>
            <a:spLocks noGrp="1"/>
          </p:cNvSpPr>
          <p:nvPr>
            <p:ph type="pic" sz="quarter" idx="16" hasCustomPrompt="1"/>
          </p:nvPr>
        </p:nvSpPr>
        <p:spPr>
          <a:xfrm>
            <a:off x="6095223" y="884879"/>
            <a:ext cx="2725502" cy="1937861"/>
          </a:xfrm>
          <a:blipFill>
            <a:blip r:embed="rId4"/>
            <a:stretch>
              <a:fillRect/>
            </a:stretch>
          </a:blipFill>
        </p:spPr>
        <p:txBody>
          <a:bodyPr anchor="ctr">
            <a:noAutofit/>
          </a:bodyPr>
          <a:lstStyle>
            <a:lvl1pPr marL="0" indent="0" algn="ctr">
              <a:buNone/>
              <a:defRPr sz="1324" b="1">
                <a:solidFill>
                  <a:schemeClr val="bg2"/>
                </a:solidFill>
                <a:latin typeface="+mn-lt"/>
              </a:defRPr>
            </a:lvl1pPr>
          </a:lstStyle>
          <a:p>
            <a:r>
              <a:rPr lang="en-US"/>
              <a:t>Drop photo here</a:t>
            </a:r>
          </a:p>
        </p:txBody>
      </p:sp>
      <p:sp>
        <p:nvSpPr>
          <p:cNvPr id="5" name="Text Placeholder 4"/>
          <p:cNvSpPr>
            <a:spLocks noGrp="1"/>
          </p:cNvSpPr>
          <p:nvPr>
            <p:ph type="body" sz="quarter" idx="11" hasCustomPrompt="1"/>
          </p:nvPr>
        </p:nvSpPr>
        <p:spPr>
          <a:xfrm>
            <a:off x="319819" y="2989676"/>
            <a:ext cx="2722891" cy="835421"/>
          </a:xfrm>
        </p:spPr>
        <p:txBody>
          <a:bodyPr lIns="0" tIns="0" rIns="0" bIns="0"/>
          <a:lstStyle>
            <a:lvl1pPr marL="0" indent="0">
              <a:lnSpc>
                <a:spcPct val="100000"/>
              </a:lnSpc>
              <a:spcBef>
                <a:spcPts val="0"/>
              </a:spcBef>
              <a:spcAft>
                <a:spcPts val="515"/>
              </a:spcAft>
              <a:buNone/>
              <a:defRPr sz="1028" b="1">
                <a:solidFill>
                  <a:schemeClr val="tx2"/>
                </a:solidFill>
                <a:latin typeface="+mn-lt"/>
              </a:defRPr>
            </a:lvl1pPr>
            <a:lvl2pPr marL="210050" marR="0" indent="-210050" algn="l" defTabSz="685644" rtl="0" eaLnBrk="1" fontAlgn="auto" latinLnBrk="0" hangingPunct="1">
              <a:lnSpc>
                <a:spcPct val="100000"/>
              </a:lnSpc>
              <a:spcBef>
                <a:spcPts val="0"/>
              </a:spcBef>
              <a:spcAft>
                <a:spcPts val="515"/>
              </a:spcAft>
              <a:buClrTx/>
              <a:buSzPct val="90000"/>
              <a:buFont typeface="Arial" panose="020B0604020202020204" pitchFamily="34" charset="0"/>
              <a:buChar char="•"/>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9" name="Text Placeholder 4"/>
          <p:cNvSpPr>
            <a:spLocks noGrp="1"/>
          </p:cNvSpPr>
          <p:nvPr>
            <p:ph type="body" sz="quarter" idx="12" hasCustomPrompt="1"/>
          </p:nvPr>
        </p:nvSpPr>
        <p:spPr>
          <a:xfrm>
            <a:off x="3211021" y="2989676"/>
            <a:ext cx="2717288" cy="835421"/>
          </a:xfrm>
        </p:spPr>
        <p:txBody>
          <a:bodyPr lIns="0" tIns="0" rIns="0" bIns="0"/>
          <a:lstStyle>
            <a:lvl1pPr marL="0" indent="0">
              <a:lnSpc>
                <a:spcPct val="100000"/>
              </a:lnSpc>
              <a:spcBef>
                <a:spcPts val="0"/>
              </a:spcBef>
              <a:spcAft>
                <a:spcPts val="515"/>
              </a:spcAft>
              <a:buNone/>
              <a:defRPr lang="en-US" sz="1028" b="1" kern="1200" spc="0" baseline="0" dirty="0" smtClean="0">
                <a:solidFill>
                  <a:schemeClr val="tx2"/>
                </a:solidFill>
                <a:latin typeface="+mn-lt"/>
                <a:ea typeface="+mn-ea"/>
                <a:cs typeface="+mn-cs"/>
              </a:defRPr>
            </a:lvl1pPr>
            <a:lvl2pPr marL="210050" marR="0" indent="-210050" algn="l" defTabSz="685644" rtl="0" eaLnBrk="1" fontAlgn="auto" latinLnBrk="0" hangingPunct="1">
              <a:lnSpc>
                <a:spcPct val="100000"/>
              </a:lnSpc>
              <a:spcBef>
                <a:spcPts val="0"/>
              </a:spcBef>
              <a:spcAft>
                <a:spcPts val="515"/>
              </a:spcAft>
              <a:buClrTx/>
              <a:buSzPct val="90000"/>
              <a:buFont typeface="Arial" panose="020B0604020202020204" pitchFamily="34" charset="0"/>
              <a:buChar char="•"/>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0" name="Text Placeholder 4"/>
          <p:cNvSpPr>
            <a:spLocks noGrp="1"/>
          </p:cNvSpPr>
          <p:nvPr>
            <p:ph type="body" sz="quarter" idx="13" hasCustomPrompt="1"/>
          </p:nvPr>
        </p:nvSpPr>
        <p:spPr>
          <a:xfrm>
            <a:off x="6095223" y="2989676"/>
            <a:ext cx="2722891" cy="835421"/>
          </a:xfrm>
        </p:spPr>
        <p:txBody>
          <a:bodyPr lIns="0" tIns="0" rIns="0" bIns="0"/>
          <a:lstStyle>
            <a:lvl1pPr marL="0" indent="0">
              <a:lnSpc>
                <a:spcPct val="100000"/>
              </a:lnSpc>
              <a:spcBef>
                <a:spcPts val="0"/>
              </a:spcBef>
              <a:spcAft>
                <a:spcPts val="515"/>
              </a:spcAft>
              <a:buNone/>
              <a:defRPr lang="en-US" sz="1028" b="1" kern="1200" spc="0" baseline="0" dirty="0">
                <a:solidFill>
                  <a:schemeClr val="tx2"/>
                </a:solidFill>
                <a:latin typeface="+mn-lt"/>
                <a:ea typeface="+mn-ea"/>
                <a:cs typeface="+mn-cs"/>
              </a:defRPr>
            </a:lvl1pPr>
            <a:lvl2pPr marL="210050" marR="0" indent="-210050" algn="l" defTabSz="685644" rtl="0" eaLnBrk="1" fontAlgn="auto" latinLnBrk="0" hangingPunct="1">
              <a:lnSpc>
                <a:spcPct val="100000"/>
              </a:lnSpc>
              <a:spcBef>
                <a:spcPts val="0"/>
              </a:spcBef>
              <a:spcAft>
                <a:spcPts val="515"/>
              </a:spcAft>
              <a:buClrTx/>
              <a:buSzPct val="90000"/>
              <a:buFont typeface="Arial" panose="020B0604020202020204" pitchFamily="34" charset="0"/>
              <a:buChar char="•"/>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lvl="1"/>
            <a:r>
              <a:rPr lang="en-US"/>
              <a:t>Body copy Segoe Regular 14. </a:t>
            </a:r>
          </a:p>
          <a:p>
            <a:pPr lvl="1"/>
            <a:r>
              <a:rPr lang="en-US"/>
              <a:t>Lorem ipsum dolor sit </a:t>
            </a:r>
            <a:r>
              <a:rPr lang="en-US" err="1"/>
              <a:t>amet</a:t>
            </a:r>
            <a:r>
              <a:rPr lang="en-US"/>
              <a:t>, </a:t>
            </a:r>
            <a:r>
              <a:rPr lang="en-US" err="1"/>
              <a:t>consectetur</a:t>
            </a:r>
            <a:endParaRPr lang="en-US"/>
          </a:p>
          <a:p>
            <a:pPr lvl="1"/>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319819" y="166939"/>
            <a:ext cx="8502029" cy="554507"/>
          </a:xfrm>
          <a:prstGeom prst="rect">
            <a:avLst/>
          </a:prstGeom>
        </p:spPr>
        <p:txBody>
          <a:bodyPr vert="horz" wrap="square" lIns="0" tIns="164592" rIns="0" bIns="0" rtlCol="0" anchor="t">
            <a:noAutofit/>
          </a:bodyPr>
          <a:lstStyle>
            <a:lvl1pPr>
              <a:defRPr/>
            </a:lvl1pPr>
          </a:lstStyle>
          <a:p>
            <a:r>
              <a:rPr lang="en-US"/>
              <a:t>Three column photo layout (with bullets)</a:t>
            </a:r>
          </a:p>
        </p:txBody>
      </p:sp>
      <p:grpSp>
        <p:nvGrpSpPr>
          <p:cNvPr id="18" name="Group 17">
            <a:extLst>
              <a:ext uri="{FF2B5EF4-FFF2-40B4-BE49-F238E27FC236}">
                <a16:creationId xmlns:a16="http://schemas.microsoft.com/office/drawing/2014/main" id="{5815438F-A144-457D-89C1-1917055B3598}"/>
              </a:ext>
            </a:extLst>
          </p:cNvPr>
          <p:cNvGrpSpPr/>
          <p:nvPr userDrawn="1"/>
        </p:nvGrpSpPr>
        <p:grpSpPr>
          <a:xfrm>
            <a:off x="327285" y="4823277"/>
            <a:ext cx="8494564" cy="71302"/>
            <a:chOff x="445128" y="6559056"/>
            <a:chExt cx="11553197" cy="96962"/>
          </a:xfrm>
        </p:grpSpPr>
        <p:sp>
          <p:nvSpPr>
            <p:cNvPr id="19" name="TextBox 18">
              <a:extLst>
                <a:ext uri="{FF2B5EF4-FFF2-40B4-BE49-F238E27FC236}">
                  <a16:creationId xmlns:a16="http://schemas.microsoft.com/office/drawing/2014/main" id="{2368DB57-6EA9-4E0A-A39F-6275C3C0DEBF}"/>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20" name="Freeform: Shape 19">
              <a:extLst>
                <a:ext uri="{FF2B5EF4-FFF2-40B4-BE49-F238E27FC236}">
                  <a16:creationId xmlns:a16="http://schemas.microsoft.com/office/drawing/2014/main" id="{3D05540E-A25B-47D6-9815-472E0476BCE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3592493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ix column text">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319820" y="854060"/>
            <a:ext cx="1282775" cy="3076179"/>
          </a:xfrm>
        </p:spPr>
        <p:txBody>
          <a:bodyPr lIns="0" tIns="0" rIns="0" bIns="0"/>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319819" y="165538"/>
            <a:ext cx="8502029" cy="554507"/>
          </a:xfrm>
          <a:prstGeom prst="rect">
            <a:avLst/>
          </a:prstGeom>
        </p:spPr>
        <p:txBody>
          <a:bodyPr vert="horz" wrap="square" lIns="0" tIns="164592" rIns="0" bIns="0" rtlCol="0" anchor="t">
            <a:noAutofit/>
          </a:bodyPr>
          <a:lstStyle>
            <a:lvl1pPr>
              <a:defRPr/>
            </a:lvl1pPr>
          </a:lstStyle>
          <a:p>
            <a:r>
              <a:rPr lang="en-US"/>
              <a:t>Six column text layout</a:t>
            </a:r>
          </a:p>
        </p:txBody>
      </p:sp>
      <p:sp>
        <p:nvSpPr>
          <p:cNvPr id="15" name="Text Placeholder 4">
            <a:extLst>
              <a:ext uri="{FF2B5EF4-FFF2-40B4-BE49-F238E27FC236}">
                <a16:creationId xmlns:a16="http://schemas.microsoft.com/office/drawing/2014/main" id="{6536D72C-EFB8-4AA4-B6E9-DA9E98009337}"/>
              </a:ext>
            </a:extLst>
          </p:cNvPr>
          <p:cNvSpPr>
            <a:spLocks noGrp="1"/>
          </p:cNvSpPr>
          <p:nvPr>
            <p:ph type="body" sz="quarter" idx="12" hasCustomPrompt="1"/>
          </p:nvPr>
        </p:nvSpPr>
        <p:spPr>
          <a:xfrm>
            <a:off x="1763406" y="854060"/>
            <a:ext cx="1282775" cy="3076179"/>
          </a:xfrm>
        </p:spPr>
        <p:txBody>
          <a:bodyPr lIns="0" tIns="0" rIns="0" bIns="0"/>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6" name="Text Placeholder 4">
            <a:extLst>
              <a:ext uri="{FF2B5EF4-FFF2-40B4-BE49-F238E27FC236}">
                <a16:creationId xmlns:a16="http://schemas.microsoft.com/office/drawing/2014/main" id="{2C33CBA9-CFB9-46AA-8083-B5F0592E5B24}"/>
              </a:ext>
            </a:extLst>
          </p:cNvPr>
          <p:cNvSpPr>
            <a:spLocks noGrp="1"/>
          </p:cNvSpPr>
          <p:nvPr>
            <p:ph type="body" sz="quarter" idx="13" hasCustomPrompt="1"/>
          </p:nvPr>
        </p:nvSpPr>
        <p:spPr>
          <a:xfrm>
            <a:off x="3206991" y="854060"/>
            <a:ext cx="1282775" cy="3076179"/>
          </a:xfrm>
        </p:spPr>
        <p:txBody>
          <a:bodyPr lIns="0" tIns="0" rIns="0" bIns="0"/>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7" name="Text Placeholder 4">
            <a:extLst>
              <a:ext uri="{FF2B5EF4-FFF2-40B4-BE49-F238E27FC236}">
                <a16:creationId xmlns:a16="http://schemas.microsoft.com/office/drawing/2014/main" id="{7174EC55-6C81-4FBC-A5EF-0BD1F76D4563}"/>
              </a:ext>
            </a:extLst>
          </p:cNvPr>
          <p:cNvSpPr>
            <a:spLocks noGrp="1"/>
          </p:cNvSpPr>
          <p:nvPr>
            <p:ph type="body" sz="quarter" idx="14" hasCustomPrompt="1"/>
          </p:nvPr>
        </p:nvSpPr>
        <p:spPr>
          <a:xfrm>
            <a:off x="4650577" y="854060"/>
            <a:ext cx="1282775" cy="3076179"/>
          </a:xfrm>
        </p:spPr>
        <p:txBody>
          <a:bodyPr lIns="0" tIns="0" rIns="0" bIns="0"/>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8" name="Text Placeholder 4">
            <a:extLst>
              <a:ext uri="{FF2B5EF4-FFF2-40B4-BE49-F238E27FC236}">
                <a16:creationId xmlns:a16="http://schemas.microsoft.com/office/drawing/2014/main" id="{5E1BEB93-4ED4-4262-A137-E9EF68ABBFB6}"/>
              </a:ext>
            </a:extLst>
          </p:cNvPr>
          <p:cNvSpPr>
            <a:spLocks noGrp="1"/>
          </p:cNvSpPr>
          <p:nvPr>
            <p:ph type="body" sz="quarter" idx="15" hasCustomPrompt="1"/>
          </p:nvPr>
        </p:nvSpPr>
        <p:spPr>
          <a:xfrm>
            <a:off x="6094163" y="854060"/>
            <a:ext cx="1282775" cy="3076179"/>
          </a:xfrm>
        </p:spPr>
        <p:txBody>
          <a:bodyPr lIns="0" tIns="0" rIns="0" bIns="0"/>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p>
        </p:txBody>
      </p:sp>
      <p:sp>
        <p:nvSpPr>
          <p:cNvPr id="19" name="Text Placeholder 4">
            <a:extLst>
              <a:ext uri="{FF2B5EF4-FFF2-40B4-BE49-F238E27FC236}">
                <a16:creationId xmlns:a16="http://schemas.microsoft.com/office/drawing/2014/main" id="{45067E8C-7901-4F06-A33F-B8EFCB540A49}"/>
              </a:ext>
            </a:extLst>
          </p:cNvPr>
          <p:cNvSpPr>
            <a:spLocks noGrp="1"/>
          </p:cNvSpPr>
          <p:nvPr>
            <p:ph type="body" sz="quarter" idx="16" hasCustomPrompt="1"/>
          </p:nvPr>
        </p:nvSpPr>
        <p:spPr>
          <a:xfrm>
            <a:off x="7537750" y="854060"/>
            <a:ext cx="1282775" cy="3076179"/>
          </a:xfrm>
        </p:spPr>
        <p:txBody>
          <a:bodyPr lIns="0" tIns="0" rIns="0" bIns="0"/>
          <a:lstStyle>
            <a:lvl1pPr marL="0" indent="0">
              <a:lnSpc>
                <a:spcPct val="100000"/>
              </a:lnSpc>
              <a:spcBef>
                <a:spcPts val="0"/>
              </a:spcBef>
              <a:spcAft>
                <a:spcPts val="515"/>
              </a:spcAft>
              <a:buNone/>
              <a:defRPr sz="1028" b="1">
                <a:solidFill>
                  <a:schemeClr val="tx2"/>
                </a:solidFill>
                <a:latin typeface="+mn-lt"/>
              </a:defRPr>
            </a:lvl1pPr>
            <a:lvl2pPr marL="0" marR="0" indent="0" algn="l" defTabSz="685644" rtl="0" eaLnBrk="1" fontAlgn="auto" latinLnBrk="0" hangingPunct="1">
              <a:lnSpc>
                <a:spcPct val="100000"/>
              </a:lnSpc>
              <a:spcBef>
                <a:spcPts val="0"/>
              </a:spcBef>
              <a:spcAft>
                <a:spcPts val="515"/>
              </a:spcAft>
              <a:buClrTx/>
              <a:buSzPct val="90000"/>
              <a:buFont typeface="Arial" panose="020B0604020202020204" pitchFamily="34" charset="0"/>
              <a:buNone/>
              <a:tabLst/>
              <a:defRPr sz="1028">
                <a:solidFill>
                  <a:srgbClr val="000000"/>
                </a:solidFill>
              </a:defRPr>
            </a:lvl2pPr>
            <a:lvl3pPr marL="336080" indent="0">
              <a:buNone/>
              <a:defRPr/>
            </a:lvl3pPr>
            <a:lvl4pPr marL="504121" indent="0">
              <a:buNone/>
              <a:defRPr/>
            </a:lvl4pPr>
            <a:lvl5pPr marL="672161" indent="0">
              <a:buNone/>
              <a:defRPr/>
            </a:lvl5pPr>
          </a:lstStyle>
          <a:p>
            <a:pPr lvl="0"/>
            <a:r>
              <a:rPr lang="en-US"/>
              <a:t>Subhead title Segoe UI Regular bold 14</a:t>
            </a:r>
          </a:p>
          <a:p>
            <a:pPr lvl="1"/>
            <a:r>
              <a:rPr lang="en-US"/>
              <a:t>Body copy Segoe Regular 14.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ed</a:t>
            </a: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r>
              <a:rPr lang="en-US" err="1"/>
              <a:t>Ut</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a:t>
            </a:r>
          </a:p>
        </p:txBody>
      </p:sp>
      <p:grpSp>
        <p:nvGrpSpPr>
          <p:cNvPr id="12" name="Group 11">
            <a:extLst>
              <a:ext uri="{FF2B5EF4-FFF2-40B4-BE49-F238E27FC236}">
                <a16:creationId xmlns:a16="http://schemas.microsoft.com/office/drawing/2014/main" id="{B1242B85-5464-438E-BC49-E2C787DACC5E}"/>
              </a:ext>
            </a:extLst>
          </p:cNvPr>
          <p:cNvGrpSpPr/>
          <p:nvPr userDrawn="1"/>
        </p:nvGrpSpPr>
        <p:grpSpPr>
          <a:xfrm>
            <a:off x="327285" y="4823277"/>
            <a:ext cx="8494564" cy="71302"/>
            <a:chOff x="445128" y="6559056"/>
            <a:chExt cx="11553197" cy="96962"/>
          </a:xfrm>
        </p:grpSpPr>
        <p:sp>
          <p:nvSpPr>
            <p:cNvPr id="13" name="TextBox 12">
              <a:extLst>
                <a:ext uri="{FF2B5EF4-FFF2-40B4-BE49-F238E27FC236}">
                  <a16:creationId xmlns:a16="http://schemas.microsoft.com/office/drawing/2014/main" id="{47CC4F51-1744-4347-928B-9C2EBD93C355}"/>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20" name="Freeform: Shape 19">
              <a:extLst>
                <a:ext uri="{FF2B5EF4-FFF2-40B4-BE49-F238E27FC236}">
                  <a16:creationId xmlns:a16="http://schemas.microsoft.com/office/drawing/2014/main" id="{969FE803-4A39-4DD0-A534-2853E80251CA}"/>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415630136"/>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4486794" y="884879"/>
            <a:ext cx="4335055" cy="2817345"/>
          </a:xfrm>
        </p:spPr>
        <p:txBody>
          <a:bodyPr anchor="ctr">
            <a:noAutofit/>
          </a:bodyPr>
          <a:lstStyle>
            <a:lvl1pPr algn="ctr">
              <a:defRPr sz="1324" b="1">
                <a:latin typeface="+mn-lt"/>
              </a:defRPr>
            </a:lvl1pPr>
          </a:lstStyle>
          <a:p>
            <a:r>
              <a:rPr lang="en-US"/>
              <a:t>Drop photo here</a:t>
            </a:r>
          </a:p>
        </p:txBody>
      </p:sp>
      <p:sp>
        <p:nvSpPr>
          <p:cNvPr id="4" name="Text Placeholder 3"/>
          <p:cNvSpPr>
            <a:spLocks noGrp="1"/>
          </p:cNvSpPr>
          <p:nvPr>
            <p:ph type="body" sz="quarter" idx="10" hasCustomPrompt="1"/>
          </p:nvPr>
        </p:nvSpPr>
        <p:spPr>
          <a:xfrm>
            <a:off x="319819" y="858642"/>
            <a:ext cx="3853631" cy="1930132"/>
          </a:xfrm>
        </p:spPr>
        <p:txBody>
          <a:bodyPr wrap="square" lIns="0" tIns="0" rIns="0" bIns="0">
            <a:noAutofit/>
          </a:bodyPr>
          <a:lstStyle>
            <a:lvl1pPr marL="0" marR="0" indent="0" algn="l" defTabSz="685644" rtl="0" eaLnBrk="1" fontAlgn="auto" latinLnBrk="0" hangingPunct="1">
              <a:lnSpc>
                <a:spcPct val="90000"/>
              </a:lnSpc>
              <a:spcBef>
                <a:spcPts val="0"/>
              </a:spcBef>
              <a:spcAft>
                <a:spcPts val="1912"/>
              </a:spcAft>
              <a:buClrTx/>
              <a:buSzPct val="90000"/>
              <a:buFont typeface="Wingdings" panose="05000000000000000000" pitchFamily="2" charset="2"/>
              <a:buNone/>
              <a:tabLst/>
              <a:defRPr sz="2059" b="0" i="0">
                <a:solidFill>
                  <a:srgbClr val="000000"/>
                </a:solidFill>
                <a:latin typeface="+mn-lt"/>
              </a:defRPr>
            </a:lvl1pPr>
            <a:lvl2pPr marL="168041" marR="0" indent="0" algn="l" defTabSz="685644"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336080" indent="0">
              <a:buNone/>
              <a:defRPr/>
            </a:lvl3pPr>
            <a:lvl4pPr marL="504121" indent="0">
              <a:buNone/>
              <a:defRPr/>
            </a:lvl4pPr>
            <a:lvl5pPr marL="672161" indent="0">
              <a:buNone/>
              <a:defRPr/>
            </a:lvl5pPr>
          </a:lstStyle>
          <a:p>
            <a:pPr lvl="0"/>
            <a:r>
              <a:rPr lang="pt-BR"/>
              <a:t>Subhead Segoe UI 28pt</a:t>
            </a:r>
          </a:p>
          <a:p>
            <a:pPr lvl="0"/>
            <a:r>
              <a:rPr lang="pt-BR"/>
              <a:t>Subhead Segoe UI 28pt</a:t>
            </a:r>
          </a:p>
          <a:p>
            <a:pPr lvl="0"/>
            <a:r>
              <a:rPr lang="pt-BR"/>
              <a:t>Subhead Segoe UI 28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319819" y="166939"/>
            <a:ext cx="8502029" cy="554507"/>
          </a:xfrm>
          <a:prstGeom prst="rect">
            <a:avLst/>
          </a:prstGeom>
        </p:spPr>
        <p:txBody>
          <a:bodyPr vert="horz" wrap="square" lIns="0" tIns="164592" rIns="0" bIns="0" rtlCol="0" anchor="t">
            <a:noAutofit/>
          </a:bodyPr>
          <a:lstStyle>
            <a:lvl1pPr>
              <a:defRPr>
                <a:solidFill>
                  <a:schemeClr val="tx2"/>
                </a:solidFill>
              </a:defRPr>
            </a:lvl1pPr>
          </a:lstStyle>
          <a:p>
            <a:r>
              <a:rPr lang="en-US"/>
              <a:t>Device layout</a:t>
            </a:r>
          </a:p>
        </p:txBody>
      </p:sp>
      <p:grpSp>
        <p:nvGrpSpPr>
          <p:cNvPr id="5" name="Group 4">
            <a:extLst>
              <a:ext uri="{FF2B5EF4-FFF2-40B4-BE49-F238E27FC236}">
                <a16:creationId xmlns:a16="http://schemas.microsoft.com/office/drawing/2014/main" id="{5552388F-EBC5-45C4-93C9-67EC7FB5FE00}"/>
              </a:ext>
            </a:extLst>
          </p:cNvPr>
          <p:cNvGrpSpPr/>
          <p:nvPr userDrawn="1"/>
        </p:nvGrpSpPr>
        <p:grpSpPr>
          <a:xfrm>
            <a:off x="327285" y="4823277"/>
            <a:ext cx="8494564" cy="71302"/>
            <a:chOff x="445128" y="6559056"/>
            <a:chExt cx="11553197" cy="96962"/>
          </a:xfrm>
        </p:grpSpPr>
        <p:sp>
          <p:nvSpPr>
            <p:cNvPr id="7" name="TextBox 6">
              <a:extLst>
                <a:ext uri="{FF2B5EF4-FFF2-40B4-BE49-F238E27FC236}">
                  <a16:creationId xmlns:a16="http://schemas.microsoft.com/office/drawing/2014/main" id="{AD3DAC5C-9A56-4D9E-8AF6-312FD34F3FC9}"/>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8" name="Freeform: Shape 7">
              <a:extLst>
                <a:ext uri="{FF2B5EF4-FFF2-40B4-BE49-F238E27FC236}">
                  <a16:creationId xmlns:a16="http://schemas.microsoft.com/office/drawing/2014/main" id="{934989FB-53EF-4244-9C95-66A026C7BD5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00478981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319819" y="884878"/>
            <a:ext cx="8502029" cy="3721406"/>
          </a:xfrm>
        </p:spPr>
        <p:txBody>
          <a:bodyPr bIns="1737360" anchor="ctr">
            <a:noAutofit/>
          </a:bodyPr>
          <a:lstStyle>
            <a:lvl1pPr algn="ctr">
              <a:defRPr sz="1324" b="1">
                <a:solidFill>
                  <a:srgbClr val="000000"/>
                </a:solidFill>
                <a:latin typeface="+mn-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319819" y="166939"/>
            <a:ext cx="8502029" cy="554507"/>
          </a:xfrm>
          <a:prstGeom prst="rect">
            <a:avLst/>
          </a:prstGeom>
        </p:spPr>
        <p:txBody>
          <a:bodyPr vert="horz" wrap="square" lIns="0" tIns="164592" rIns="0" bIns="0" rtlCol="0" anchor="t">
            <a:noAutofit/>
          </a:bodyPr>
          <a:lstStyle>
            <a:lvl1pPr>
              <a:defRPr>
                <a:solidFill>
                  <a:schemeClr val="tx2"/>
                </a:solidFill>
              </a:defRPr>
            </a:lvl1pPr>
          </a:lstStyle>
          <a:p>
            <a:r>
              <a:rPr lang="en-US"/>
              <a:t>Table layout</a:t>
            </a:r>
          </a:p>
        </p:txBody>
      </p:sp>
      <p:grpSp>
        <p:nvGrpSpPr>
          <p:cNvPr id="6" name="Group 5">
            <a:extLst>
              <a:ext uri="{FF2B5EF4-FFF2-40B4-BE49-F238E27FC236}">
                <a16:creationId xmlns:a16="http://schemas.microsoft.com/office/drawing/2014/main" id="{FEE39BF9-0F1F-4C98-A975-A8B02B5F566A}"/>
              </a:ext>
            </a:extLst>
          </p:cNvPr>
          <p:cNvGrpSpPr/>
          <p:nvPr userDrawn="1"/>
        </p:nvGrpSpPr>
        <p:grpSpPr>
          <a:xfrm>
            <a:off x="327285" y="4823277"/>
            <a:ext cx="8494564" cy="71302"/>
            <a:chOff x="445128" y="6559056"/>
            <a:chExt cx="11553197" cy="96962"/>
          </a:xfrm>
        </p:grpSpPr>
        <p:sp>
          <p:nvSpPr>
            <p:cNvPr id="7" name="TextBox 6">
              <a:extLst>
                <a:ext uri="{FF2B5EF4-FFF2-40B4-BE49-F238E27FC236}">
                  <a16:creationId xmlns:a16="http://schemas.microsoft.com/office/drawing/2014/main" id="{3F5EE471-B5D1-430F-A19C-C02BBEF33103}"/>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8" name="Freeform: Shape 7">
              <a:extLst>
                <a:ext uri="{FF2B5EF4-FFF2-40B4-BE49-F238E27FC236}">
                  <a16:creationId xmlns:a16="http://schemas.microsoft.com/office/drawing/2014/main" id="{A5BBDCEA-9E1B-4AA4-A1F7-76CA781FB5E2}"/>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8203951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light gray">
    <p:bg>
      <p:bgPr>
        <a:solidFill>
          <a:schemeClr val="bg1">
            <a:lumMod val="95000"/>
          </a:schemeClr>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319819" y="888240"/>
            <a:ext cx="5608492" cy="2651274"/>
          </a:xfrm>
          <a:noFill/>
        </p:spPr>
        <p:txBody>
          <a:bodyPr vert="horz" wrap="square" lIns="0" tIns="0" rIns="0" bIns="0" rtlCol="0" anchor="t" anchorCtr="0">
            <a:noAutofit/>
          </a:bodyPr>
          <a:lstStyle>
            <a:lvl1pPr>
              <a:lnSpc>
                <a:spcPct val="90000"/>
              </a:lnSpc>
              <a:defRPr lang="en-US" sz="3970" spc="-110" dirty="0">
                <a:solidFill>
                  <a:schemeClr val="tx1"/>
                </a:solidFill>
                <a:latin typeface="+mj-lt"/>
              </a:defRPr>
            </a:lvl1pPr>
          </a:lstStyle>
          <a:p>
            <a:pPr marL="0" lvl="0">
              <a:lnSpc>
                <a:spcPts val="4117"/>
              </a:lnSpc>
            </a:pPr>
            <a:r>
              <a:rPr lang="en-US"/>
              <a:t>Section title</a:t>
            </a:r>
          </a:p>
        </p:txBody>
      </p:sp>
      <p:grpSp>
        <p:nvGrpSpPr>
          <p:cNvPr id="6" name="Group 5">
            <a:extLst>
              <a:ext uri="{FF2B5EF4-FFF2-40B4-BE49-F238E27FC236}">
                <a16:creationId xmlns:a16="http://schemas.microsoft.com/office/drawing/2014/main" id="{B7A4B0E3-3622-4031-99D8-5297F3444C51}"/>
              </a:ext>
            </a:extLst>
          </p:cNvPr>
          <p:cNvGrpSpPr/>
          <p:nvPr userDrawn="1"/>
        </p:nvGrpSpPr>
        <p:grpSpPr>
          <a:xfrm>
            <a:off x="327285" y="4823277"/>
            <a:ext cx="8494564" cy="71302"/>
            <a:chOff x="445128" y="6559056"/>
            <a:chExt cx="11553197" cy="96962"/>
          </a:xfrm>
        </p:grpSpPr>
        <p:sp>
          <p:nvSpPr>
            <p:cNvPr id="7" name="TextBox 6">
              <a:extLst>
                <a:ext uri="{FF2B5EF4-FFF2-40B4-BE49-F238E27FC236}">
                  <a16:creationId xmlns:a16="http://schemas.microsoft.com/office/drawing/2014/main" id="{B078EF51-FF7D-4AF0-A0D8-5E7897E42042}"/>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8" name="Freeform: Shape 7">
              <a:extLst>
                <a:ext uri="{FF2B5EF4-FFF2-40B4-BE49-F238E27FC236}">
                  <a16:creationId xmlns:a16="http://schemas.microsoft.com/office/drawing/2014/main" id="{9EEE5920-1AA1-47AD-AA2A-1027EA1027F4}"/>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20195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319819" y="888240"/>
            <a:ext cx="5608492" cy="2651274"/>
          </a:xfrm>
          <a:noFill/>
        </p:spPr>
        <p:txBody>
          <a:bodyPr vert="horz" wrap="square" lIns="0" tIns="0" rIns="0" bIns="0" rtlCol="0" anchor="t" anchorCtr="0">
            <a:noAutofit/>
          </a:bodyPr>
          <a:lstStyle>
            <a:lvl1pPr>
              <a:lnSpc>
                <a:spcPct val="90000"/>
              </a:lnSpc>
              <a:defRPr lang="en-US" sz="3970" b="0" kern="1200" cap="none" spc="-110" baseline="0" dirty="0">
                <a:ln w="3175">
                  <a:noFill/>
                </a:ln>
                <a:solidFill>
                  <a:schemeClr val="tx1"/>
                </a:solidFill>
                <a:effectLst/>
                <a:latin typeface="+mj-lt"/>
                <a:ea typeface="+mn-ea"/>
                <a:cs typeface="Segoe UI" pitchFamily="34" charset="0"/>
              </a:defRPr>
            </a:lvl1pPr>
          </a:lstStyle>
          <a:p>
            <a:pPr marL="0" lvl="0" algn="l" defTabSz="685644" rtl="0" eaLnBrk="1" latinLnBrk="0" hangingPunct="1">
              <a:lnSpc>
                <a:spcPts val="4117"/>
              </a:lnSpc>
              <a:spcBef>
                <a:spcPct val="0"/>
              </a:spcBef>
              <a:buNone/>
            </a:pPr>
            <a:r>
              <a:rPr lang="en-US"/>
              <a:t>Section title</a:t>
            </a:r>
          </a:p>
        </p:txBody>
      </p:sp>
      <p:grpSp>
        <p:nvGrpSpPr>
          <p:cNvPr id="6" name="Group 5">
            <a:extLst>
              <a:ext uri="{FF2B5EF4-FFF2-40B4-BE49-F238E27FC236}">
                <a16:creationId xmlns:a16="http://schemas.microsoft.com/office/drawing/2014/main" id="{C9360E70-26C3-491B-876D-D6CA248B1D14}"/>
              </a:ext>
            </a:extLst>
          </p:cNvPr>
          <p:cNvGrpSpPr/>
          <p:nvPr userDrawn="1"/>
        </p:nvGrpSpPr>
        <p:grpSpPr>
          <a:xfrm>
            <a:off x="327285" y="4823277"/>
            <a:ext cx="8494564" cy="71302"/>
            <a:chOff x="445128" y="6559056"/>
            <a:chExt cx="11553197" cy="96962"/>
          </a:xfrm>
        </p:grpSpPr>
        <p:sp>
          <p:nvSpPr>
            <p:cNvPr id="7" name="TextBox 6">
              <a:extLst>
                <a:ext uri="{FF2B5EF4-FFF2-40B4-BE49-F238E27FC236}">
                  <a16:creationId xmlns:a16="http://schemas.microsoft.com/office/drawing/2014/main" id="{C1AF0965-A0E8-49A1-B8BF-778086ADF37B}"/>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8" name="Freeform: Shape 7">
              <a:extLst>
                <a:ext uri="{FF2B5EF4-FFF2-40B4-BE49-F238E27FC236}">
                  <a16:creationId xmlns:a16="http://schemas.microsoft.com/office/drawing/2014/main" id="{271CC4C2-FC7A-4AE9-9B5E-C49482524E25}"/>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0427328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bg2"/>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319819" y="888240"/>
            <a:ext cx="5608492" cy="2651274"/>
          </a:xfrm>
          <a:noFill/>
        </p:spPr>
        <p:txBody>
          <a:bodyPr vert="horz" wrap="square" lIns="0" tIns="0" rIns="0" bIns="0" rtlCol="0" anchor="t" anchorCtr="0">
            <a:noAutofit/>
          </a:bodyPr>
          <a:lstStyle>
            <a:lvl1pPr>
              <a:lnSpc>
                <a:spcPct val="90000"/>
              </a:lnSpc>
              <a:defRPr lang="en-US" sz="3970" b="0" kern="1200" cap="none" spc="-110" baseline="0" dirty="0">
                <a:ln w="3175">
                  <a:noFill/>
                </a:ln>
                <a:solidFill>
                  <a:schemeClr val="tx1"/>
                </a:solidFill>
                <a:effectLst/>
                <a:latin typeface="+mj-lt"/>
                <a:ea typeface="+mn-ea"/>
                <a:cs typeface="Segoe UI" pitchFamily="34" charset="0"/>
              </a:defRPr>
            </a:lvl1pPr>
          </a:lstStyle>
          <a:p>
            <a:pPr marL="0" lvl="0" algn="l" defTabSz="685644" rtl="0" eaLnBrk="1" latinLnBrk="0" hangingPunct="1">
              <a:lnSpc>
                <a:spcPts val="4117"/>
              </a:lnSpc>
              <a:spcBef>
                <a:spcPct val="0"/>
              </a:spcBef>
              <a:buNone/>
            </a:pPr>
            <a:r>
              <a:rPr lang="en-US"/>
              <a:t>Section title</a:t>
            </a:r>
          </a:p>
        </p:txBody>
      </p:sp>
      <p:grpSp>
        <p:nvGrpSpPr>
          <p:cNvPr id="7" name="Group 6">
            <a:extLst>
              <a:ext uri="{FF2B5EF4-FFF2-40B4-BE49-F238E27FC236}">
                <a16:creationId xmlns:a16="http://schemas.microsoft.com/office/drawing/2014/main" id="{94E73804-9B47-4D7E-8A36-A9DB54B0F2BB}"/>
              </a:ext>
            </a:extLst>
          </p:cNvPr>
          <p:cNvGrpSpPr/>
          <p:nvPr userDrawn="1"/>
        </p:nvGrpSpPr>
        <p:grpSpPr>
          <a:xfrm>
            <a:off x="327285" y="4823277"/>
            <a:ext cx="8494564" cy="71302"/>
            <a:chOff x="445128" y="6559056"/>
            <a:chExt cx="11553197" cy="96962"/>
          </a:xfrm>
        </p:grpSpPr>
        <p:sp>
          <p:nvSpPr>
            <p:cNvPr id="8" name="TextBox 7">
              <a:extLst>
                <a:ext uri="{FF2B5EF4-FFF2-40B4-BE49-F238E27FC236}">
                  <a16:creationId xmlns:a16="http://schemas.microsoft.com/office/drawing/2014/main" id="{E7E555FE-1A25-470F-9400-806E2FDA6E45}"/>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tx1"/>
                  </a:solidFill>
                </a:rPr>
                <a:t>© Microsoft Corporation</a:t>
              </a:r>
              <a:endParaRPr lang="en-US" sz="588">
                <a:solidFill>
                  <a:schemeClr val="tx1"/>
                </a:solidFill>
              </a:endParaRPr>
            </a:p>
          </p:txBody>
        </p:sp>
        <p:sp>
          <p:nvSpPr>
            <p:cNvPr id="9" name="Freeform: Shape 8">
              <a:extLst>
                <a:ext uri="{FF2B5EF4-FFF2-40B4-BE49-F238E27FC236}">
                  <a16:creationId xmlns:a16="http://schemas.microsoft.com/office/drawing/2014/main" id="{CADAB30E-A5BE-4BDE-8420-731E8A2CBAB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solidFill>
                  <a:schemeClr val="tx1"/>
                </a:solidFill>
                <a:ea typeface="Segoe UI" pitchFamily="34" charset="0"/>
                <a:cs typeface="Segoe UI" pitchFamily="34" charset="0"/>
              </a:endParaRPr>
            </a:p>
          </p:txBody>
        </p:sp>
      </p:grpSp>
    </p:spTree>
    <p:extLst>
      <p:ext uri="{BB962C8B-B14F-4D97-AF65-F5344CB8AC3E}">
        <p14:creationId xmlns:p14="http://schemas.microsoft.com/office/powerpoint/2010/main" val="3043874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6FBA475-1622-4E42-8C0A-6A71410B582D}"/>
              </a:ext>
            </a:extLst>
          </p:cNvPr>
          <p:cNvPicPr>
            <a:picLocks noChangeAspect="1"/>
          </p:cNvPicPr>
          <p:nvPr userDrawn="1"/>
        </p:nvPicPr>
        <p:blipFill>
          <a:blip r:embed="rId2"/>
          <a:stretch>
            <a:fillRect/>
          </a:stretch>
        </p:blipFill>
        <p:spPr>
          <a:xfrm>
            <a:off x="0" y="0"/>
            <a:ext cx="9144000" cy="5143867"/>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319819" y="888240"/>
            <a:ext cx="5608492" cy="2651274"/>
          </a:xfrm>
          <a:noFill/>
        </p:spPr>
        <p:txBody>
          <a:bodyPr vert="horz" wrap="square" lIns="0" tIns="0" rIns="0" bIns="0" rtlCol="0" anchor="t" anchorCtr="0">
            <a:noAutofit/>
          </a:bodyPr>
          <a:lstStyle>
            <a:lvl1pPr>
              <a:lnSpc>
                <a:spcPct val="90000"/>
              </a:lnSpc>
              <a:defRPr lang="en-US" sz="3970" b="0" kern="1200" cap="none" spc="-110" baseline="0" dirty="0">
                <a:ln w="3175">
                  <a:noFill/>
                </a:ln>
                <a:solidFill>
                  <a:schemeClr val="tx1"/>
                </a:solidFill>
                <a:effectLst/>
                <a:latin typeface="+mj-lt"/>
                <a:ea typeface="+mn-ea"/>
                <a:cs typeface="Segoe UI" pitchFamily="34" charset="0"/>
              </a:defRPr>
            </a:lvl1pPr>
          </a:lstStyle>
          <a:p>
            <a:pPr marL="0" lvl="0" algn="l" defTabSz="685644" rtl="0" eaLnBrk="1" latinLnBrk="0" hangingPunct="1">
              <a:lnSpc>
                <a:spcPts val="4117"/>
              </a:lnSpc>
              <a:spcBef>
                <a:spcPct val="0"/>
              </a:spcBef>
              <a:buNone/>
            </a:pPr>
            <a:r>
              <a:rPr lang="en-US"/>
              <a:t>Section title</a:t>
            </a:r>
          </a:p>
        </p:txBody>
      </p:sp>
      <p:grpSp>
        <p:nvGrpSpPr>
          <p:cNvPr id="9" name="Group 8">
            <a:extLst>
              <a:ext uri="{FF2B5EF4-FFF2-40B4-BE49-F238E27FC236}">
                <a16:creationId xmlns:a16="http://schemas.microsoft.com/office/drawing/2014/main" id="{6C2ACD6F-63F2-4D01-BB11-747BB1F6B4FD}"/>
              </a:ext>
            </a:extLst>
          </p:cNvPr>
          <p:cNvGrpSpPr/>
          <p:nvPr userDrawn="1"/>
        </p:nvGrpSpPr>
        <p:grpSpPr>
          <a:xfrm>
            <a:off x="327285" y="4823277"/>
            <a:ext cx="8494564" cy="71302"/>
            <a:chOff x="445128" y="6559056"/>
            <a:chExt cx="11553197" cy="96962"/>
          </a:xfrm>
        </p:grpSpPr>
        <p:sp>
          <p:nvSpPr>
            <p:cNvPr id="10" name="TextBox 9">
              <a:extLst>
                <a:ext uri="{FF2B5EF4-FFF2-40B4-BE49-F238E27FC236}">
                  <a16:creationId xmlns:a16="http://schemas.microsoft.com/office/drawing/2014/main" id="{887F207A-9588-40EC-9232-299EB2E0A2D2}"/>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solidFill>
                </a:rPr>
                <a:t>© Microsoft Corporation</a:t>
              </a:r>
              <a:endParaRPr lang="en-US" sz="588">
                <a:solidFill>
                  <a:schemeClr val="bg1"/>
                </a:solidFill>
              </a:endParaRPr>
            </a:p>
          </p:txBody>
        </p:sp>
        <p:sp>
          <p:nvSpPr>
            <p:cNvPr id="11" name="Freeform: Shape 10">
              <a:extLst>
                <a:ext uri="{FF2B5EF4-FFF2-40B4-BE49-F238E27FC236}">
                  <a16:creationId xmlns:a16="http://schemas.microsoft.com/office/drawing/2014/main" id="{8F8A9810-50E2-4E40-AC98-471E37E90E9C}"/>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solidFill>
                  <a:schemeClr val="bg1"/>
                </a:solidFill>
                <a:ea typeface="Segoe UI" pitchFamily="34" charset="0"/>
                <a:cs typeface="Segoe UI" pitchFamily="34" charset="0"/>
              </a:endParaRPr>
            </a:p>
          </p:txBody>
        </p:sp>
      </p:grpSp>
    </p:spTree>
    <p:extLst>
      <p:ext uri="{BB962C8B-B14F-4D97-AF65-F5344CB8AC3E}">
        <p14:creationId xmlns:p14="http://schemas.microsoft.com/office/powerpoint/2010/main" val="3903791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37EEB01-EA62-4484-93ED-FCECFCFFCA78}"/>
              </a:ext>
            </a:extLst>
          </p:cNvPr>
          <p:cNvGrpSpPr/>
          <p:nvPr userDrawn="1"/>
        </p:nvGrpSpPr>
        <p:grpSpPr>
          <a:xfrm>
            <a:off x="327285" y="4823277"/>
            <a:ext cx="8494564" cy="71302"/>
            <a:chOff x="445128" y="6559056"/>
            <a:chExt cx="11553197" cy="96962"/>
          </a:xfrm>
        </p:grpSpPr>
        <p:sp>
          <p:nvSpPr>
            <p:cNvPr id="6" name="TextBox 5">
              <a:extLst>
                <a:ext uri="{FF2B5EF4-FFF2-40B4-BE49-F238E27FC236}">
                  <a16:creationId xmlns:a16="http://schemas.microsoft.com/office/drawing/2014/main" id="{76328436-7F49-4152-89C8-03F31949ECE7}"/>
                </a:ext>
              </a:extLst>
            </p:cNvPr>
            <p:cNvSpPr txBox="1"/>
            <p:nvPr userDrawn="1"/>
          </p:nvSpPr>
          <p:spPr>
            <a:xfrm>
              <a:off x="445128" y="6559056"/>
              <a:ext cx="948386" cy="96962"/>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7" name="Freeform: Shape 6">
              <a:extLst>
                <a:ext uri="{FF2B5EF4-FFF2-40B4-BE49-F238E27FC236}">
                  <a16:creationId xmlns:a16="http://schemas.microsoft.com/office/drawing/2014/main" id="{58B47ADE-367E-4BBD-AA82-62E248813C08}"/>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5099482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457200" y="292894"/>
            <a:ext cx="8229600" cy="571500"/>
          </a:xfrm>
        </p:spPr>
        <p:txBody>
          <a:bodyPr/>
          <a:lstStyle>
            <a:lvl1pPr algn="ctr">
              <a:defRPr>
                <a:solidFill>
                  <a:schemeClr val="accent2"/>
                </a:solidFill>
              </a:defRPr>
            </a:lvl1pPr>
          </a:lstStyle>
          <a:p>
            <a:r>
              <a:rPr lang="en-US" dirty="0"/>
              <a:t>Demo</a:t>
            </a:r>
          </a:p>
        </p:txBody>
      </p:sp>
      <p:sp>
        <p:nvSpPr>
          <p:cNvPr id="11" name="Text Placeholder 2"/>
          <p:cNvSpPr>
            <a:spLocks noGrp="1"/>
          </p:cNvSpPr>
          <p:nvPr>
            <p:ph type="body" idx="1"/>
          </p:nvPr>
        </p:nvSpPr>
        <p:spPr>
          <a:xfrm>
            <a:off x="457200" y="1028700"/>
            <a:ext cx="8229600" cy="3200400"/>
          </a:xfrm>
        </p:spPr>
        <p:txBody>
          <a:bodyPr rtlCol="0"/>
          <a:lstStyle>
            <a:lvl1pPr>
              <a:buClrTx/>
              <a:buFont typeface="Wingdings" pitchFamily="2" charset="2"/>
              <a:buChar char="§"/>
              <a:defRPr sz="2100" b="1">
                <a:latin typeface="Calibri" pitchFamily="34" charset="0"/>
              </a:defRPr>
            </a:lvl1pPr>
            <a:lvl2pPr>
              <a:buClrTx/>
              <a:buFont typeface="Wingdings" pitchFamily="2" charset="2"/>
              <a:buChar char="o"/>
              <a:defRPr sz="1900" b="0">
                <a:latin typeface="Calibri Light" pitchFamily="34" charset="0"/>
              </a:defRPr>
            </a:lvl2pPr>
            <a:lvl3pPr>
              <a:buClrTx/>
              <a:buFont typeface="Wingdings" pitchFamily="2" charset="2"/>
              <a:buChar char="o"/>
              <a:defRPr sz="1700" b="0">
                <a:latin typeface="Calibri Light" pitchFamily="34" charset="0"/>
              </a:defRPr>
            </a:lvl3pPr>
            <a:lvl4pPr>
              <a:buClrTx/>
              <a:buFont typeface="Wingdings" pitchFamily="2" charset="2"/>
              <a:buChar char="o"/>
              <a:defRPr sz="1500" b="0">
                <a:latin typeface="Calibri Light" pitchFamily="34" charset="0"/>
              </a:defRPr>
            </a:lvl4pPr>
            <a:lvl5pPr>
              <a:buClrTx/>
              <a:buFont typeface="Wingdings" pitchFamily="2" charset="2"/>
              <a:buChar char="o"/>
              <a:defRPr sz="1300" b="0">
                <a:latin typeface="Calibri Ligh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4400550"/>
            <a:ext cx="1598429" cy="686875"/>
          </a:xfrm>
          <a:prstGeom prst="rect">
            <a:avLst/>
          </a:prstGeom>
        </p:spPr>
      </p:pic>
      <p:sp>
        <p:nvSpPr>
          <p:cNvPr id="9" name="TextBox 8"/>
          <p:cNvSpPr txBox="1"/>
          <p:nvPr userDrawn="1"/>
        </p:nvSpPr>
        <p:spPr bwMode="auto">
          <a:xfrm>
            <a:off x="5867400" y="4850349"/>
            <a:ext cx="3276600" cy="230832"/>
          </a:xfrm>
          <a:prstGeom prst="rect">
            <a:avLst/>
          </a:prstGeom>
          <a:noFill/>
          <a:ln w="9525">
            <a:noFill/>
            <a:miter lim="800000"/>
            <a:headEnd/>
            <a:tailEnd/>
          </a:ln>
        </p:spPr>
        <p:txBody>
          <a:bodyPr wrap="square" rtlCol="0">
            <a:spAutoFit/>
          </a:bodyPr>
          <a:lstStyle/>
          <a:p>
            <a:pPr algn="r"/>
            <a:r>
              <a:rPr lang="en-US" sz="900" b="0" u="none" dirty="0">
                <a:solidFill>
                  <a:srgbClr val="000000"/>
                </a:solidFill>
                <a:latin typeface="Calibri"/>
                <a:cs typeface="Mangal" pitchFamily="18" charset="0"/>
              </a:rPr>
              <a:t>© Microsoft Azure + </a:t>
            </a:r>
            <a:r>
              <a:rPr lang="en-US" sz="900" b="0" u="none">
                <a:solidFill>
                  <a:srgbClr val="000000"/>
                </a:solidFill>
                <a:latin typeface="Calibri"/>
                <a:cs typeface="Mangal" pitchFamily="18" charset="0"/>
              </a:rPr>
              <a:t>AI Conference </a:t>
            </a:r>
            <a:r>
              <a:rPr lang="en-US" sz="900" b="0" u="none" baseline="0">
                <a:solidFill>
                  <a:srgbClr val="000000"/>
                </a:solidFill>
                <a:latin typeface="Calibri"/>
                <a:cs typeface="Mangal" pitchFamily="18" charset="0"/>
              </a:rPr>
              <a:t> </a:t>
            </a:r>
            <a:r>
              <a:rPr lang="en-US" sz="900" b="0" u="none" dirty="0">
                <a:solidFill>
                  <a:srgbClr val="000000"/>
                </a:solidFill>
                <a:latin typeface="Calibri"/>
                <a:cs typeface="Mangal" pitchFamily="18" charset="0"/>
              </a:rPr>
              <a:t>All rights reserved.</a:t>
            </a:r>
          </a:p>
        </p:txBody>
      </p:sp>
    </p:spTree>
    <p:extLst>
      <p:ext uri="{BB962C8B-B14F-4D97-AF65-F5344CB8AC3E}">
        <p14:creationId xmlns:p14="http://schemas.microsoft.com/office/powerpoint/2010/main" val="2221048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rgbClr val="0278D7"/>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321370" y="4738847"/>
            <a:ext cx="3361593" cy="7925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85311" eaLnBrk="0" hangingPunct="0"/>
            <a:r>
              <a:rPr lang="en-US" sz="515">
                <a:solidFill>
                  <a:schemeClr val="bg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21512" y="2403647"/>
            <a:ext cx="1577241" cy="336207"/>
          </a:xfrm>
          <a:prstGeom prst="rect">
            <a:avLst/>
          </a:prstGeom>
        </p:spPr>
      </p:pic>
    </p:spTree>
    <p:extLst>
      <p:ext uri="{BB962C8B-B14F-4D97-AF65-F5344CB8AC3E}">
        <p14:creationId xmlns:p14="http://schemas.microsoft.com/office/powerpoint/2010/main" val="539563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dark gray">
    <p:bg>
      <p:bgPr>
        <a:solidFill>
          <a:srgbClr val="353535"/>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321370" y="4738847"/>
            <a:ext cx="3361593" cy="7925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85311" eaLnBrk="0" hangingPunct="0"/>
            <a:r>
              <a:rPr lang="en-US" sz="515">
                <a:solidFill>
                  <a:schemeClr val="bg1"/>
                </a:solidFill>
                <a:cs typeface="Segoe UI" pitchFamily="34" charset="0"/>
              </a:rPr>
              <a:t>© Copyright Microsoft Corporation. All rights reserved. </a:t>
            </a:r>
          </a:p>
        </p:txBody>
      </p:sp>
      <p:pic>
        <p:nvPicPr>
          <p:cNvPr id="4" name="Picture 3">
            <a:extLst>
              <a:ext uri="{FF2B5EF4-FFF2-40B4-BE49-F238E27FC236}">
                <a16:creationId xmlns:a16="http://schemas.microsoft.com/office/drawing/2014/main" id="{E0B031D2-4655-4BFE-8E2E-4966C2953E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21512" y="2403647"/>
            <a:ext cx="1577241" cy="336207"/>
          </a:xfrm>
          <a:prstGeom prst="rect">
            <a:avLst/>
          </a:prstGeom>
        </p:spPr>
      </p:pic>
    </p:spTree>
    <p:extLst>
      <p:ext uri="{BB962C8B-B14F-4D97-AF65-F5344CB8AC3E}">
        <p14:creationId xmlns:p14="http://schemas.microsoft.com/office/powerpoint/2010/main" val="35773174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AA512-CC0D-46DD-888B-2028CC7382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8C44BE-5DA1-46F0-BF0B-A7B64D9E836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A80F88-A670-46FC-9DDB-8423E5F939CC}"/>
              </a:ext>
            </a:extLst>
          </p:cNvPr>
          <p:cNvSpPr>
            <a:spLocks noGrp="1"/>
          </p:cNvSpPr>
          <p:nvPr>
            <p:ph type="dt" sz="half" idx="10"/>
          </p:nvPr>
        </p:nvSpPr>
        <p:spPr/>
        <p:txBody>
          <a:bodyPr/>
          <a:lstStyle/>
          <a:p>
            <a:fld id="{9C1ADB0A-731F-4CCD-A03C-3F7BE99405DC}" type="datetimeFigureOut">
              <a:rPr lang="en-US" smtClean="0"/>
              <a:t>12/8/21</a:t>
            </a:fld>
            <a:endParaRPr lang="en-US"/>
          </a:p>
        </p:txBody>
      </p:sp>
      <p:sp>
        <p:nvSpPr>
          <p:cNvPr id="5" name="Footer Placeholder 4">
            <a:extLst>
              <a:ext uri="{FF2B5EF4-FFF2-40B4-BE49-F238E27FC236}">
                <a16:creationId xmlns:a16="http://schemas.microsoft.com/office/drawing/2014/main" id="{767A0BEF-BB19-46E9-B426-6C2668DE12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3B23AA-8AB5-40E8-A131-16AB966B3A5C}"/>
              </a:ext>
            </a:extLst>
          </p:cNvPr>
          <p:cNvSpPr>
            <a:spLocks noGrp="1"/>
          </p:cNvSpPr>
          <p:nvPr>
            <p:ph type="sldNum" sz="quarter" idx="12"/>
          </p:nvPr>
        </p:nvSpPr>
        <p:spPr/>
        <p:txBody>
          <a:bodyPr/>
          <a:lstStyle/>
          <a:p>
            <a:fld id="{54F8A982-A3AD-4AC4-BA48-B0DE958DBBD1}" type="slidenum">
              <a:rPr lang="en-US" smtClean="0"/>
              <a:t>‹#›</a:t>
            </a:fld>
            <a:endParaRPr lang="en-US"/>
          </a:p>
        </p:txBody>
      </p:sp>
    </p:spTree>
    <p:extLst>
      <p:ext uri="{BB962C8B-B14F-4D97-AF65-F5344CB8AC3E}">
        <p14:creationId xmlns:p14="http://schemas.microsoft.com/office/powerpoint/2010/main" val="11999573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3" y="4679157"/>
            <a:ext cx="9144001" cy="464344"/>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2206" spc="-3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5" name="Text Placeholder 5"/>
          <p:cNvSpPr>
            <a:spLocks noGrp="1"/>
          </p:cNvSpPr>
          <p:nvPr>
            <p:ph type="body" sz="quarter" idx="12" hasCustomPrompt="1"/>
          </p:nvPr>
        </p:nvSpPr>
        <p:spPr>
          <a:xfrm>
            <a:off x="0" y="1"/>
            <a:ext cx="9144000" cy="924674"/>
          </a:xfrm>
        </p:spPr>
        <p:txBody>
          <a:bodyPr lIns="393192" tIns="393192" bIns="91440">
            <a:normAutofit/>
          </a:bodyPr>
          <a:lstStyle>
            <a:lvl1pPr marL="0" indent="0">
              <a:buNone/>
              <a:defRPr sz="3300">
                <a:solidFill>
                  <a:schemeClr val="tx1"/>
                </a:solidFill>
                <a:latin typeface="+mj-lt"/>
              </a:defRPr>
            </a:lvl1pPr>
          </a:lstStyle>
          <a:p>
            <a:pPr lvl="0"/>
            <a:r>
              <a:rPr lang="en-US"/>
              <a:t>Click to edit Master title style</a:t>
            </a:r>
          </a:p>
        </p:txBody>
      </p:sp>
      <p:sp>
        <p:nvSpPr>
          <p:cNvPr id="7" name="Text Placeholder 6"/>
          <p:cNvSpPr>
            <a:spLocks noGrp="1"/>
          </p:cNvSpPr>
          <p:nvPr>
            <p:ph type="body" sz="quarter" idx="13"/>
          </p:nvPr>
        </p:nvSpPr>
        <p:spPr>
          <a:xfrm>
            <a:off x="291829" y="925116"/>
            <a:ext cx="8852171" cy="1523934"/>
          </a:xfrm>
        </p:spPr>
        <p:txBody>
          <a:bodyPr/>
          <a:lstStyle>
            <a:lvl1pPr marL="0" indent="0">
              <a:buNone/>
              <a:defRPr/>
            </a:lvl1pPr>
            <a:lvl2pPr marL="342769" indent="0">
              <a:buNone/>
              <a:defRPr/>
            </a:lvl2pPr>
            <a:lvl3pPr marL="685537" indent="0">
              <a:buNone/>
              <a:defRPr/>
            </a:lvl3pPr>
            <a:lvl4pPr marL="1028306" indent="0">
              <a:buNone/>
              <a:defRPr/>
            </a:lvl4pPr>
            <a:lvl5pPr marL="137107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6276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305092" y="2272496"/>
            <a:ext cx="7222792" cy="1344828"/>
          </a:xfrm>
          <a:noFill/>
        </p:spPr>
        <p:txBody>
          <a:bodyPr lIns="0" tIns="0" rIns="0" bIns="182880" anchor="b" anchorCtr="0"/>
          <a:lstStyle>
            <a:lvl1pPr>
              <a:defRPr sz="3529" strike="noStrike" spc="-37"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348631" y="3635745"/>
            <a:ext cx="7202114" cy="535788"/>
          </a:xfrm>
        </p:spPr>
        <p:txBody>
          <a:bodyPr/>
          <a:lstStyle>
            <a:lvl1pPr>
              <a:defRPr sz="1324"/>
            </a:lvl1pPr>
            <a:lvl2pPr>
              <a:defRPr sz="1324"/>
            </a:lvl2pPr>
            <a:lvl3pPr>
              <a:defRPr sz="1029"/>
            </a:lvl3pPr>
            <a:lvl4pPr>
              <a:defRPr sz="1029"/>
            </a:lvl4pPr>
            <a:lvl5pPr>
              <a:defRPr sz="772"/>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1511" y="354387"/>
            <a:ext cx="1001755" cy="142709"/>
          </a:xfrm>
          <a:prstGeom prst="rect">
            <a:avLst/>
          </a:prstGeom>
        </p:spPr>
      </p:pic>
    </p:spTree>
    <p:extLst>
      <p:ext uri="{BB962C8B-B14F-4D97-AF65-F5344CB8AC3E}">
        <p14:creationId xmlns:p14="http://schemas.microsoft.com/office/powerpoint/2010/main" val="765300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341996" y="706270"/>
            <a:ext cx="5590982" cy="2668643"/>
          </a:xfrm>
          <a:noFill/>
        </p:spPr>
        <p:txBody>
          <a:bodyPr vert="horz" wrap="square" lIns="0" tIns="0" rIns="0" bIns="0" rtlCol="0" anchor="t" anchorCtr="0">
            <a:noAutofit/>
          </a:bodyPr>
          <a:lstStyle>
            <a:lvl1pPr>
              <a:defRPr lang="en-US" sz="3529" spc="-37" baseline="0" dirty="0">
                <a:solidFill>
                  <a:schemeClr val="tx2"/>
                </a:solidFill>
              </a:defRPr>
            </a:lvl1pPr>
          </a:lstStyle>
          <a:p>
            <a:pPr marL="0" lvl="0">
              <a:lnSpc>
                <a:spcPts val="4118"/>
              </a:lnSpc>
            </a:pPr>
            <a:r>
              <a:rPr lang="en-US"/>
              <a:t>Section title</a:t>
            </a:r>
          </a:p>
        </p:txBody>
      </p:sp>
    </p:spTree>
    <p:extLst>
      <p:ext uri="{BB962C8B-B14F-4D97-AF65-F5344CB8AC3E}">
        <p14:creationId xmlns:p14="http://schemas.microsoft.com/office/powerpoint/2010/main" val="2112503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96216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_Company History 1">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D3BA088-9EE2-4E1B-A911-5C8C54E4B319}"/>
              </a:ext>
            </a:extLst>
          </p:cNvPr>
          <p:cNvSpPr>
            <a:spLocks noGrp="1"/>
          </p:cNvSpPr>
          <p:nvPr>
            <p:ph type="title"/>
          </p:nvPr>
        </p:nvSpPr>
        <p:spPr>
          <a:xfrm>
            <a:off x="438150" y="1803798"/>
            <a:ext cx="3907377" cy="323165"/>
          </a:xfrm>
        </p:spPr>
        <p:txBody>
          <a:bodyPr anchor="b"/>
          <a:lstStyle>
            <a:lvl1pPr algn="l">
              <a:defRPr sz="2100">
                <a:solidFill>
                  <a:schemeClr val="tx1"/>
                </a:solidFill>
              </a:defRPr>
            </a:lvl1pPr>
          </a:lstStyle>
          <a:p>
            <a:r>
              <a:rPr lang="en-US"/>
              <a:t>Click to edit Master title style</a:t>
            </a:r>
          </a:p>
        </p:txBody>
      </p:sp>
      <p:sp>
        <p:nvSpPr>
          <p:cNvPr id="7" name="Text Placeholder 13">
            <a:extLst>
              <a:ext uri="{FF2B5EF4-FFF2-40B4-BE49-F238E27FC236}">
                <a16:creationId xmlns:a16="http://schemas.microsoft.com/office/drawing/2014/main" id="{0AF52823-D12A-4E82-B2BC-6C7EA62FC18F}"/>
              </a:ext>
            </a:extLst>
          </p:cNvPr>
          <p:cNvSpPr>
            <a:spLocks noGrp="1"/>
          </p:cNvSpPr>
          <p:nvPr>
            <p:ph type="body" sz="quarter" idx="10"/>
          </p:nvPr>
        </p:nvSpPr>
        <p:spPr>
          <a:xfrm>
            <a:off x="438151" y="2206498"/>
            <a:ext cx="3911744" cy="456535"/>
          </a:xfrm>
        </p:spPr>
        <p:txBody>
          <a:bodyPr/>
          <a:lstStyle>
            <a:lvl1pPr marL="0" indent="0">
              <a:spcBef>
                <a:spcPts val="450"/>
              </a:spcBef>
              <a:spcAft>
                <a:spcPts val="450"/>
              </a:spcAft>
              <a:buFont typeface="Arial" panose="020B0604020202020204" pitchFamily="34" charset="0"/>
              <a:buNone/>
              <a:defRPr sz="1050">
                <a:solidFill>
                  <a:schemeClr val="tx2"/>
                </a:solidFill>
              </a:defRPr>
            </a:lvl1pPr>
            <a:lvl2pPr marL="0" indent="0">
              <a:spcBef>
                <a:spcPts val="0"/>
              </a:spcBef>
              <a:buFont typeface="Arial" panose="020B0604020202020204" pitchFamily="34" charset="0"/>
              <a:buNone/>
              <a:defRPr sz="1500"/>
            </a:lvl2pPr>
            <a:lvl3pPr marL="0" indent="0">
              <a:buFont typeface="Arial" panose="020B0604020202020204" pitchFamily="34" charset="0"/>
              <a:buNone/>
              <a:defRPr sz="1050"/>
            </a:lvl3pPr>
            <a:lvl4pPr marL="0" indent="0">
              <a:buFont typeface="Arial" panose="020B0604020202020204" pitchFamily="34" charset="0"/>
              <a:buNone/>
              <a:defRPr sz="900"/>
            </a:lvl4pPr>
            <a:lvl5pPr marL="0" indent="0">
              <a:buFont typeface="Arial" panose="020B0604020202020204" pitchFamily="34" charset="0"/>
              <a:buNone/>
              <a:defRPr sz="900"/>
            </a:lvl5pPr>
          </a:lstStyle>
          <a:p>
            <a:pPr lvl="0"/>
            <a:r>
              <a:rPr lang="en-US"/>
              <a:t>Edit Master text styles</a:t>
            </a:r>
          </a:p>
          <a:p>
            <a:pPr lvl="1"/>
            <a:r>
              <a:rPr lang="en-US"/>
              <a:t>Second level</a:t>
            </a:r>
          </a:p>
        </p:txBody>
      </p:sp>
      <p:sp>
        <p:nvSpPr>
          <p:cNvPr id="8" name="Text Placeholder 13">
            <a:extLst>
              <a:ext uri="{FF2B5EF4-FFF2-40B4-BE49-F238E27FC236}">
                <a16:creationId xmlns:a16="http://schemas.microsoft.com/office/drawing/2014/main" id="{6792E897-0025-40CA-8870-AC58895FDA0E}"/>
              </a:ext>
            </a:extLst>
          </p:cNvPr>
          <p:cNvSpPr>
            <a:spLocks noGrp="1"/>
          </p:cNvSpPr>
          <p:nvPr>
            <p:ph type="body" sz="quarter" idx="11"/>
          </p:nvPr>
        </p:nvSpPr>
        <p:spPr>
          <a:xfrm>
            <a:off x="0" y="430215"/>
            <a:ext cx="4698242" cy="810189"/>
          </a:xfrm>
          <a:solidFill>
            <a:schemeClr val="tx2"/>
          </a:solidFill>
        </p:spPr>
        <p:txBody>
          <a:bodyPr wrap="none" lIns="45720" tIns="45720" rIns="45720" bIns="45720" anchor="ctr">
            <a:noAutofit/>
          </a:bodyPr>
          <a:lstStyle>
            <a:lvl1pPr marL="383381" indent="0">
              <a:spcBef>
                <a:spcPts val="0"/>
              </a:spcBef>
              <a:spcAft>
                <a:spcPts val="0"/>
              </a:spcAft>
              <a:buFont typeface="Arial" panose="020B0604020202020204" pitchFamily="34" charset="0"/>
              <a:buNone/>
              <a:defRPr sz="2100">
                <a:solidFill>
                  <a:schemeClr val="bg1"/>
                </a:solidFill>
              </a:defRPr>
            </a:lvl1pPr>
            <a:lvl2pPr marL="0" indent="0">
              <a:spcBef>
                <a:spcPts val="0"/>
              </a:spcBef>
              <a:buFont typeface="Arial" panose="020B0604020202020204" pitchFamily="34" charset="0"/>
              <a:buNone/>
              <a:defRPr sz="900"/>
            </a:lvl2pPr>
            <a:lvl3pPr marL="0" indent="0">
              <a:buFont typeface="Arial" panose="020B0604020202020204" pitchFamily="34" charset="0"/>
              <a:buNone/>
              <a:defRPr sz="1050"/>
            </a:lvl3pPr>
            <a:lvl4pPr marL="0" indent="0">
              <a:buFont typeface="Arial" panose="020B0604020202020204" pitchFamily="34" charset="0"/>
              <a:buNone/>
              <a:defRPr sz="900"/>
            </a:lvl4pPr>
            <a:lvl5pPr marL="0" indent="0">
              <a:buFont typeface="Arial" panose="020B0604020202020204" pitchFamily="34" charset="0"/>
              <a:buNone/>
              <a:defRPr sz="900"/>
            </a:lvl5pPr>
          </a:lstStyle>
          <a:p>
            <a:pPr lvl="0"/>
            <a:r>
              <a:rPr lang="en-US"/>
              <a:t>Edit Master text styles</a:t>
            </a:r>
          </a:p>
        </p:txBody>
      </p:sp>
      <p:sp>
        <p:nvSpPr>
          <p:cNvPr id="2" name="Rectangle 1">
            <a:extLst>
              <a:ext uri="{FF2B5EF4-FFF2-40B4-BE49-F238E27FC236}">
                <a16:creationId xmlns:a16="http://schemas.microsoft.com/office/drawing/2014/main" id="{F88134B9-5097-4FAD-8319-91ED71F0E18C}"/>
              </a:ext>
            </a:extLst>
          </p:cNvPr>
          <p:cNvSpPr/>
          <p:nvPr/>
        </p:nvSpPr>
        <p:spPr bwMode="auto">
          <a:xfrm>
            <a:off x="4794108" y="156173"/>
            <a:ext cx="4213237" cy="4820970"/>
          </a:xfrm>
          <a:prstGeom prst="rect">
            <a:avLst/>
          </a:prstGeom>
          <a:solidFill>
            <a:schemeClr val="bg1">
              <a:lumMod val="95000"/>
            </a:schemeClr>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34978" rIns="0" bIns="34978" numCol="1" rtlCol="0" anchor="ctr" anchorCtr="0" compatLnSpc="1">
            <a:prstTxWarp prst="textNoShape">
              <a:avLst/>
            </a:prstTxWarp>
          </a:bodyPr>
          <a:lstStyle/>
          <a:p>
            <a:pPr marR="0" lvl="0" indent="0" algn="ctr" defTabSz="699354" fontAlgn="base">
              <a:lnSpc>
                <a:spcPct val="100000"/>
              </a:lnSpc>
              <a:spcBef>
                <a:spcPct val="0"/>
              </a:spcBef>
              <a:spcAft>
                <a:spcPct val="0"/>
              </a:spcAft>
              <a:buClrTx/>
              <a:buSzTx/>
              <a:buFontTx/>
              <a:buNone/>
              <a:tabLst/>
            </a:pPr>
            <a:endParaRPr kumimoji="0" lang="en-US" sz="1500" b="0" i="0" u="none" strike="noStrike" kern="0" cap="none" spc="0" normalizeH="0" baseline="0">
              <a:ln>
                <a:noFill/>
              </a:ln>
              <a:gradFill>
                <a:gsLst>
                  <a:gs pos="0">
                    <a:srgbClr val="FFFFFF"/>
                  </a:gs>
                  <a:gs pos="100000">
                    <a:srgbClr val="FFFFFF"/>
                  </a:gs>
                </a:gsLst>
                <a:lin ang="5400000" scaled="0"/>
              </a:gradFill>
              <a:effectLst/>
              <a:uLnTx/>
              <a:uFillTx/>
              <a:latin typeface="Segoe UI Semilight"/>
            </a:endParaRPr>
          </a:p>
        </p:txBody>
      </p:sp>
    </p:spTree>
    <p:extLst>
      <p:ext uri="{BB962C8B-B14F-4D97-AF65-F5344CB8AC3E}">
        <p14:creationId xmlns:p14="http://schemas.microsoft.com/office/powerpoint/2010/main" val="2929996136"/>
      </p:ext>
    </p:extLst>
  </p:cSld>
  <p:clrMapOvr>
    <a:masterClrMapping/>
  </p:clrMapOvr>
  <p:hf sldNum="0" hdr="0" ftr="0" dt="0"/>
  <p:extLst>
    <p:ext uri="{DCECCB84-F9BA-43D5-87BE-67443E8EF086}">
      <p15:sldGuideLst xmlns:p15="http://schemas.microsoft.com/office/powerpoint/2012/main">
        <p15:guide id="1" pos="1944">
          <p15:clr>
            <a:srgbClr val="FBAE40"/>
          </p15:clr>
        </p15:guide>
        <p15:guide id="2" orient="horz" pos="2016">
          <p15:clr>
            <a:srgbClr val="FBAE40"/>
          </p15:clr>
        </p15:guide>
        <p15:guide id="3" orient="horz" pos="840">
          <p15:clr>
            <a:srgbClr val="FBAE40"/>
          </p15:clr>
        </p15:guide>
        <p15:guide id="4" orient="horz" pos="3312">
          <p15:clr>
            <a:srgbClr val="FBAE40"/>
          </p15:clr>
        </p15:guide>
        <p15:guide id="5" orient="horz" pos="26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38150" y="1076623"/>
            <a:ext cx="3607377" cy="150817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34A7BD4-0E6F-4CA6-93BA-6BC4845AC139}"/>
              </a:ext>
            </a:extLst>
          </p:cNvPr>
          <p:cNvSpPr>
            <a:spLocks noGrp="1"/>
          </p:cNvSpPr>
          <p:nvPr>
            <p:ph type="title"/>
          </p:nvPr>
        </p:nvSpPr>
        <p:spPr>
          <a:xfrm>
            <a:off x="438150" y="342901"/>
            <a:ext cx="3607377" cy="369332"/>
          </a:xfrm>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3448720886"/>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340628" y="4838398"/>
            <a:ext cx="3361593" cy="7925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85443" eaLnBrk="0" hangingPunct="0"/>
            <a:r>
              <a:rPr lang="en-US" sz="515">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341996" y="1383958"/>
            <a:ext cx="5590983" cy="1105047"/>
          </a:xfrm>
          <a:noFill/>
        </p:spPr>
        <p:txBody>
          <a:bodyPr lIns="0" tIns="0" rIns="0" bIns="0" anchor="t" anchorCtr="0"/>
          <a:lstStyle>
            <a:lvl1pPr>
              <a:lnSpc>
                <a:spcPct val="100000"/>
              </a:lnSpc>
              <a:spcAft>
                <a:spcPts val="956"/>
              </a:spcAft>
              <a:defRPr sz="1912" spc="-37"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0628" y="329482"/>
            <a:ext cx="1001755" cy="142709"/>
          </a:xfrm>
          <a:prstGeom prst="rect">
            <a:avLst/>
          </a:prstGeom>
        </p:spPr>
      </p:pic>
    </p:spTree>
    <p:extLst>
      <p:ext uri="{BB962C8B-B14F-4D97-AF65-F5344CB8AC3E}">
        <p14:creationId xmlns:p14="http://schemas.microsoft.com/office/powerpoint/2010/main" val="1051414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0CE0C-D719-49AB-813B-DCFB4030BB9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DEF1671-9B1D-476E-8143-30A67CFE6FF3}"/>
              </a:ext>
            </a:extLst>
          </p:cNvPr>
          <p:cNvSpPr>
            <a:spLocks noGrp="1"/>
          </p:cNvSpPr>
          <p:nvPr>
            <p:ph type="dt" sz="half" idx="10"/>
          </p:nvPr>
        </p:nvSpPr>
        <p:spPr/>
        <p:txBody>
          <a:bodyPr/>
          <a:lstStyle/>
          <a:p>
            <a:fld id="{5AA8FE18-1705-4267-8152-D499902B481B}" type="datetimeFigureOut">
              <a:rPr lang="en-US" smtClean="0"/>
              <a:t>12/8/21</a:t>
            </a:fld>
            <a:endParaRPr lang="en-US"/>
          </a:p>
        </p:txBody>
      </p:sp>
      <p:sp>
        <p:nvSpPr>
          <p:cNvPr id="4" name="Footer Placeholder 3">
            <a:extLst>
              <a:ext uri="{FF2B5EF4-FFF2-40B4-BE49-F238E27FC236}">
                <a16:creationId xmlns:a16="http://schemas.microsoft.com/office/drawing/2014/main" id="{D8501E7D-7F3D-4C7D-9081-CE904BAA41C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5983363-7F5C-4FEA-BB71-43D7EA6E72A5}"/>
              </a:ext>
            </a:extLst>
          </p:cNvPr>
          <p:cNvSpPr>
            <a:spLocks noGrp="1"/>
          </p:cNvSpPr>
          <p:nvPr>
            <p:ph type="sldNum" sz="quarter" idx="12"/>
          </p:nvPr>
        </p:nvSpPr>
        <p:spPr/>
        <p:txBody>
          <a:bodyPr/>
          <a:lstStyle/>
          <a:p>
            <a:fld id="{024B278D-8E1B-49DF-B189-39D511AD1D13}" type="slidenum">
              <a:rPr lang="en-US" smtClean="0"/>
              <a:t>‹#›</a:t>
            </a:fld>
            <a:endParaRPr lang="en-US"/>
          </a:p>
        </p:txBody>
      </p:sp>
    </p:spTree>
    <p:extLst>
      <p:ext uri="{BB962C8B-B14F-4D97-AF65-F5344CB8AC3E}">
        <p14:creationId xmlns:p14="http://schemas.microsoft.com/office/powerpoint/2010/main" val="24294000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2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749421"/>
      </p:ext>
    </p:extLst>
  </p:cSld>
  <p:clrMapOvr>
    <a:masterClrMapping/>
  </p:clrMapOvr>
  <p:transition>
    <p:fade/>
  </p:transition>
  <p:hf sldNum="0" hdr="0" ftr="0" dt="0"/>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438150" y="1076623"/>
            <a:ext cx="8263890" cy="150817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21270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Presentation title slide blue">
    <p:bg>
      <p:bgPr>
        <a:solidFill>
          <a:srgbClr val="0278D7"/>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326105" y="1905235"/>
            <a:ext cx="7051170" cy="1344828"/>
          </a:xfrm>
          <a:noFill/>
        </p:spPr>
        <p:txBody>
          <a:bodyPr lIns="0" tIns="0" rIns="0" bIns="182880" anchor="b" anchorCtr="0"/>
          <a:lstStyle>
            <a:lvl1pPr>
              <a:defRPr sz="3969" strike="noStrike" spc="-110" baseline="0">
                <a:solidFill>
                  <a:schemeClr val="bg2"/>
                </a:solidFill>
                <a:latin typeface="+mj-lt"/>
              </a:defRPr>
            </a:lvl1pPr>
          </a:lstStyle>
          <a:p>
            <a:r>
              <a:rPr lang="en-US"/>
              <a:t>Azure presentation</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326105" y="3257120"/>
            <a:ext cx="7051170" cy="709076"/>
          </a:xfrm>
          <a:noFill/>
        </p:spPr>
        <p:txBody>
          <a:bodyPr lIns="0" tIns="0" rIns="0" bIns="0">
            <a:noAutofit/>
          </a:bodyPr>
          <a:lstStyle>
            <a:lvl1pPr marL="0" indent="0">
              <a:lnSpc>
                <a:spcPct val="100000"/>
              </a:lnSpc>
              <a:spcBef>
                <a:spcPts val="0"/>
              </a:spcBef>
              <a:spcAft>
                <a:spcPts val="0"/>
              </a:spcAft>
              <a:buNone/>
              <a:defRPr sz="1324"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045506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793" y="1075778"/>
            <a:ext cx="8263890" cy="1508170"/>
          </a:xfrm>
        </p:spPr>
        <p:txBody>
          <a:bodyPr wrap="square">
            <a:spAutoFit/>
          </a:bodyPr>
          <a:lstStyle>
            <a:lvl1pPr marL="0" indent="0">
              <a:buNone/>
              <a:defRPr/>
            </a:lvl1pPr>
            <a:lvl2pPr marL="171450" indent="0">
              <a:buNone/>
              <a:defRPr/>
            </a:lvl2pPr>
            <a:lvl3pPr marL="342900" indent="0">
              <a:buNone/>
              <a:defRPr/>
            </a:lvl3pPr>
            <a:lvl4pPr marL="51435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a:extLst>
              <a:ext uri="{FF2B5EF4-FFF2-40B4-BE49-F238E27FC236}">
                <a16:creationId xmlns:a16="http://schemas.microsoft.com/office/drawing/2014/main" id="{4F9C77CE-6642-4EB3-964C-4757236312BC}"/>
              </a:ext>
            </a:extLst>
          </p:cNvPr>
          <p:cNvSpPr txBox="1"/>
          <p:nvPr userDrawn="1"/>
        </p:nvSpPr>
        <p:spPr bwMode="black">
          <a:xfrm>
            <a:off x="3300402" y="4926092"/>
            <a:ext cx="2543197" cy="1154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750" b="0" spc="113"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168431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423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2252849-197B-49FF-AF1A-ADF7E152FA9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1544" t="17171" b="17171"/>
          <a:stretch/>
        </p:blipFill>
        <p:spPr>
          <a:xfrm>
            <a:off x="0" y="0"/>
            <a:ext cx="9144000" cy="5143500"/>
          </a:xfrm>
          <a:prstGeom prst="rect">
            <a:avLst/>
          </a:prstGeom>
        </p:spPr>
      </p:pic>
      <p:sp>
        <p:nvSpPr>
          <p:cNvPr id="15" name="Text Placeholder 5">
            <a:extLst>
              <a:ext uri="{FF2B5EF4-FFF2-40B4-BE49-F238E27FC236}">
                <a16:creationId xmlns:a16="http://schemas.microsoft.com/office/drawing/2014/main" id="{2864BB07-D8D4-496C-B924-8B826AC614D5}"/>
              </a:ext>
            </a:extLst>
          </p:cNvPr>
          <p:cNvSpPr>
            <a:spLocks noGrp="1"/>
          </p:cNvSpPr>
          <p:nvPr>
            <p:ph type="body" sz="quarter" idx="10"/>
          </p:nvPr>
        </p:nvSpPr>
        <p:spPr>
          <a:xfrm>
            <a:off x="545628" y="1632429"/>
            <a:ext cx="5636097" cy="553998"/>
          </a:xfrm>
          <a:prstGeom prst="rect">
            <a:avLst/>
          </a:prstGeom>
        </p:spPr>
        <p:txBody>
          <a:bodyPr lIns="0" tIns="0" rIns="0" bIns="0">
            <a:spAutoFit/>
          </a:bodyPr>
          <a:lstStyle>
            <a:lvl1pPr marL="0" indent="0">
              <a:buNone/>
              <a:defRPr sz="3600">
                <a:solidFill>
                  <a:schemeClr val="bg1"/>
                </a:solidFill>
                <a:latin typeface="Segoe UI Semibold" panose="020B0702040204020203" pitchFamily="34" charset="0"/>
                <a:cs typeface="Segoe UI Semibold" panose="020B0702040204020203" pitchFamily="34" charset="0"/>
              </a:defRPr>
            </a:lvl1pPr>
            <a:lvl2pPr marL="342834" indent="0">
              <a:buNone/>
              <a:defRPr sz="3300">
                <a:latin typeface="Segoe UI Light" panose="020B0502040204020203" pitchFamily="34" charset="0"/>
                <a:cs typeface="Segoe UI Light" panose="020B0502040204020203" pitchFamily="34" charset="0"/>
              </a:defRPr>
            </a:lvl2pPr>
            <a:lvl3pPr marL="685669" indent="0">
              <a:buNone/>
              <a:defRPr sz="3000">
                <a:latin typeface="Segoe UI Light" panose="020B0502040204020203" pitchFamily="34" charset="0"/>
                <a:cs typeface="Segoe UI Light" panose="020B0502040204020203" pitchFamily="34" charset="0"/>
              </a:defRPr>
            </a:lvl3pPr>
            <a:lvl4pPr marL="1028503" indent="0">
              <a:buNone/>
              <a:defRPr sz="2700">
                <a:latin typeface="Segoe UI Light" panose="020B0502040204020203" pitchFamily="34" charset="0"/>
                <a:cs typeface="Segoe UI Light" panose="020B0502040204020203" pitchFamily="34" charset="0"/>
              </a:defRPr>
            </a:lvl4pPr>
            <a:lvl5pPr marL="1371337" indent="0">
              <a:buNone/>
              <a:defRPr sz="2700">
                <a:latin typeface="Segoe UI Light" panose="020B0502040204020203" pitchFamily="34" charset="0"/>
                <a:cs typeface="Segoe UI Light" panose="020B0502040204020203" pitchFamily="34" charset="0"/>
              </a:defRPr>
            </a:lvl5pPr>
          </a:lstStyle>
          <a:p>
            <a:pPr lvl="0"/>
            <a:r>
              <a:rPr lang="en-US"/>
              <a:t>Edit Master text styles</a:t>
            </a:r>
          </a:p>
        </p:txBody>
      </p:sp>
      <p:sp>
        <p:nvSpPr>
          <p:cNvPr id="16" name="Text Placeholder 5">
            <a:extLst>
              <a:ext uri="{FF2B5EF4-FFF2-40B4-BE49-F238E27FC236}">
                <a16:creationId xmlns:a16="http://schemas.microsoft.com/office/drawing/2014/main" id="{6BA9D172-A513-44B6-B8B5-23A8985CE5E9}"/>
              </a:ext>
            </a:extLst>
          </p:cNvPr>
          <p:cNvSpPr>
            <a:spLocks noGrp="1"/>
          </p:cNvSpPr>
          <p:nvPr>
            <p:ph type="body" sz="quarter" idx="11"/>
          </p:nvPr>
        </p:nvSpPr>
        <p:spPr>
          <a:xfrm>
            <a:off x="545628" y="2178379"/>
            <a:ext cx="3894729" cy="230832"/>
          </a:xfrm>
          <a:prstGeom prst="rect">
            <a:avLst/>
          </a:prstGeom>
        </p:spPr>
        <p:txBody>
          <a:bodyPr lIns="0" tIns="0" rIns="0" bIns="0">
            <a:spAutoFit/>
          </a:bodyPr>
          <a:lstStyle>
            <a:lvl1pPr marL="0" indent="0">
              <a:buNone/>
              <a:defRPr sz="1500">
                <a:solidFill>
                  <a:schemeClr val="bg1"/>
                </a:solidFill>
                <a:latin typeface="Segoe UI Light" panose="020B0502040204020203" pitchFamily="34" charset="0"/>
                <a:cs typeface="Segoe UI Light" panose="020B0502040204020203" pitchFamily="34" charset="0"/>
              </a:defRPr>
            </a:lvl1pPr>
            <a:lvl2pPr marL="342834" indent="0">
              <a:buNone/>
              <a:defRPr sz="3300">
                <a:latin typeface="Segoe UI Light" panose="020B0502040204020203" pitchFamily="34" charset="0"/>
                <a:cs typeface="Segoe UI Light" panose="020B0502040204020203" pitchFamily="34" charset="0"/>
              </a:defRPr>
            </a:lvl2pPr>
            <a:lvl3pPr marL="685669" indent="0">
              <a:buNone/>
              <a:defRPr sz="3000">
                <a:latin typeface="Segoe UI Light" panose="020B0502040204020203" pitchFamily="34" charset="0"/>
                <a:cs typeface="Segoe UI Light" panose="020B0502040204020203" pitchFamily="34" charset="0"/>
              </a:defRPr>
            </a:lvl3pPr>
            <a:lvl4pPr marL="1028503" indent="0">
              <a:buNone/>
              <a:defRPr sz="2700">
                <a:latin typeface="Segoe UI Light" panose="020B0502040204020203" pitchFamily="34" charset="0"/>
                <a:cs typeface="Segoe UI Light" panose="020B0502040204020203" pitchFamily="34" charset="0"/>
              </a:defRPr>
            </a:lvl4pPr>
            <a:lvl5pPr marL="1371337" indent="0">
              <a:buNone/>
              <a:defRPr sz="2700">
                <a:latin typeface="Segoe UI Light" panose="020B0502040204020203" pitchFamily="34" charset="0"/>
                <a:cs typeface="Segoe UI Light" panose="020B0502040204020203" pitchFamily="34" charset="0"/>
              </a:defRPr>
            </a:lvl5pPr>
          </a:lstStyle>
          <a:p>
            <a:pPr lvl="0"/>
            <a:r>
              <a:rPr lang="en-US"/>
              <a:t>Edit Master text styles</a:t>
            </a:r>
          </a:p>
        </p:txBody>
      </p:sp>
      <p:sp>
        <p:nvSpPr>
          <p:cNvPr id="17" name="Text Placeholder 5">
            <a:extLst>
              <a:ext uri="{FF2B5EF4-FFF2-40B4-BE49-F238E27FC236}">
                <a16:creationId xmlns:a16="http://schemas.microsoft.com/office/drawing/2014/main" id="{58E68705-334F-4CC5-AF4E-9D16FDBEC840}"/>
              </a:ext>
            </a:extLst>
          </p:cNvPr>
          <p:cNvSpPr>
            <a:spLocks noGrp="1"/>
          </p:cNvSpPr>
          <p:nvPr>
            <p:ph type="body" sz="quarter" idx="12" hasCustomPrompt="1"/>
          </p:nvPr>
        </p:nvSpPr>
        <p:spPr>
          <a:xfrm>
            <a:off x="545628" y="4325426"/>
            <a:ext cx="3894729" cy="589905"/>
          </a:xfrm>
          <a:prstGeom prst="rect">
            <a:avLst/>
          </a:prstGeom>
        </p:spPr>
        <p:txBody>
          <a:bodyPr lIns="0" tIns="0" rIns="0" bIns="0">
            <a:spAutoFit/>
          </a:bodyPr>
          <a:lstStyle>
            <a:lvl1pPr marL="0" indent="0">
              <a:buNone/>
              <a:defRPr sz="1500">
                <a:solidFill>
                  <a:schemeClr val="bg1"/>
                </a:solidFill>
                <a:latin typeface="+mn-lt"/>
                <a:cs typeface="Segoe UI Semibold" panose="020B0702040204020203" pitchFamily="34" charset="0"/>
              </a:defRPr>
            </a:lvl1pPr>
            <a:lvl2pPr marL="342834" indent="0">
              <a:buNone/>
              <a:defRPr sz="3300">
                <a:latin typeface="Segoe UI Light" panose="020B0502040204020203" pitchFamily="34" charset="0"/>
                <a:cs typeface="Segoe UI Light" panose="020B0502040204020203" pitchFamily="34" charset="0"/>
              </a:defRPr>
            </a:lvl2pPr>
            <a:lvl3pPr marL="685669" indent="0">
              <a:buNone/>
              <a:defRPr sz="3000">
                <a:latin typeface="Segoe UI Light" panose="020B0502040204020203" pitchFamily="34" charset="0"/>
                <a:cs typeface="Segoe UI Light" panose="020B0502040204020203" pitchFamily="34" charset="0"/>
              </a:defRPr>
            </a:lvl3pPr>
            <a:lvl4pPr marL="1028503" indent="0">
              <a:buNone/>
              <a:defRPr sz="2700">
                <a:latin typeface="Segoe UI Light" panose="020B0502040204020203" pitchFamily="34" charset="0"/>
                <a:cs typeface="Segoe UI Light" panose="020B0502040204020203" pitchFamily="34" charset="0"/>
              </a:defRPr>
            </a:lvl4pPr>
            <a:lvl5pPr marL="1371337" indent="0">
              <a:buNone/>
              <a:defRPr sz="2700">
                <a:latin typeface="Segoe UI Light" panose="020B0502040204020203" pitchFamily="34" charset="0"/>
                <a:cs typeface="Segoe UI Light" panose="020B0502040204020203" pitchFamily="34" charset="0"/>
              </a:defRPr>
            </a:lvl5pPr>
          </a:lstStyle>
          <a:p>
            <a:pPr lvl="0"/>
            <a:r>
              <a:rPr lang="en-US"/>
              <a:t>Insert name</a:t>
            </a:r>
          </a:p>
          <a:p>
            <a:pPr lvl="0"/>
            <a:r>
              <a:rPr lang="en-US"/>
              <a:t>Insert title</a:t>
            </a:r>
          </a:p>
        </p:txBody>
      </p:sp>
      <p:pic>
        <p:nvPicPr>
          <p:cNvPr id="9" name="Picture 8">
            <a:extLst>
              <a:ext uri="{FF2B5EF4-FFF2-40B4-BE49-F238E27FC236}">
                <a16:creationId xmlns:a16="http://schemas.microsoft.com/office/drawing/2014/main" id="{E73BA124-A4C8-4902-9E9C-0FAB60ABD81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6581" y="357440"/>
            <a:ext cx="1743098" cy="543303"/>
          </a:xfrm>
          <a:prstGeom prst="rect">
            <a:avLst/>
          </a:prstGeom>
        </p:spPr>
      </p:pic>
    </p:spTree>
    <p:extLst>
      <p:ext uri="{BB962C8B-B14F-4D97-AF65-F5344CB8AC3E}">
        <p14:creationId xmlns:p14="http://schemas.microsoft.com/office/powerpoint/2010/main" val="118264253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23DC725-AB28-4D32-B54E-81EF510DF128}"/>
              </a:ext>
            </a:extLst>
          </p:cNvPr>
          <p:cNvSpPr>
            <a:spLocks noGrp="1"/>
          </p:cNvSpPr>
          <p:nvPr>
            <p:ph type="pic" sz="quarter" idx="13" hasCustomPrompt="1"/>
          </p:nvPr>
        </p:nvSpPr>
        <p:spPr>
          <a:xfrm>
            <a:off x="1" y="0"/>
            <a:ext cx="9144000" cy="3531736"/>
          </a:xfrm>
          <a:prstGeom prst="rect">
            <a:avLst/>
          </a:prstGeom>
          <a:solidFill>
            <a:schemeClr val="bg1">
              <a:lumMod val="85000"/>
            </a:schemeClr>
          </a:solidFill>
        </p:spPr>
        <p:txBody>
          <a:bodyPr tIns="3337560" rIns="3657600"/>
          <a:lstStyle>
            <a:lvl1pPr marL="0" indent="0" algn="r">
              <a:buNone/>
              <a:defRPr sz="1050">
                <a:latin typeface="Segoe UI Light" panose="020B0502040204020203" pitchFamily="34" charset="0"/>
                <a:cs typeface="Segoe UI Light" panose="020B0502040204020203" pitchFamily="34" charset="0"/>
              </a:defRPr>
            </a:lvl1pPr>
          </a:lstStyle>
          <a:p>
            <a:r>
              <a:rPr lang="en-US"/>
              <a:t>&lt; Click icon to insert a photo</a:t>
            </a:r>
          </a:p>
        </p:txBody>
      </p:sp>
      <p:pic>
        <p:nvPicPr>
          <p:cNvPr id="14" name="Picture 13">
            <a:extLst>
              <a:ext uri="{FF2B5EF4-FFF2-40B4-BE49-F238E27FC236}">
                <a16:creationId xmlns:a16="http://schemas.microsoft.com/office/drawing/2014/main" id="{515A4EDA-0D20-4010-B28F-F4AFCE69F1B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2083" y="4477208"/>
            <a:ext cx="1743098" cy="543303"/>
          </a:xfrm>
          <a:prstGeom prst="rect">
            <a:avLst/>
          </a:prstGeom>
        </p:spPr>
      </p:pic>
      <p:sp>
        <p:nvSpPr>
          <p:cNvPr id="15" name="Text Placeholder 5">
            <a:extLst>
              <a:ext uri="{FF2B5EF4-FFF2-40B4-BE49-F238E27FC236}">
                <a16:creationId xmlns:a16="http://schemas.microsoft.com/office/drawing/2014/main" id="{2864BB07-D8D4-496C-B924-8B826AC614D5}"/>
              </a:ext>
            </a:extLst>
          </p:cNvPr>
          <p:cNvSpPr>
            <a:spLocks noGrp="1"/>
          </p:cNvSpPr>
          <p:nvPr>
            <p:ph type="body" sz="quarter" idx="10"/>
          </p:nvPr>
        </p:nvSpPr>
        <p:spPr>
          <a:xfrm>
            <a:off x="545628" y="1337529"/>
            <a:ext cx="3894729" cy="438582"/>
          </a:xfrm>
          <a:prstGeom prst="rect">
            <a:avLst/>
          </a:prstGeom>
        </p:spPr>
        <p:txBody>
          <a:bodyPr lIns="0" tIns="0" rIns="0" bIns="0">
            <a:spAutoFit/>
          </a:bodyPr>
          <a:lstStyle>
            <a:lvl1pPr marL="0" indent="0">
              <a:buNone/>
              <a:defRPr sz="2850">
                <a:solidFill>
                  <a:schemeClr val="bg1"/>
                </a:solidFill>
                <a:latin typeface="Segoe UI Semibold" panose="020B0702040204020203" pitchFamily="34" charset="0"/>
                <a:cs typeface="Segoe UI Semibold" panose="020B0702040204020203" pitchFamily="34" charset="0"/>
              </a:defRPr>
            </a:lvl1pPr>
            <a:lvl2pPr marL="342834" indent="0">
              <a:buNone/>
              <a:defRPr sz="3300">
                <a:latin typeface="Segoe UI Light" panose="020B0502040204020203" pitchFamily="34" charset="0"/>
                <a:cs typeface="Segoe UI Light" panose="020B0502040204020203" pitchFamily="34" charset="0"/>
              </a:defRPr>
            </a:lvl2pPr>
            <a:lvl3pPr marL="685669" indent="0">
              <a:buNone/>
              <a:defRPr sz="3000">
                <a:latin typeface="Segoe UI Light" panose="020B0502040204020203" pitchFamily="34" charset="0"/>
                <a:cs typeface="Segoe UI Light" panose="020B0502040204020203" pitchFamily="34" charset="0"/>
              </a:defRPr>
            </a:lvl3pPr>
            <a:lvl4pPr marL="1028503" indent="0">
              <a:buNone/>
              <a:defRPr sz="2700">
                <a:latin typeface="Segoe UI Light" panose="020B0502040204020203" pitchFamily="34" charset="0"/>
                <a:cs typeface="Segoe UI Light" panose="020B0502040204020203" pitchFamily="34" charset="0"/>
              </a:defRPr>
            </a:lvl4pPr>
            <a:lvl5pPr marL="1371337" indent="0">
              <a:buNone/>
              <a:defRPr sz="2700">
                <a:latin typeface="Segoe UI Light" panose="020B0502040204020203" pitchFamily="34" charset="0"/>
                <a:cs typeface="Segoe UI Light" panose="020B0502040204020203" pitchFamily="34" charset="0"/>
              </a:defRPr>
            </a:lvl5pPr>
          </a:lstStyle>
          <a:p>
            <a:pPr lvl="0"/>
            <a:r>
              <a:rPr lang="en-US"/>
              <a:t>Edit Master text styles</a:t>
            </a:r>
          </a:p>
        </p:txBody>
      </p:sp>
      <p:sp>
        <p:nvSpPr>
          <p:cNvPr id="16" name="Text Placeholder 5">
            <a:extLst>
              <a:ext uri="{FF2B5EF4-FFF2-40B4-BE49-F238E27FC236}">
                <a16:creationId xmlns:a16="http://schemas.microsoft.com/office/drawing/2014/main" id="{6BA9D172-A513-44B6-B8B5-23A8985CE5E9}"/>
              </a:ext>
            </a:extLst>
          </p:cNvPr>
          <p:cNvSpPr>
            <a:spLocks noGrp="1"/>
          </p:cNvSpPr>
          <p:nvPr>
            <p:ph type="body" sz="quarter" idx="11"/>
          </p:nvPr>
        </p:nvSpPr>
        <p:spPr>
          <a:xfrm>
            <a:off x="545628" y="2548393"/>
            <a:ext cx="3894729" cy="276999"/>
          </a:xfrm>
          <a:prstGeom prst="rect">
            <a:avLst/>
          </a:prstGeom>
        </p:spPr>
        <p:txBody>
          <a:bodyPr lIns="0" tIns="0" rIns="0" bIns="0">
            <a:spAutoFit/>
          </a:bodyPr>
          <a:lstStyle>
            <a:lvl1pPr marL="0" indent="0">
              <a:buNone/>
              <a:defRPr sz="1800">
                <a:solidFill>
                  <a:schemeClr val="bg1"/>
                </a:solidFill>
                <a:latin typeface="Segoe UI Light" panose="020B0502040204020203" pitchFamily="34" charset="0"/>
                <a:cs typeface="Segoe UI Light" panose="020B0502040204020203" pitchFamily="34" charset="0"/>
              </a:defRPr>
            </a:lvl1pPr>
            <a:lvl2pPr marL="342834" indent="0">
              <a:buNone/>
              <a:defRPr sz="3300">
                <a:latin typeface="Segoe UI Light" panose="020B0502040204020203" pitchFamily="34" charset="0"/>
                <a:cs typeface="Segoe UI Light" panose="020B0502040204020203" pitchFamily="34" charset="0"/>
              </a:defRPr>
            </a:lvl2pPr>
            <a:lvl3pPr marL="685669" indent="0">
              <a:buNone/>
              <a:defRPr sz="3000">
                <a:latin typeface="Segoe UI Light" panose="020B0502040204020203" pitchFamily="34" charset="0"/>
                <a:cs typeface="Segoe UI Light" panose="020B0502040204020203" pitchFamily="34" charset="0"/>
              </a:defRPr>
            </a:lvl3pPr>
            <a:lvl4pPr marL="1028503" indent="0">
              <a:buNone/>
              <a:defRPr sz="2700">
                <a:latin typeface="Segoe UI Light" panose="020B0502040204020203" pitchFamily="34" charset="0"/>
                <a:cs typeface="Segoe UI Light" panose="020B0502040204020203" pitchFamily="34" charset="0"/>
              </a:defRPr>
            </a:lvl4pPr>
            <a:lvl5pPr marL="1371337" indent="0">
              <a:buNone/>
              <a:defRPr sz="2700">
                <a:latin typeface="Segoe UI Light" panose="020B0502040204020203" pitchFamily="34" charset="0"/>
                <a:cs typeface="Segoe UI Light" panose="020B0502040204020203" pitchFamily="34" charset="0"/>
              </a:defRPr>
            </a:lvl5pPr>
          </a:lstStyle>
          <a:p>
            <a:pPr lvl="0"/>
            <a:r>
              <a:rPr lang="en-US"/>
              <a:t>Edit Master text styles</a:t>
            </a:r>
          </a:p>
        </p:txBody>
      </p:sp>
      <p:sp>
        <p:nvSpPr>
          <p:cNvPr id="17" name="Text Placeholder 5">
            <a:extLst>
              <a:ext uri="{FF2B5EF4-FFF2-40B4-BE49-F238E27FC236}">
                <a16:creationId xmlns:a16="http://schemas.microsoft.com/office/drawing/2014/main" id="{58E68705-334F-4CC5-AF4E-9D16FDBEC840}"/>
              </a:ext>
            </a:extLst>
          </p:cNvPr>
          <p:cNvSpPr>
            <a:spLocks noGrp="1"/>
          </p:cNvSpPr>
          <p:nvPr>
            <p:ph type="body" sz="quarter" idx="12" hasCustomPrompt="1"/>
          </p:nvPr>
        </p:nvSpPr>
        <p:spPr>
          <a:xfrm>
            <a:off x="545628" y="3321979"/>
            <a:ext cx="3894729" cy="543739"/>
          </a:xfrm>
          <a:prstGeom prst="rect">
            <a:avLst/>
          </a:prstGeom>
        </p:spPr>
        <p:txBody>
          <a:bodyPr lIns="0" tIns="0" rIns="0" bIns="0">
            <a:spAutoFit/>
          </a:bodyPr>
          <a:lstStyle>
            <a:lvl1pPr marL="0" indent="0">
              <a:buNone/>
              <a:defRPr sz="1350">
                <a:solidFill>
                  <a:schemeClr val="bg1"/>
                </a:solidFill>
                <a:latin typeface="Segoe UI Semibold" panose="020B0702040204020203" pitchFamily="34" charset="0"/>
                <a:cs typeface="Segoe UI Semibold" panose="020B0702040204020203" pitchFamily="34" charset="0"/>
              </a:defRPr>
            </a:lvl1pPr>
            <a:lvl2pPr marL="342834" indent="0">
              <a:buNone/>
              <a:defRPr sz="3300">
                <a:latin typeface="Segoe UI Light" panose="020B0502040204020203" pitchFamily="34" charset="0"/>
                <a:cs typeface="Segoe UI Light" panose="020B0502040204020203" pitchFamily="34" charset="0"/>
              </a:defRPr>
            </a:lvl2pPr>
            <a:lvl3pPr marL="685669" indent="0">
              <a:buNone/>
              <a:defRPr sz="3000">
                <a:latin typeface="Segoe UI Light" panose="020B0502040204020203" pitchFamily="34" charset="0"/>
                <a:cs typeface="Segoe UI Light" panose="020B0502040204020203" pitchFamily="34" charset="0"/>
              </a:defRPr>
            </a:lvl3pPr>
            <a:lvl4pPr marL="1028503" indent="0">
              <a:buNone/>
              <a:defRPr sz="2700">
                <a:latin typeface="Segoe UI Light" panose="020B0502040204020203" pitchFamily="34" charset="0"/>
                <a:cs typeface="Segoe UI Light" panose="020B0502040204020203" pitchFamily="34" charset="0"/>
              </a:defRPr>
            </a:lvl4pPr>
            <a:lvl5pPr marL="1371337" indent="0">
              <a:buNone/>
              <a:defRPr sz="2700">
                <a:latin typeface="Segoe UI Light" panose="020B0502040204020203" pitchFamily="34" charset="0"/>
                <a:cs typeface="Segoe UI Light" panose="020B0502040204020203" pitchFamily="34" charset="0"/>
              </a:defRPr>
            </a:lvl5pPr>
          </a:lstStyle>
          <a:p>
            <a:pPr lvl="0"/>
            <a:r>
              <a:rPr lang="en-US"/>
              <a:t>Insert name</a:t>
            </a:r>
          </a:p>
          <a:p>
            <a:pPr lvl="0"/>
            <a:r>
              <a:rPr lang="en-US"/>
              <a:t>Insert title</a:t>
            </a:r>
          </a:p>
        </p:txBody>
      </p:sp>
    </p:spTree>
    <p:extLst>
      <p:ext uri="{BB962C8B-B14F-4D97-AF65-F5344CB8AC3E}">
        <p14:creationId xmlns:p14="http://schemas.microsoft.com/office/powerpoint/2010/main" val="279508203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Image Full Bleed">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id="{2B0B6FF9-6B95-453A-92EE-13FE3BD35AE4}"/>
              </a:ext>
            </a:extLst>
          </p:cNvPr>
          <p:cNvSpPr>
            <a:spLocks noGrp="1"/>
          </p:cNvSpPr>
          <p:nvPr>
            <p:ph type="pic" sz="quarter" idx="12" hasCustomPrompt="1"/>
          </p:nvPr>
        </p:nvSpPr>
        <p:spPr>
          <a:xfrm>
            <a:off x="1" y="1999798"/>
            <a:ext cx="9144000" cy="1143903"/>
          </a:xfrm>
          <a:prstGeom prst="rect">
            <a:avLst/>
          </a:prstGeom>
          <a:solidFill>
            <a:schemeClr val="bg2">
              <a:alpha val="81000"/>
            </a:schemeClr>
          </a:solidFill>
        </p:spPr>
        <p:txBody>
          <a:bodyPr bIns="548640" anchor="ctr"/>
          <a:lstStyle>
            <a:lvl1pPr marL="0" indent="0" algn="l">
              <a:buNone/>
              <a:defRPr sz="1500">
                <a:latin typeface="Segoe UI Light" panose="020B0502040204020203" pitchFamily="34" charset="0"/>
                <a:cs typeface="Segoe UI Light" panose="020B0502040204020203" pitchFamily="34" charset="0"/>
              </a:defRPr>
            </a:lvl1pPr>
          </a:lstStyle>
          <a:p>
            <a:r>
              <a:rPr lang="en-US"/>
              <a:t>        Click icon to insert a photo</a:t>
            </a:r>
          </a:p>
          <a:p>
            <a:endParaRPr lang="en-US"/>
          </a:p>
        </p:txBody>
      </p:sp>
      <p:sp>
        <p:nvSpPr>
          <p:cNvPr id="9" name="Content Placeholder 6">
            <a:extLst>
              <a:ext uri="{FF2B5EF4-FFF2-40B4-BE49-F238E27FC236}">
                <a16:creationId xmlns:a16="http://schemas.microsoft.com/office/drawing/2014/main" id="{A3923364-5E1E-448B-AAD6-B257F7313233}"/>
              </a:ext>
            </a:extLst>
          </p:cNvPr>
          <p:cNvSpPr>
            <a:spLocks noGrp="1"/>
          </p:cNvSpPr>
          <p:nvPr>
            <p:ph sz="quarter" idx="13"/>
          </p:nvPr>
        </p:nvSpPr>
        <p:spPr>
          <a:xfrm>
            <a:off x="5188719" y="1288198"/>
            <a:ext cx="3409653" cy="369332"/>
          </a:xfrm>
          <a:prstGeom prst="rect">
            <a:avLst/>
          </a:prstGeom>
        </p:spPr>
        <p:txBody>
          <a:bodyPr lIns="0" tIns="0" rIns="0" bIns="0">
            <a:spAutoFit/>
          </a:bodyPr>
          <a:lstStyle>
            <a:lvl1pPr marL="0" indent="0">
              <a:buNone/>
              <a:defRPr sz="24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2" name="Content Placeholder 10">
            <a:extLst>
              <a:ext uri="{FF2B5EF4-FFF2-40B4-BE49-F238E27FC236}">
                <a16:creationId xmlns:a16="http://schemas.microsoft.com/office/drawing/2014/main" id="{7D245258-493F-4E5C-AB6A-6AB135FCFD40}"/>
              </a:ext>
            </a:extLst>
          </p:cNvPr>
          <p:cNvSpPr>
            <a:spLocks noGrp="1"/>
          </p:cNvSpPr>
          <p:nvPr>
            <p:ph sz="quarter" idx="14" hasCustomPrompt="1"/>
          </p:nvPr>
        </p:nvSpPr>
        <p:spPr>
          <a:xfrm>
            <a:off x="5188719" y="1845195"/>
            <a:ext cx="3409653" cy="757611"/>
          </a:xfrm>
          <a:prstGeom prst="rect">
            <a:avLst/>
          </a:prstGeom>
        </p:spPr>
        <p:txBody>
          <a:bodyPr wrap="square" lIns="0" tIns="0" rIns="0" bIns="0">
            <a:spAutoFit/>
          </a:bodyPr>
          <a:lstStyle>
            <a:lvl1pPr marL="0" indent="0">
              <a:lnSpc>
                <a:spcPct val="120000"/>
              </a:lnSpc>
              <a:spcBef>
                <a:spcPts val="0"/>
              </a:spcBef>
              <a:spcAft>
                <a:spcPts val="900"/>
              </a:spcAft>
              <a:buNone/>
              <a:defRPr sz="1050">
                <a:solidFill>
                  <a:schemeClr val="tx2"/>
                </a:solidFill>
              </a:defRPr>
            </a:lvl1pPr>
          </a:lstStyle>
          <a:p>
            <a:pPr lvl="0"/>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p:txBody>
      </p:sp>
    </p:spTree>
    <p:extLst>
      <p:ext uri="{BB962C8B-B14F-4D97-AF65-F5344CB8AC3E}">
        <p14:creationId xmlns:p14="http://schemas.microsoft.com/office/powerpoint/2010/main" val="378145736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Left Content / Image Split">
    <p:spTree>
      <p:nvGrpSpPr>
        <p:cNvPr id="1" name=""/>
        <p:cNvGrpSpPr/>
        <p:nvPr/>
      </p:nvGrpSpPr>
      <p:grpSpPr>
        <a:xfrm>
          <a:off x="0" y="0"/>
          <a:ext cx="0" cy="0"/>
          <a:chOff x="0" y="0"/>
          <a:chExt cx="0" cy="0"/>
        </a:xfrm>
      </p:grpSpPr>
      <p:sp>
        <p:nvSpPr>
          <p:cNvPr id="11" name="Title 9">
            <a:extLst>
              <a:ext uri="{FF2B5EF4-FFF2-40B4-BE49-F238E27FC236}">
                <a16:creationId xmlns:a16="http://schemas.microsoft.com/office/drawing/2014/main" id="{57BEC4CB-DA8A-4E9A-927A-29DA0F4358C4}"/>
              </a:ext>
            </a:extLst>
          </p:cNvPr>
          <p:cNvSpPr>
            <a:spLocks noGrp="1"/>
          </p:cNvSpPr>
          <p:nvPr>
            <p:ph type="title"/>
          </p:nvPr>
        </p:nvSpPr>
        <p:spPr>
          <a:xfrm>
            <a:off x="377457" y="497757"/>
            <a:ext cx="4302492" cy="332399"/>
          </a:xfrm>
          <a:prstGeom prst="rect">
            <a:avLst/>
          </a:prstGeom>
        </p:spPr>
        <p:txBody>
          <a:bodyPr wrap="square" lIns="0" tIns="0" rIns="0" bIns="0">
            <a:spAutoFit/>
          </a:bodyPr>
          <a:lstStyle>
            <a:lvl1pPr>
              <a:defRPr sz="2400">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13" name="Text Placeholder 12">
            <a:extLst>
              <a:ext uri="{FF2B5EF4-FFF2-40B4-BE49-F238E27FC236}">
                <a16:creationId xmlns:a16="http://schemas.microsoft.com/office/drawing/2014/main" id="{F705A9B7-0D07-4F93-9F43-1DB33CEF1ACA}"/>
              </a:ext>
            </a:extLst>
          </p:cNvPr>
          <p:cNvSpPr>
            <a:spLocks noGrp="1"/>
          </p:cNvSpPr>
          <p:nvPr>
            <p:ph type="body" sz="quarter" idx="10" hasCustomPrompt="1"/>
          </p:nvPr>
        </p:nvSpPr>
        <p:spPr>
          <a:xfrm>
            <a:off x="377459" y="910038"/>
            <a:ext cx="2299854" cy="207749"/>
          </a:xfrm>
          <a:prstGeom prst="rect">
            <a:avLst/>
          </a:prstGeom>
        </p:spPr>
        <p:txBody>
          <a:bodyPr wrap="square" lIns="0" tIns="0" rIns="0" bIns="0">
            <a:spAutoFit/>
          </a:bodyPr>
          <a:lstStyle>
            <a:lvl1pPr marL="0" indent="0">
              <a:buNone/>
              <a:defRPr sz="1350"/>
            </a:lvl1pPr>
          </a:lstStyle>
          <a:p>
            <a:pPr lvl="0"/>
            <a:r>
              <a:rPr lang="en-US"/>
              <a:t>Insert subtitle down here</a:t>
            </a:r>
          </a:p>
        </p:txBody>
      </p:sp>
      <p:sp>
        <p:nvSpPr>
          <p:cNvPr id="18" name="Picture Placeholder 16">
            <a:extLst>
              <a:ext uri="{FF2B5EF4-FFF2-40B4-BE49-F238E27FC236}">
                <a16:creationId xmlns:a16="http://schemas.microsoft.com/office/drawing/2014/main" id="{6A32296C-3376-4B7E-8528-F4B3AE5EB550}"/>
              </a:ext>
            </a:extLst>
          </p:cNvPr>
          <p:cNvSpPr>
            <a:spLocks noGrp="1"/>
          </p:cNvSpPr>
          <p:nvPr>
            <p:ph type="pic" sz="quarter" idx="11"/>
          </p:nvPr>
        </p:nvSpPr>
        <p:spPr>
          <a:xfrm>
            <a:off x="4900612" y="0"/>
            <a:ext cx="4243388" cy="2542491"/>
          </a:xfrm>
          <a:prstGeom prst="rect">
            <a:avLst/>
          </a:prstGeom>
        </p:spPr>
        <p:txBody>
          <a:bodyPr/>
          <a:lstStyle>
            <a:lvl1pPr marL="0" indent="0" algn="ctr">
              <a:buNone/>
              <a:defRPr/>
            </a:lvl1pPr>
          </a:lstStyle>
          <a:p>
            <a:endParaRPr lang="en-US"/>
          </a:p>
          <a:p>
            <a:endParaRPr lang="en-US"/>
          </a:p>
          <a:p>
            <a:endParaRPr lang="en-US"/>
          </a:p>
          <a:p>
            <a:endParaRPr lang="en-US"/>
          </a:p>
          <a:p>
            <a:endParaRPr lang="en-US"/>
          </a:p>
          <a:p>
            <a:r>
              <a:rPr lang="en-US"/>
              <a:t>Insert picture here</a:t>
            </a:r>
          </a:p>
        </p:txBody>
      </p:sp>
      <p:sp>
        <p:nvSpPr>
          <p:cNvPr id="25" name="Content Placeholder 23">
            <a:extLst>
              <a:ext uri="{FF2B5EF4-FFF2-40B4-BE49-F238E27FC236}">
                <a16:creationId xmlns:a16="http://schemas.microsoft.com/office/drawing/2014/main" id="{8B92D2D8-67CA-432A-9029-045FDB781924}"/>
              </a:ext>
            </a:extLst>
          </p:cNvPr>
          <p:cNvSpPr>
            <a:spLocks noGrp="1"/>
          </p:cNvSpPr>
          <p:nvPr>
            <p:ph sz="quarter" idx="12" hasCustomPrompt="1"/>
          </p:nvPr>
        </p:nvSpPr>
        <p:spPr>
          <a:xfrm>
            <a:off x="377458" y="1645921"/>
            <a:ext cx="3423804" cy="2573782"/>
          </a:xfrm>
          <a:prstGeom prst="rect">
            <a:avLst/>
          </a:prstGeom>
        </p:spPr>
        <p:txBody>
          <a:bodyPr wrap="square" lIns="0" tIns="0" rIns="0" bIns="0">
            <a:spAutoFit/>
          </a:bodyPr>
          <a:lstStyle>
            <a:lvl1pPr marL="0" marR="0" indent="0" algn="l" defTabSz="685669" rtl="0" eaLnBrk="1" fontAlgn="auto" latinLnBrk="0" hangingPunct="1">
              <a:lnSpc>
                <a:spcPct val="100000"/>
              </a:lnSpc>
              <a:spcBef>
                <a:spcPts val="0"/>
              </a:spcBef>
              <a:spcAft>
                <a:spcPts val="0"/>
              </a:spcAft>
              <a:buClrTx/>
              <a:buSzTx/>
              <a:buFontTx/>
              <a:buNone/>
              <a:tabLst/>
              <a:defRPr/>
            </a:lvl1pPr>
          </a:lstStyle>
          <a:p>
            <a:pPr marL="0" marR="0" lvl="0" indent="0" algn="l" defTabSz="6856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Section Title here</a:t>
            </a:r>
          </a:p>
          <a:p>
            <a:pPr marL="0" marR="0" lvl="0" indent="0" algn="l" defTabSz="68566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Lorem ipsum dolor si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amet</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consectetuer</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adipiscing</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elit</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Maecenas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orttitor</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congue</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massa</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Fusce</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osuere</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magna sed pulvinar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ultricie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uru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lectu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malesuada</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libero, si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amet</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commodo</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magna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ero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qui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urna</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a:t>
            </a:r>
          </a:p>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0" marR="0" lvl="0" indent="0" algn="l" defTabSz="68566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Nunc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viverra</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imperdiet</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enim</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Fusce</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es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Vivamu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tellu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a:t>
            </a:r>
          </a:p>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0" marR="0" lvl="0" indent="0" algn="l" defTabSz="685669"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ellentesque</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habitan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morbi</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tristique</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senectu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e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netu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e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malesuada</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fames ac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turpi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egesta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roin</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pharetra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nonummy</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pede</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Mauris</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 et </a:t>
            </a: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orci</a:t>
            </a:r>
            <a:r>
              <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rPr>
              <a:t>.</a:t>
            </a:r>
          </a:p>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214271" marR="0" lvl="0" indent="-214271" algn="l" defTabSz="68566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Sdfsdfsdf</a:t>
            </a:r>
            <a:endPar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214271" marR="0" lvl="0" indent="-214271" algn="l" defTabSz="68566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Sdfsdfsdf</a:t>
            </a:r>
            <a:endPar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214271" marR="0" lvl="0" indent="-214271" algn="l" defTabSz="68566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err="1">
                <a:ln>
                  <a:noFill/>
                </a:ln>
                <a:solidFill>
                  <a:srgbClr val="505050"/>
                </a:solidFill>
                <a:effectLst/>
                <a:uLnTx/>
                <a:uFillTx/>
                <a:latin typeface="+mn-lt"/>
                <a:ea typeface="+mn-ea"/>
                <a:cs typeface="Segoe UI Semibold" panose="020B0702040204020203" pitchFamily="34" charset="0"/>
              </a:rPr>
              <a:t>sddfsdf</a:t>
            </a:r>
            <a:endParaRPr kumimoji="0" lang="en-US" sz="1050" b="0" i="0" u="none" strike="noStrike" kern="1200" cap="none" spc="0" normalizeH="0" baseline="0" noProof="0">
              <a:ln>
                <a:noFill/>
              </a:ln>
              <a:solidFill>
                <a:srgbClr val="505050"/>
              </a:solidFill>
              <a:effectLst/>
              <a:uLnTx/>
              <a:uFillTx/>
              <a:latin typeface="+mn-lt"/>
              <a:ea typeface="+mn-ea"/>
              <a:cs typeface="Segoe UI Semibold" panose="020B0702040204020203" pitchFamily="34" charset="0"/>
            </a:endParaRPr>
          </a:p>
          <a:p>
            <a:pPr marL="0" marR="0" lvl="0" indent="0" algn="l" defTabSz="685669"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a:ln>
                <a:noFill/>
              </a:ln>
              <a:solidFill>
                <a:srgbClr val="505050"/>
              </a:solidFill>
              <a:effectLst/>
              <a:uLnTx/>
              <a:uFillTx/>
              <a:latin typeface="+mn-lt"/>
              <a:ea typeface="+mn-ea"/>
              <a:cs typeface="+mn-cs"/>
            </a:endParaRPr>
          </a:p>
        </p:txBody>
      </p:sp>
    </p:spTree>
    <p:extLst>
      <p:ext uri="{BB962C8B-B14F-4D97-AF65-F5344CB8AC3E}">
        <p14:creationId xmlns:p14="http://schemas.microsoft.com/office/powerpoint/2010/main" val="68600547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Left Content / Image Spli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705A9B7-0D07-4F93-9F43-1DB33CEF1ACA}"/>
              </a:ext>
            </a:extLst>
          </p:cNvPr>
          <p:cNvSpPr>
            <a:spLocks noGrp="1"/>
          </p:cNvSpPr>
          <p:nvPr>
            <p:ph type="body" sz="quarter" idx="10" hasCustomPrompt="1"/>
          </p:nvPr>
        </p:nvSpPr>
        <p:spPr>
          <a:xfrm>
            <a:off x="377458" y="910038"/>
            <a:ext cx="8389085" cy="207749"/>
          </a:xfrm>
          <a:prstGeom prst="rect">
            <a:avLst/>
          </a:prstGeom>
        </p:spPr>
        <p:txBody>
          <a:bodyPr wrap="square" lIns="0" tIns="0" rIns="0" bIns="0">
            <a:spAutoFit/>
          </a:bodyPr>
          <a:lstStyle>
            <a:lvl1pPr marL="0" indent="0">
              <a:buNone/>
              <a:defRPr sz="1350"/>
            </a:lvl1pPr>
          </a:lstStyle>
          <a:p>
            <a:pPr lvl="0"/>
            <a:r>
              <a:rPr lang="en-US"/>
              <a:t>Insert subtitle down here</a:t>
            </a:r>
          </a:p>
        </p:txBody>
      </p:sp>
      <p:sp>
        <p:nvSpPr>
          <p:cNvPr id="6" name="Text Placeholder 5">
            <a:extLst>
              <a:ext uri="{FF2B5EF4-FFF2-40B4-BE49-F238E27FC236}">
                <a16:creationId xmlns:a16="http://schemas.microsoft.com/office/drawing/2014/main" id="{A6C34D21-2D57-42C4-A58C-CF9DEC744989}"/>
              </a:ext>
            </a:extLst>
          </p:cNvPr>
          <p:cNvSpPr>
            <a:spLocks noGrp="1"/>
          </p:cNvSpPr>
          <p:nvPr>
            <p:ph type="body" sz="quarter" idx="11"/>
          </p:nvPr>
        </p:nvSpPr>
        <p:spPr>
          <a:xfrm>
            <a:off x="377458" y="497757"/>
            <a:ext cx="8389085" cy="369332"/>
          </a:xfrm>
          <a:prstGeom prst="rect">
            <a:avLst/>
          </a:prstGeom>
        </p:spPr>
        <p:txBody>
          <a:bodyPr wrap="square" lIns="0" tIns="0" rIns="0" bIns="0">
            <a:spAutoFit/>
          </a:bodyPr>
          <a:lstStyle>
            <a:lvl1pPr marL="0" indent="0">
              <a:buNone/>
              <a:defRPr sz="2400">
                <a:solidFill>
                  <a:schemeClr val="accent2"/>
                </a:solidFill>
                <a:latin typeface="Segoe UI Semibold" panose="020B0702040204020203" pitchFamily="34" charset="0"/>
                <a:cs typeface="Segoe UI Semibold" panose="020B0702040204020203" pitchFamily="34" charset="0"/>
              </a:defRPr>
            </a:lvl1pPr>
            <a:lvl2pPr marL="342834" indent="0">
              <a:buNone/>
              <a:defRPr sz="3300">
                <a:latin typeface="Segoe UI Light" panose="020B0502040204020203" pitchFamily="34" charset="0"/>
                <a:cs typeface="Segoe UI Light" panose="020B0502040204020203" pitchFamily="34" charset="0"/>
              </a:defRPr>
            </a:lvl2pPr>
            <a:lvl3pPr marL="685669" indent="0">
              <a:buNone/>
              <a:defRPr sz="3000">
                <a:latin typeface="Segoe UI Light" panose="020B0502040204020203" pitchFamily="34" charset="0"/>
                <a:cs typeface="Segoe UI Light" panose="020B0502040204020203" pitchFamily="34" charset="0"/>
              </a:defRPr>
            </a:lvl3pPr>
            <a:lvl4pPr marL="1028503" indent="0">
              <a:buNone/>
              <a:defRPr sz="2700">
                <a:latin typeface="Segoe UI Light" panose="020B0502040204020203" pitchFamily="34" charset="0"/>
                <a:cs typeface="Segoe UI Light" panose="020B0502040204020203" pitchFamily="34" charset="0"/>
              </a:defRPr>
            </a:lvl4pPr>
            <a:lvl5pPr marL="1371337" indent="0">
              <a:buNone/>
              <a:defRPr sz="2700">
                <a:latin typeface="Segoe UI Light" panose="020B0502040204020203" pitchFamily="34" charset="0"/>
                <a:cs typeface="Segoe UI Light" panose="020B0502040204020203" pitchFamily="34" charset="0"/>
              </a:defRPr>
            </a:lvl5pPr>
          </a:lstStyle>
          <a:p>
            <a:pPr lvl="0"/>
            <a:r>
              <a:rPr lang="en-US"/>
              <a:t>Edit Master text styles</a:t>
            </a:r>
          </a:p>
        </p:txBody>
      </p:sp>
    </p:spTree>
    <p:extLst>
      <p:ext uri="{BB962C8B-B14F-4D97-AF65-F5344CB8AC3E}">
        <p14:creationId xmlns:p14="http://schemas.microsoft.com/office/powerpoint/2010/main" val="77770359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image" Target="../media/image2.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image" Target="../media/image12.png"/><Relationship Id="rId5" Type="http://schemas.openxmlformats.org/officeDocument/2006/relationships/slideLayout" Target="../slideLayouts/slideLayout56.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image" Target="../media/image13.emf"/><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theme" Target="../theme/theme4.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theme" Target="../theme/theme5.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9" Type="http://schemas.openxmlformats.org/officeDocument/2006/relationships/image" Target="../media/image30.emf"/><Relationship Id="rId21" Type="http://schemas.openxmlformats.org/officeDocument/2006/relationships/slideLayout" Target="../slideLayouts/slideLayout142.xml"/><Relationship Id="rId34" Type="http://schemas.openxmlformats.org/officeDocument/2006/relationships/slideLayout" Target="../slideLayouts/slideLayout155.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theme" Target="../theme/theme6.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slideLayout" Target="../slideLayouts/slideLayout150.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8" Type="http://schemas.openxmlformats.org/officeDocument/2006/relationships/slideLayout" Target="../slideLayouts/slideLayout129.xml"/><Relationship Id="rId3" Type="http://schemas.openxmlformats.org/officeDocument/2006/relationships/slideLayout" Target="../slideLayouts/slideLayout12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21" Type="http://schemas.openxmlformats.org/officeDocument/2006/relationships/slideLayout" Target="../slideLayouts/slideLayout179.xml"/><Relationship Id="rId34" Type="http://schemas.openxmlformats.org/officeDocument/2006/relationships/slideLayout" Target="../slideLayouts/slideLayout192.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slideLayout" Target="../slideLayouts/slideLayout191.xml"/><Relationship Id="rId38" Type="http://schemas.openxmlformats.org/officeDocument/2006/relationships/image" Target="../media/image30.emf"/><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29" Type="http://schemas.openxmlformats.org/officeDocument/2006/relationships/slideLayout" Target="../slideLayouts/slideLayout187.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32" Type="http://schemas.openxmlformats.org/officeDocument/2006/relationships/slideLayout" Target="../slideLayouts/slideLayout190.xml"/><Relationship Id="rId37" Type="http://schemas.openxmlformats.org/officeDocument/2006/relationships/theme" Target="../theme/theme7.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36" Type="http://schemas.openxmlformats.org/officeDocument/2006/relationships/slideLayout" Target="../slideLayouts/slideLayout194.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31" Type="http://schemas.openxmlformats.org/officeDocument/2006/relationships/slideLayout" Target="../slideLayouts/slideLayout189.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 Id="rId35" Type="http://schemas.openxmlformats.org/officeDocument/2006/relationships/slideLayout" Target="../slideLayouts/slideLayout193.xml"/><Relationship Id="rId8" Type="http://schemas.openxmlformats.org/officeDocument/2006/relationships/slideLayout" Target="../slideLayouts/slideLayout166.xml"/><Relationship Id="rId3" Type="http://schemas.openxmlformats.org/officeDocument/2006/relationships/slideLayout" Target="../slideLayouts/slideLayout16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image" Target="../media/image45.jpg"/><Relationship Id="rId5" Type="http://schemas.openxmlformats.org/officeDocument/2006/relationships/slideLayout" Target="../slideLayouts/slideLayout199.xml"/><Relationship Id="rId10" Type="http://schemas.openxmlformats.org/officeDocument/2006/relationships/theme" Target="../theme/theme8.xml"/><Relationship Id="rId4" Type="http://schemas.openxmlformats.org/officeDocument/2006/relationships/slideLayout" Target="../slideLayouts/slideLayout198.xml"/><Relationship Id="rId9" Type="http://schemas.openxmlformats.org/officeDocument/2006/relationships/slideLayout" Target="../slideLayouts/slideLayout2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1.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5" Type="http://schemas.openxmlformats.org/officeDocument/2006/relationships/slideLayout" Target="../slideLayouts/slideLayout208.xml"/><Relationship Id="rId10" Type="http://schemas.openxmlformats.org/officeDocument/2006/relationships/theme" Target="../theme/theme9.xml"/><Relationship Id="rId4" Type="http://schemas.openxmlformats.org/officeDocument/2006/relationships/slideLayout" Target="../slideLayouts/slideLayout207.xml"/><Relationship Id="rId9" Type="http://schemas.openxmlformats.org/officeDocument/2006/relationships/slideLayout" Target="../slideLayouts/slideLayout2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457200" y="1028700"/>
            <a:ext cx="8229600" cy="33718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457200" y="228600"/>
            <a:ext cx="8229600" cy="5715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0524839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7" r:id="rId8"/>
    <p:sldLayoutId id="2147483758" r:id="rId9"/>
    <p:sldLayoutId id="2147483885" r:id="rId10"/>
  </p:sldLayoutIdLst>
  <p:transition>
    <p:fade/>
  </p:transition>
  <p:hf hdr="0" ftr="0" dt="0"/>
  <p:txStyles>
    <p:titleStyle>
      <a:lvl1pPr marL="0" indent="0" algn="ctr" defTabSz="-13873163" rtl="0" eaLnBrk="1" fontAlgn="base" hangingPunct="1">
        <a:spcBef>
          <a:spcPct val="0"/>
        </a:spcBef>
        <a:spcAft>
          <a:spcPct val="0"/>
        </a:spcAft>
        <a:defRPr lang="en-US" sz="2900" b="1" dirty="0" smtClean="0">
          <a:solidFill>
            <a:schemeClr val="accent2"/>
          </a:solidFill>
          <a:latin typeface="Calibri"/>
          <a:ea typeface="+mj-ea"/>
          <a:cs typeface="Segoe UI" pitchFamily="34" charset="0"/>
        </a:defRPr>
      </a:lvl1pPr>
      <a:lvl2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2pPr>
      <a:lvl3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3pPr>
      <a:lvl4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4pPr>
      <a:lvl5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5pPr>
      <a:lvl6pPr marL="457200" algn="l" eaLnBrk="1" fontAlgn="base" hangingPunct="1">
        <a:spcBef>
          <a:spcPct val="0"/>
        </a:spcBef>
        <a:spcAft>
          <a:spcPct val="0"/>
        </a:spcAft>
        <a:defRPr sz="2800" b="1">
          <a:solidFill>
            <a:schemeClr val="tx2">
              <a:alpha val="100000"/>
            </a:schemeClr>
          </a:solidFill>
          <a:latin typeface="Verdana"/>
        </a:defRPr>
      </a:lvl6pPr>
      <a:lvl7pPr marL="914400" algn="l" eaLnBrk="1" fontAlgn="base" hangingPunct="1">
        <a:spcBef>
          <a:spcPct val="0"/>
        </a:spcBef>
        <a:spcAft>
          <a:spcPct val="0"/>
        </a:spcAft>
        <a:defRPr sz="2800" b="1">
          <a:solidFill>
            <a:schemeClr val="tx2">
              <a:alpha val="100000"/>
            </a:schemeClr>
          </a:solidFill>
          <a:latin typeface="Verdana"/>
        </a:defRPr>
      </a:lvl7pPr>
      <a:lvl8pPr marL="1371600" algn="l" eaLnBrk="1" fontAlgn="base" hangingPunct="1">
        <a:spcBef>
          <a:spcPct val="0"/>
        </a:spcBef>
        <a:spcAft>
          <a:spcPct val="0"/>
        </a:spcAft>
        <a:defRPr sz="2800" b="1">
          <a:solidFill>
            <a:schemeClr val="tx2">
              <a:alpha val="100000"/>
            </a:schemeClr>
          </a:solidFill>
          <a:latin typeface="Verdana"/>
        </a:defRPr>
      </a:lvl8pPr>
      <a:lvl9pPr marL="1828800" algn="l" eaLnBrk="1" fontAlgn="base" hangingPunct="1">
        <a:spcBef>
          <a:spcPct val="0"/>
        </a:spcBef>
        <a:spcAft>
          <a:spcPct val="0"/>
        </a:spcAft>
        <a:defRPr sz="2800" b="1">
          <a:solidFill>
            <a:schemeClr val="tx2">
              <a:alpha val="100000"/>
            </a:schemeClr>
          </a:solidFill>
          <a:latin typeface="Verdana"/>
        </a:defRPr>
      </a:lvl9pPr>
    </p:titleStyle>
    <p:bodyStyle>
      <a:lvl1pPr marL="342900" indent="-342900" algn="l" defTabSz="-13873163" rtl="0" eaLnBrk="1" fontAlgn="base" hangingPunct="1">
        <a:spcBef>
          <a:spcPct val="20000"/>
        </a:spcBef>
        <a:spcAft>
          <a:spcPct val="0"/>
        </a:spcAft>
        <a:buFont typeface="Wingdings" pitchFamily="2" charset="2"/>
        <a:buChar char="§"/>
        <a:defRPr sz="2100" b="1">
          <a:solidFill>
            <a:schemeClr val="tx1"/>
          </a:solidFill>
          <a:latin typeface="Calibri" pitchFamily="34" charset="0"/>
          <a:ea typeface="+mn-ea"/>
          <a:cs typeface="Segoe UI" pitchFamily="34" charset="0"/>
        </a:defRPr>
      </a:lvl1pPr>
      <a:lvl2pPr marL="742950" indent="-285750" algn="l" defTabSz="-13873163" rtl="0" eaLnBrk="1" fontAlgn="base" hangingPunct="1">
        <a:spcBef>
          <a:spcPct val="20000"/>
        </a:spcBef>
        <a:spcAft>
          <a:spcPct val="0"/>
        </a:spcAft>
        <a:buSzPct val="50000"/>
        <a:buFont typeface="Wingdings" pitchFamily="2" charset="2"/>
        <a:buChar char="o"/>
        <a:defRPr sz="1900">
          <a:solidFill>
            <a:schemeClr val="tx1"/>
          </a:solidFill>
          <a:latin typeface="Calibri Light" pitchFamily="34" charset="0"/>
          <a:cs typeface="Segoe UI" pitchFamily="34" charset="0"/>
        </a:defRPr>
      </a:lvl2pPr>
      <a:lvl3pPr marL="1143000" indent="-228600" algn="l" defTabSz="-13873163" rtl="0" eaLnBrk="1" fontAlgn="base" hangingPunct="1">
        <a:spcBef>
          <a:spcPct val="20000"/>
        </a:spcBef>
        <a:spcAft>
          <a:spcPct val="0"/>
        </a:spcAft>
        <a:buSzPct val="50000"/>
        <a:buFont typeface="Wingdings" pitchFamily="2" charset="2"/>
        <a:buChar char="o"/>
        <a:defRPr sz="1700">
          <a:solidFill>
            <a:schemeClr val="tx1"/>
          </a:solidFill>
          <a:latin typeface="Calibri Light" pitchFamily="34" charset="0"/>
          <a:cs typeface="Segoe UI" pitchFamily="34" charset="0"/>
        </a:defRPr>
      </a:lvl3pPr>
      <a:lvl4pPr marL="1600200" indent="-228600" algn="l" defTabSz="-13873163" rtl="0" eaLnBrk="1" fontAlgn="base" hangingPunct="1">
        <a:spcBef>
          <a:spcPct val="20000"/>
        </a:spcBef>
        <a:spcAft>
          <a:spcPct val="0"/>
        </a:spcAft>
        <a:buSzPct val="50000"/>
        <a:buFont typeface="Wingdings" pitchFamily="2" charset="2"/>
        <a:buChar char="o"/>
        <a:defRPr sz="1500">
          <a:solidFill>
            <a:schemeClr val="tx1"/>
          </a:solidFill>
          <a:latin typeface="Calibri Light" pitchFamily="34" charset="0"/>
          <a:cs typeface="Segoe UI" pitchFamily="34" charset="0"/>
        </a:defRPr>
      </a:lvl4pPr>
      <a:lvl5pPr marL="2057400" indent="-228600" algn="l" defTabSz="-13873163" rtl="0" eaLnBrk="1" fontAlgn="base" hangingPunct="1">
        <a:spcBef>
          <a:spcPct val="20000"/>
        </a:spcBef>
        <a:spcAft>
          <a:spcPct val="0"/>
        </a:spcAft>
        <a:buSzPct val="50000"/>
        <a:buFont typeface="Wingdings" pitchFamily="2" charset="2"/>
        <a:buChar char="o"/>
        <a:defRPr sz="1300">
          <a:solidFill>
            <a:schemeClr val="tx1"/>
          </a:solidFill>
          <a:latin typeface="Calibri Light" pitchFamily="34" charset="0"/>
          <a:cs typeface="Segoe UI" pitchFamily="34" charset="0"/>
        </a:defRPr>
      </a:lvl5pPr>
      <a:lvl6pPr marL="25146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6pPr>
      <a:lvl7pPr marL="29718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7pPr>
      <a:lvl8pPr marL="34290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8pPr>
      <a:lvl9pPr marL="38862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441197" y="342901"/>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37"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37" fontAlgn="base">
              <a:lnSpc>
                <a:spcPct val="90000"/>
              </a:lnSpc>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2"/>
          <a:stretch>
            <a:fillRect/>
          </a:stretch>
        </p:blipFill>
        <p:spPr>
          <a:xfrm rot="5400000">
            <a:off x="6966741" y="2206983"/>
            <a:ext cx="5143500" cy="729534"/>
          </a:xfrm>
          <a:prstGeom prst="rect">
            <a:avLst/>
          </a:prstGeom>
        </p:spPr>
      </p:pic>
    </p:spTree>
    <p:extLst>
      <p:ext uri="{BB962C8B-B14F-4D97-AF65-F5344CB8AC3E}">
        <p14:creationId xmlns:p14="http://schemas.microsoft.com/office/powerpoint/2010/main" val="182727415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Lst>
  <p:transition>
    <p:fade/>
  </p:transition>
  <p:hf sldNum="0" hdr="0" ftr="0" dt="0"/>
  <p:txStyles>
    <p:titleStyle>
      <a:lvl1pPr algn="l" defTabSz="699539" rtl="0" eaLnBrk="1" latinLnBrk="0" hangingPunct="1">
        <a:lnSpc>
          <a:spcPct val="100000"/>
        </a:lnSpc>
        <a:spcBef>
          <a:spcPct val="0"/>
        </a:spcBef>
        <a:buNone/>
        <a:defRPr lang="en-US" sz="2700" b="1" kern="1200" cap="none" spc="-3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71446" marR="0" indent="-171446" algn="l" defTabSz="69953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342892" marR="0" indent="-171446" algn="l" defTabSz="69953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07" marR="0" indent="-150015" algn="l" defTabSz="69953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07" marR="0" indent="-135728" algn="l" defTabSz="69953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35" marR="0" indent="-126203" algn="l" defTabSz="69953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32" indent="-174886" algn="l" defTabSz="69953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02" indent="-174886" algn="l" defTabSz="69953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271" indent="-174886" algn="l" defTabSz="69953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042" indent="-174886" algn="l" defTabSz="69953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39" rtl="0" eaLnBrk="1" latinLnBrk="0" hangingPunct="1">
        <a:defRPr sz="1350" kern="1200">
          <a:solidFill>
            <a:schemeClr val="tx1"/>
          </a:solidFill>
          <a:latin typeface="+mn-lt"/>
          <a:ea typeface="+mn-ea"/>
          <a:cs typeface="+mn-cs"/>
        </a:defRPr>
      </a:lvl1pPr>
      <a:lvl2pPr marL="349769" algn="l" defTabSz="699539" rtl="0" eaLnBrk="1" latinLnBrk="0" hangingPunct="1">
        <a:defRPr sz="1350" kern="1200">
          <a:solidFill>
            <a:schemeClr val="tx1"/>
          </a:solidFill>
          <a:latin typeface="+mn-lt"/>
          <a:ea typeface="+mn-ea"/>
          <a:cs typeface="+mn-cs"/>
        </a:defRPr>
      </a:lvl2pPr>
      <a:lvl3pPr marL="699539" algn="l" defTabSz="699539" rtl="0" eaLnBrk="1" latinLnBrk="0" hangingPunct="1">
        <a:defRPr sz="1350" kern="1200">
          <a:solidFill>
            <a:schemeClr val="tx1"/>
          </a:solidFill>
          <a:latin typeface="+mn-lt"/>
          <a:ea typeface="+mn-ea"/>
          <a:cs typeface="+mn-cs"/>
        </a:defRPr>
      </a:lvl3pPr>
      <a:lvl4pPr marL="1049309" algn="l" defTabSz="699539" rtl="0" eaLnBrk="1" latinLnBrk="0" hangingPunct="1">
        <a:defRPr sz="1350" kern="1200">
          <a:solidFill>
            <a:schemeClr val="tx1"/>
          </a:solidFill>
          <a:latin typeface="+mn-lt"/>
          <a:ea typeface="+mn-ea"/>
          <a:cs typeface="+mn-cs"/>
        </a:defRPr>
      </a:lvl4pPr>
      <a:lvl5pPr marL="1399078" algn="l" defTabSz="699539" rtl="0" eaLnBrk="1" latinLnBrk="0" hangingPunct="1">
        <a:defRPr sz="1350" kern="1200">
          <a:solidFill>
            <a:schemeClr val="tx1"/>
          </a:solidFill>
          <a:latin typeface="+mn-lt"/>
          <a:ea typeface="+mn-ea"/>
          <a:cs typeface="+mn-cs"/>
        </a:defRPr>
      </a:lvl5pPr>
      <a:lvl6pPr marL="1748849" algn="l" defTabSz="699539" rtl="0" eaLnBrk="1" latinLnBrk="0" hangingPunct="1">
        <a:defRPr sz="1350" kern="1200">
          <a:solidFill>
            <a:schemeClr val="tx1"/>
          </a:solidFill>
          <a:latin typeface="+mn-lt"/>
          <a:ea typeface="+mn-ea"/>
          <a:cs typeface="+mn-cs"/>
        </a:defRPr>
      </a:lvl6pPr>
      <a:lvl7pPr marL="2098618" algn="l" defTabSz="699539" rtl="0" eaLnBrk="1" latinLnBrk="0" hangingPunct="1">
        <a:defRPr sz="1350" kern="1200">
          <a:solidFill>
            <a:schemeClr val="tx1"/>
          </a:solidFill>
          <a:latin typeface="+mn-lt"/>
          <a:ea typeface="+mn-ea"/>
          <a:cs typeface="+mn-cs"/>
        </a:defRPr>
      </a:lvl7pPr>
      <a:lvl8pPr marL="2448387" algn="l" defTabSz="699539" rtl="0" eaLnBrk="1" latinLnBrk="0" hangingPunct="1">
        <a:defRPr sz="1350" kern="1200">
          <a:solidFill>
            <a:schemeClr val="tx1"/>
          </a:solidFill>
          <a:latin typeface="+mn-lt"/>
          <a:ea typeface="+mn-ea"/>
          <a:cs typeface="+mn-cs"/>
        </a:defRPr>
      </a:lvl8pPr>
      <a:lvl9pPr marL="2798157" algn="l" defTabSz="69953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2240799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6" r:id="rId21"/>
    <p:sldLayoutId id="2147483697" r:id="rId22"/>
    <p:sldLayoutId id="2147483701" r:id="rId23"/>
    <p:sldLayoutId id="2147483702" r:id="rId24"/>
    <p:sldLayoutId id="2147483823" r:id="rId25"/>
    <p:sldLayoutId id="2147483830" r:id="rId26"/>
    <p:sldLayoutId id="2147483846" r:id="rId27"/>
    <p:sldLayoutId id="2147483923" r:id="rId28"/>
    <p:sldLayoutId id="2147483924" r:id="rId29"/>
    <p:sldLayoutId id="2147483925" r:id="rId30"/>
    <p:sldLayoutId id="2147483946" r:id="rId31"/>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C9B1B5-B09F-4B98-AFC2-1B4B55BE018E}"/>
              </a:ext>
            </a:extLst>
          </p:cNvPr>
          <p:cNvPicPr>
            <a:picLocks noChangeAspect="1"/>
          </p:cNvPicPr>
          <p:nvPr userDrawn="1"/>
        </p:nvPicPr>
        <p:blipFill>
          <a:blip r:embed="rId58"/>
          <a:stretch>
            <a:fillRect/>
          </a:stretch>
        </p:blipFill>
        <p:spPr>
          <a:xfrm rot="5400000">
            <a:off x="6783473" y="2412632"/>
            <a:ext cx="5143500" cy="318236"/>
          </a:xfrm>
          <a:prstGeom prst="rect">
            <a:avLst/>
          </a:prstGeom>
        </p:spPr>
      </p:pic>
      <p:sp>
        <p:nvSpPr>
          <p:cNvPr id="2" name="Title Placeholder 1"/>
          <p:cNvSpPr>
            <a:spLocks noGrp="1"/>
          </p:cNvSpPr>
          <p:nvPr>
            <p:ph type="title"/>
          </p:nvPr>
        </p:nvSpPr>
        <p:spPr>
          <a:xfrm>
            <a:off x="319819" y="168085"/>
            <a:ext cx="8502029" cy="558011"/>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327991" y="832580"/>
            <a:ext cx="8502029" cy="152393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9" cstate="screen">
            <a:extLst>
              <a:ext uri="{28A0092B-C50C-407E-A947-70E740481C1C}">
                <a14:useLocalDpi xmlns:a14="http://schemas.microsoft.com/office/drawing/2010/main"/>
              </a:ext>
            </a:extLst>
          </a:blip>
          <a:stretch>
            <a:fillRect/>
          </a:stretch>
        </p:blipFill>
        <p:spPr>
          <a:xfrm rot="5400000">
            <a:off x="7316613" y="2259060"/>
            <a:ext cx="5143967" cy="624914"/>
          </a:xfrm>
          <a:prstGeom prst="rect">
            <a:avLst/>
          </a:prstGeom>
        </p:spPr>
      </p:pic>
    </p:spTree>
    <p:extLst>
      <p:ext uri="{BB962C8B-B14F-4D97-AF65-F5344CB8AC3E}">
        <p14:creationId xmlns:p14="http://schemas.microsoft.com/office/powerpoint/2010/main" val="84273580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 id="2147483794" r:id="rId33"/>
    <p:sldLayoutId id="2147483796" r:id="rId34"/>
    <p:sldLayoutId id="2147483797" r:id="rId35"/>
    <p:sldLayoutId id="2147483798" r:id="rId36"/>
    <p:sldLayoutId id="2147483799" r:id="rId37"/>
    <p:sldLayoutId id="2147483800" r:id="rId38"/>
    <p:sldLayoutId id="2147483801" r:id="rId39"/>
    <p:sldLayoutId id="2147483804" r:id="rId40"/>
    <p:sldLayoutId id="2147483805" r:id="rId41"/>
    <p:sldLayoutId id="2147483806" r:id="rId42"/>
    <p:sldLayoutId id="2147483807" r:id="rId43"/>
    <p:sldLayoutId id="2147483808" r:id="rId44"/>
    <p:sldLayoutId id="2147483809" r:id="rId45"/>
    <p:sldLayoutId id="2147483810" r:id="rId46"/>
    <p:sldLayoutId id="2147483811" r:id="rId47"/>
    <p:sldLayoutId id="2147483812" r:id="rId48"/>
    <p:sldLayoutId id="2147483813" r:id="rId49"/>
    <p:sldLayoutId id="2147483814" r:id="rId50"/>
    <p:sldLayoutId id="2147483815" r:id="rId51"/>
    <p:sldLayoutId id="2147483816" r:id="rId52"/>
    <p:sldLayoutId id="2147483817" r:id="rId53"/>
    <p:sldLayoutId id="2147483821" r:id="rId54"/>
    <p:sldLayoutId id="2147483822" r:id="rId55"/>
    <p:sldLayoutId id="2147483828" r:id="rId56"/>
  </p:sldLayoutIdLst>
  <p:transition>
    <p:fade/>
  </p:transition>
  <p:hf sldNum="0" hdr="0" dt="0"/>
  <p:txStyles>
    <p:titleStyle>
      <a:lvl1pPr algn="l" defTabSz="685644" rtl="0" eaLnBrk="1" latinLnBrk="0" hangingPunct="1">
        <a:lnSpc>
          <a:spcPct val="90000"/>
        </a:lnSpc>
        <a:spcBef>
          <a:spcPct val="0"/>
        </a:spcBef>
        <a:buNone/>
        <a:defRPr lang="en-US" sz="2400" b="0" kern="1200" cap="none" spc="-110" baseline="0" dirty="0" smtClean="0">
          <a:ln w="3175">
            <a:noFill/>
          </a:ln>
          <a:solidFill>
            <a:schemeClr val="tx1"/>
          </a:solidFill>
          <a:effectLst/>
          <a:latin typeface="+mj-lt"/>
          <a:ea typeface="+mn-ea"/>
          <a:cs typeface="Segoe UI" pitchFamily="34" charset="0"/>
        </a:defRPr>
      </a:lvl1pPr>
    </p:titleStyle>
    <p:bodyStyle>
      <a:lvl1pPr marL="0" marR="0" indent="0" algn="l" defTabSz="685644" rtl="0" eaLnBrk="1" fontAlgn="auto" latinLnBrk="0" hangingPunct="1">
        <a:lnSpc>
          <a:spcPct val="100000"/>
        </a:lnSpc>
        <a:spcBef>
          <a:spcPts val="0"/>
        </a:spcBef>
        <a:spcAft>
          <a:spcPts val="1028"/>
        </a:spcAft>
        <a:buClrTx/>
        <a:buSzPct val="90000"/>
        <a:buFont typeface="Wingdings" panose="05000000000000000000" pitchFamily="2" charset="2"/>
        <a:buNone/>
        <a:tabLst/>
        <a:defRPr sz="2059" kern="1200" spc="0" baseline="0">
          <a:solidFill>
            <a:srgbClr val="000000"/>
          </a:solidFill>
          <a:latin typeface="+mn-lt"/>
          <a:ea typeface="+mn-ea"/>
          <a:cs typeface="+mn-cs"/>
        </a:defRPr>
      </a:lvl1pPr>
      <a:lvl2pPr marL="0" marR="0" indent="0" algn="l" defTabSz="685644" rtl="0" eaLnBrk="1" fontAlgn="auto" latinLnBrk="0" hangingPunct="1">
        <a:lnSpc>
          <a:spcPct val="100000"/>
        </a:lnSpc>
        <a:spcBef>
          <a:spcPts val="0"/>
        </a:spcBef>
        <a:spcAft>
          <a:spcPts val="1028"/>
        </a:spcAft>
        <a:buClrTx/>
        <a:buSzPct val="90000"/>
        <a:buFont typeface="Wingdings" panose="05000000000000000000" pitchFamily="2" charset="2"/>
        <a:buNone/>
        <a:tabLst/>
        <a:defRPr sz="1324" kern="1200" spc="0" baseline="0">
          <a:solidFill>
            <a:srgbClr val="000000"/>
          </a:solidFill>
          <a:latin typeface="+mn-lt"/>
          <a:ea typeface="+mn-ea"/>
          <a:cs typeface="+mn-cs"/>
        </a:defRPr>
      </a:lvl2pPr>
      <a:lvl3pPr marL="0" marR="0" indent="0" algn="l" defTabSz="685644" rtl="0" eaLnBrk="1" fontAlgn="auto" latinLnBrk="0" hangingPunct="1">
        <a:lnSpc>
          <a:spcPct val="100000"/>
        </a:lnSpc>
        <a:spcBef>
          <a:spcPts val="0"/>
        </a:spcBef>
        <a:spcAft>
          <a:spcPts val="1028"/>
        </a:spcAft>
        <a:buClrTx/>
        <a:buSzPct val="90000"/>
        <a:buFont typeface="Wingdings" panose="05000000000000000000" pitchFamily="2" charset="2"/>
        <a:buNone/>
        <a:tabLst/>
        <a:defRPr sz="1028" kern="1200" spc="0" baseline="0">
          <a:solidFill>
            <a:srgbClr val="000000"/>
          </a:solidFill>
          <a:latin typeface="+mn-lt"/>
          <a:ea typeface="+mn-ea"/>
          <a:cs typeface="+mn-cs"/>
        </a:defRPr>
      </a:lvl3pPr>
      <a:lvl4pPr marL="0" marR="0" indent="0" algn="l" defTabSz="685644" rtl="0" eaLnBrk="1" fontAlgn="auto" latinLnBrk="0" hangingPunct="1">
        <a:lnSpc>
          <a:spcPct val="100000"/>
        </a:lnSpc>
        <a:spcBef>
          <a:spcPts val="0"/>
        </a:spcBef>
        <a:spcAft>
          <a:spcPts val="1028"/>
        </a:spcAft>
        <a:buClrTx/>
        <a:buSzPct val="90000"/>
        <a:buFont typeface="Wingdings" panose="05000000000000000000" pitchFamily="2" charset="2"/>
        <a:buNone/>
        <a:tabLst/>
        <a:defRPr sz="1028" kern="1200" spc="0" baseline="0">
          <a:solidFill>
            <a:srgbClr val="000000"/>
          </a:solidFill>
          <a:latin typeface="+mn-lt"/>
          <a:ea typeface="+mn-ea"/>
          <a:cs typeface="+mn-cs"/>
        </a:defRPr>
      </a:lvl4pPr>
      <a:lvl5pPr marL="0" marR="0" indent="0" algn="l" defTabSz="685644" rtl="0" eaLnBrk="1" fontAlgn="auto" latinLnBrk="0" hangingPunct="1">
        <a:lnSpc>
          <a:spcPct val="100000"/>
        </a:lnSpc>
        <a:spcBef>
          <a:spcPts val="0"/>
        </a:spcBef>
        <a:spcAft>
          <a:spcPts val="1028"/>
        </a:spcAft>
        <a:buClrTx/>
        <a:buSzPct val="90000"/>
        <a:buFont typeface="Wingdings" panose="05000000000000000000" pitchFamily="2" charset="2"/>
        <a:buNone/>
        <a:tabLst/>
        <a:defRPr sz="1028" kern="1200" spc="0" baseline="0">
          <a:solidFill>
            <a:srgbClr val="000000"/>
          </a:solidFill>
          <a:latin typeface="+mn-lt"/>
          <a:ea typeface="+mn-ea"/>
          <a:cs typeface="+mn-cs"/>
        </a:defRPr>
      </a:lvl5pPr>
      <a:lvl6pPr marL="1885520"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342"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164"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3986" indent="-171411" algn="l" defTabSz="68564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644" rtl="0" eaLnBrk="1" latinLnBrk="0" hangingPunct="1">
        <a:defRPr sz="1324" kern="1200">
          <a:solidFill>
            <a:schemeClr val="tx1"/>
          </a:solidFill>
          <a:latin typeface="+mn-lt"/>
          <a:ea typeface="+mn-ea"/>
          <a:cs typeface="+mn-cs"/>
        </a:defRPr>
      </a:lvl1pPr>
      <a:lvl2pPr marL="342821" algn="l" defTabSz="685644" rtl="0" eaLnBrk="1" latinLnBrk="0" hangingPunct="1">
        <a:defRPr sz="1324" kern="1200">
          <a:solidFill>
            <a:schemeClr val="tx1"/>
          </a:solidFill>
          <a:latin typeface="+mn-lt"/>
          <a:ea typeface="+mn-ea"/>
          <a:cs typeface="+mn-cs"/>
        </a:defRPr>
      </a:lvl2pPr>
      <a:lvl3pPr marL="685644" algn="l" defTabSz="685644" rtl="0" eaLnBrk="1" latinLnBrk="0" hangingPunct="1">
        <a:defRPr sz="1324" kern="1200">
          <a:solidFill>
            <a:schemeClr val="tx1"/>
          </a:solidFill>
          <a:latin typeface="+mn-lt"/>
          <a:ea typeface="+mn-ea"/>
          <a:cs typeface="+mn-cs"/>
        </a:defRPr>
      </a:lvl3pPr>
      <a:lvl4pPr marL="1028465" algn="l" defTabSz="685644" rtl="0" eaLnBrk="1" latinLnBrk="0" hangingPunct="1">
        <a:defRPr sz="1324" kern="1200">
          <a:solidFill>
            <a:schemeClr val="tx1"/>
          </a:solidFill>
          <a:latin typeface="+mn-lt"/>
          <a:ea typeface="+mn-ea"/>
          <a:cs typeface="+mn-cs"/>
        </a:defRPr>
      </a:lvl4pPr>
      <a:lvl5pPr marL="1371287" algn="l" defTabSz="685644" rtl="0" eaLnBrk="1" latinLnBrk="0" hangingPunct="1">
        <a:defRPr sz="1324" kern="1200">
          <a:solidFill>
            <a:schemeClr val="tx1"/>
          </a:solidFill>
          <a:latin typeface="+mn-lt"/>
          <a:ea typeface="+mn-ea"/>
          <a:cs typeface="+mn-cs"/>
        </a:defRPr>
      </a:lvl5pPr>
      <a:lvl6pPr marL="1714109" algn="l" defTabSz="685644" rtl="0" eaLnBrk="1" latinLnBrk="0" hangingPunct="1">
        <a:defRPr sz="1324" kern="1200">
          <a:solidFill>
            <a:schemeClr val="tx1"/>
          </a:solidFill>
          <a:latin typeface="+mn-lt"/>
          <a:ea typeface="+mn-ea"/>
          <a:cs typeface="+mn-cs"/>
        </a:defRPr>
      </a:lvl6pPr>
      <a:lvl7pPr marL="2056931" algn="l" defTabSz="685644" rtl="0" eaLnBrk="1" latinLnBrk="0" hangingPunct="1">
        <a:defRPr sz="1324" kern="1200">
          <a:solidFill>
            <a:schemeClr val="tx1"/>
          </a:solidFill>
          <a:latin typeface="+mn-lt"/>
          <a:ea typeface="+mn-ea"/>
          <a:cs typeface="+mn-cs"/>
        </a:defRPr>
      </a:lvl7pPr>
      <a:lvl8pPr marL="2399753" algn="l" defTabSz="685644" rtl="0" eaLnBrk="1" latinLnBrk="0" hangingPunct="1">
        <a:defRPr sz="1324" kern="1200">
          <a:solidFill>
            <a:schemeClr val="tx1"/>
          </a:solidFill>
          <a:latin typeface="+mn-lt"/>
          <a:ea typeface="+mn-ea"/>
          <a:cs typeface="+mn-cs"/>
        </a:defRPr>
      </a:lvl8pPr>
      <a:lvl9pPr marL="2742575" algn="l" defTabSz="685644"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457200" y="1028700"/>
            <a:ext cx="8229600" cy="33718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457200" y="228600"/>
            <a:ext cx="8229600" cy="5715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3761666892"/>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Lst>
  <p:transition>
    <p:fade/>
  </p:transition>
  <p:hf hdr="0" ftr="0" dt="0"/>
  <p:txStyles>
    <p:titleStyle>
      <a:lvl1pPr marL="0" indent="0" algn="ctr" defTabSz="-13873163" rtl="0" eaLnBrk="1" fontAlgn="base" hangingPunct="1">
        <a:spcBef>
          <a:spcPct val="0"/>
        </a:spcBef>
        <a:spcAft>
          <a:spcPct val="0"/>
        </a:spcAft>
        <a:defRPr lang="en-US" sz="2900" b="1" dirty="0" smtClean="0">
          <a:solidFill>
            <a:schemeClr val="accent2"/>
          </a:solidFill>
          <a:latin typeface="Calibri"/>
          <a:ea typeface="+mj-ea"/>
          <a:cs typeface="Segoe UI" pitchFamily="34" charset="0"/>
        </a:defRPr>
      </a:lvl1pPr>
      <a:lvl2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2pPr>
      <a:lvl3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3pPr>
      <a:lvl4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4pPr>
      <a:lvl5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5pPr>
      <a:lvl6pPr marL="457200" algn="l" eaLnBrk="1" fontAlgn="base" hangingPunct="1">
        <a:spcBef>
          <a:spcPct val="0"/>
        </a:spcBef>
        <a:spcAft>
          <a:spcPct val="0"/>
        </a:spcAft>
        <a:defRPr sz="2800" b="1">
          <a:solidFill>
            <a:schemeClr val="tx2">
              <a:alpha val="100000"/>
            </a:schemeClr>
          </a:solidFill>
          <a:latin typeface="Verdana"/>
        </a:defRPr>
      </a:lvl6pPr>
      <a:lvl7pPr marL="914400" algn="l" eaLnBrk="1" fontAlgn="base" hangingPunct="1">
        <a:spcBef>
          <a:spcPct val="0"/>
        </a:spcBef>
        <a:spcAft>
          <a:spcPct val="0"/>
        </a:spcAft>
        <a:defRPr sz="2800" b="1">
          <a:solidFill>
            <a:schemeClr val="tx2">
              <a:alpha val="100000"/>
            </a:schemeClr>
          </a:solidFill>
          <a:latin typeface="Verdana"/>
        </a:defRPr>
      </a:lvl7pPr>
      <a:lvl8pPr marL="1371600" algn="l" eaLnBrk="1" fontAlgn="base" hangingPunct="1">
        <a:spcBef>
          <a:spcPct val="0"/>
        </a:spcBef>
        <a:spcAft>
          <a:spcPct val="0"/>
        </a:spcAft>
        <a:defRPr sz="2800" b="1">
          <a:solidFill>
            <a:schemeClr val="tx2">
              <a:alpha val="100000"/>
            </a:schemeClr>
          </a:solidFill>
          <a:latin typeface="Verdana"/>
        </a:defRPr>
      </a:lvl8pPr>
      <a:lvl9pPr marL="1828800" algn="l" eaLnBrk="1" fontAlgn="base" hangingPunct="1">
        <a:spcBef>
          <a:spcPct val="0"/>
        </a:spcBef>
        <a:spcAft>
          <a:spcPct val="0"/>
        </a:spcAft>
        <a:defRPr sz="2800" b="1">
          <a:solidFill>
            <a:schemeClr val="tx2">
              <a:alpha val="100000"/>
            </a:schemeClr>
          </a:solidFill>
          <a:latin typeface="Verdana"/>
        </a:defRPr>
      </a:lvl9pPr>
    </p:titleStyle>
    <p:bodyStyle>
      <a:lvl1pPr marL="342900" indent="-342900" algn="l" defTabSz="-13873163" rtl="0" eaLnBrk="1" fontAlgn="base" hangingPunct="1">
        <a:spcBef>
          <a:spcPct val="20000"/>
        </a:spcBef>
        <a:spcAft>
          <a:spcPct val="0"/>
        </a:spcAft>
        <a:buFont typeface="Wingdings" pitchFamily="2" charset="2"/>
        <a:buChar char="§"/>
        <a:defRPr sz="2100" b="1">
          <a:solidFill>
            <a:schemeClr val="tx1"/>
          </a:solidFill>
          <a:latin typeface="Calibri" pitchFamily="34" charset="0"/>
          <a:ea typeface="+mn-ea"/>
          <a:cs typeface="Segoe UI" pitchFamily="34" charset="0"/>
        </a:defRPr>
      </a:lvl1pPr>
      <a:lvl2pPr marL="742950" indent="-285750" algn="l" defTabSz="-13873163" rtl="0" eaLnBrk="1" fontAlgn="base" hangingPunct="1">
        <a:spcBef>
          <a:spcPct val="20000"/>
        </a:spcBef>
        <a:spcAft>
          <a:spcPct val="0"/>
        </a:spcAft>
        <a:buSzPct val="50000"/>
        <a:buFont typeface="Wingdings" pitchFamily="2" charset="2"/>
        <a:buChar char="o"/>
        <a:defRPr sz="1900">
          <a:solidFill>
            <a:schemeClr val="tx1"/>
          </a:solidFill>
          <a:latin typeface="Calibri Light" pitchFamily="34" charset="0"/>
          <a:cs typeface="Segoe UI" pitchFamily="34" charset="0"/>
        </a:defRPr>
      </a:lvl2pPr>
      <a:lvl3pPr marL="1143000" indent="-228600" algn="l" defTabSz="-13873163" rtl="0" eaLnBrk="1" fontAlgn="base" hangingPunct="1">
        <a:spcBef>
          <a:spcPct val="20000"/>
        </a:spcBef>
        <a:spcAft>
          <a:spcPct val="0"/>
        </a:spcAft>
        <a:buSzPct val="50000"/>
        <a:buFont typeface="Wingdings" pitchFamily="2" charset="2"/>
        <a:buChar char="o"/>
        <a:defRPr sz="1700">
          <a:solidFill>
            <a:schemeClr val="tx1"/>
          </a:solidFill>
          <a:latin typeface="Calibri Light" pitchFamily="34" charset="0"/>
          <a:cs typeface="Segoe UI" pitchFamily="34" charset="0"/>
        </a:defRPr>
      </a:lvl3pPr>
      <a:lvl4pPr marL="1600200" indent="-228600" algn="l" defTabSz="-13873163" rtl="0" eaLnBrk="1" fontAlgn="base" hangingPunct="1">
        <a:spcBef>
          <a:spcPct val="20000"/>
        </a:spcBef>
        <a:spcAft>
          <a:spcPct val="0"/>
        </a:spcAft>
        <a:buSzPct val="50000"/>
        <a:buFont typeface="Wingdings" pitchFamily="2" charset="2"/>
        <a:buChar char="o"/>
        <a:defRPr sz="1500">
          <a:solidFill>
            <a:schemeClr val="tx1"/>
          </a:solidFill>
          <a:latin typeface="Calibri Light" pitchFamily="34" charset="0"/>
          <a:cs typeface="Segoe UI" pitchFamily="34" charset="0"/>
        </a:defRPr>
      </a:lvl4pPr>
      <a:lvl5pPr marL="2057400" indent="-228600" algn="l" defTabSz="-13873163" rtl="0" eaLnBrk="1" fontAlgn="base" hangingPunct="1">
        <a:spcBef>
          <a:spcPct val="20000"/>
        </a:spcBef>
        <a:spcAft>
          <a:spcPct val="0"/>
        </a:spcAft>
        <a:buSzPct val="50000"/>
        <a:buFont typeface="Wingdings" pitchFamily="2" charset="2"/>
        <a:buChar char="o"/>
        <a:defRPr sz="1300">
          <a:solidFill>
            <a:schemeClr val="tx1"/>
          </a:solidFill>
          <a:latin typeface="Calibri Light" pitchFamily="34" charset="0"/>
          <a:cs typeface="Segoe UI" pitchFamily="34" charset="0"/>
        </a:defRPr>
      </a:lvl5pPr>
      <a:lvl6pPr marL="25146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6pPr>
      <a:lvl7pPr marL="29718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7pPr>
      <a:lvl8pPr marL="34290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8pPr>
      <a:lvl9pPr marL="38862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srcRect l="762"/>
          <a:stretch/>
        </p:blipFill>
        <p:spPr>
          <a:xfrm rot="5400000">
            <a:off x="7098375" y="2132830"/>
            <a:ext cx="5143500" cy="877841"/>
          </a:xfrm>
          <a:prstGeom prst="rect">
            <a:avLst/>
          </a:prstGeom>
        </p:spPr>
      </p:pic>
    </p:spTree>
    <p:extLst>
      <p:ext uri="{BB962C8B-B14F-4D97-AF65-F5344CB8AC3E}">
        <p14:creationId xmlns:p14="http://schemas.microsoft.com/office/powerpoint/2010/main" val="218464624"/>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 id="2147483878" r:id="rId31"/>
    <p:sldLayoutId id="2147483879" r:id="rId32"/>
    <p:sldLayoutId id="2147483880" r:id="rId33"/>
    <p:sldLayoutId id="2147483881" r:id="rId34"/>
    <p:sldLayoutId id="2147483882" r:id="rId35"/>
    <p:sldLayoutId id="2147483883" r:id="rId36"/>
    <p:sldLayoutId id="2147483884" r:id="rId37"/>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41197" y="342900"/>
            <a:ext cx="8263890" cy="415499"/>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438150" y="1076628"/>
            <a:ext cx="8263890" cy="120956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9144000" cy="51435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438912" cy="438912"/>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19456" cy="21945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srcRect l="762"/>
          <a:stretch/>
        </p:blipFill>
        <p:spPr>
          <a:xfrm rot="5400000">
            <a:off x="7098375" y="2132830"/>
            <a:ext cx="5143500" cy="877841"/>
          </a:xfrm>
          <a:prstGeom prst="rect">
            <a:avLst/>
          </a:prstGeom>
        </p:spPr>
      </p:pic>
      <p:sp>
        <p:nvSpPr>
          <p:cNvPr id="49" name="Text Placeholder 4">
            <a:extLst>
              <a:ext uri="{FF2B5EF4-FFF2-40B4-BE49-F238E27FC236}">
                <a16:creationId xmlns:a16="http://schemas.microsoft.com/office/drawing/2014/main" id="{11AFC336-8872-41BF-BC32-BCB6D7D32FF2}"/>
              </a:ext>
            </a:extLst>
          </p:cNvPr>
          <p:cNvSpPr txBox="1">
            <a:spLocks/>
          </p:cNvSpPr>
          <p:nvPr userDrawn="1"/>
        </p:nvSpPr>
        <p:spPr>
          <a:xfrm>
            <a:off x="438151" y="4800600"/>
            <a:ext cx="3123437" cy="207749"/>
          </a:xfrm>
          <a:prstGeom prst="rect">
            <a:avLst/>
          </a:prstGeo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50" dirty="0"/>
              <a:t>aka.ms/AFUN20</a:t>
            </a:r>
          </a:p>
        </p:txBody>
      </p:sp>
      <p:sp>
        <p:nvSpPr>
          <p:cNvPr id="50" name="Text Placeholder 4">
            <a:extLst>
              <a:ext uri="{FF2B5EF4-FFF2-40B4-BE49-F238E27FC236}">
                <a16:creationId xmlns:a16="http://schemas.microsoft.com/office/drawing/2014/main" id="{2431A59E-D820-49D6-B4F9-3E609937F1E8}"/>
              </a:ext>
            </a:extLst>
          </p:cNvPr>
          <p:cNvSpPr txBox="1">
            <a:spLocks/>
          </p:cNvSpPr>
          <p:nvPr userDrawn="1"/>
        </p:nvSpPr>
        <p:spPr>
          <a:xfrm>
            <a:off x="5798440" y="4800219"/>
            <a:ext cx="3123437" cy="207749"/>
          </a:xfrm>
          <a:prstGeom prst="rect">
            <a:avLst/>
          </a:prstGeo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91000">
                      <a:schemeClr val="tx1"/>
                    </a:gs>
                    <a:gs pos="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350" dirty="0"/>
              <a:t>#</a:t>
            </a:r>
            <a:r>
              <a:rPr lang="en-US" sz="1350" dirty="0" err="1"/>
              <a:t>MSIgnite</a:t>
            </a:r>
            <a:endParaRPr lang="en-US" sz="1350" dirty="0"/>
          </a:p>
        </p:txBody>
      </p:sp>
    </p:spTree>
    <p:extLst>
      <p:ext uri="{BB962C8B-B14F-4D97-AF65-F5344CB8AC3E}">
        <p14:creationId xmlns:p14="http://schemas.microsoft.com/office/powerpoint/2010/main" val="1146885580"/>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04" r:id="rId18"/>
    <p:sldLayoutId id="2147483905" r:id="rId19"/>
    <p:sldLayoutId id="2147483906" r:id="rId20"/>
    <p:sldLayoutId id="2147483907" r:id="rId21"/>
    <p:sldLayoutId id="2147483908" r:id="rId22"/>
    <p:sldLayoutId id="2147483909" r:id="rId23"/>
    <p:sldLayoutId id="2147483910" r:id="rId24"/>
    <p:sldLayoutId id="2147483911" r:id="rId25"/>
    <p:sldLayoutId id="2147483912" r:id="rId26"/>
    <p:sldLayoutId id="2147483913" r:id="rId27"/>
    <p:sldLayoutId id="2147483914" r:id="rId28"/>
    <p:sldLayoutId id="2147483915" r:id="rId29"/>
    <p:sldLayoutId id="2147483916" r:id="rId30"/>
    <p:sldLayoutId id="2147483917" r:id="rId31"/>
    <p:sldLayoutId id="2147483918" r:id="rId32"/>
    <p:sldLayoutId id="2147483919" r:id="rId33"/>
    <p:sldLayoutId id="2147483920" r:id="rId34"/>
    <p:sldLayoutId id="2147483921" r:id="rId35"/>
    <p:sldLayoutId id="2147483922" r:id="rId36"/>
  </p:sldLayoutIdLst>
  <p:transition>
    <p:fade/>
  </p:transition>
  <p:hf sldNum="0" hdr="0" ftr="0" dt="0"/>
  <p:txStyles>
    <p:titleStyle>
      <a:lvl1pPr algn="l" defTabSz="699557" rtl="0" eaLnBrk="1" latinLnBrk="0" hangingPunct="1">
        <a:lnSpc>
          <a:spcPct val="100000"/>
        </a:lnSpc>
        <a:spcBef>
          <a:spcPct val="0"/>
        </a:spcBef>
        <a:buNone/>
        <a:defRPr lang="en-US" sz="2700" b="0" kern="1200" cap="none" spc="-38" baseline="0" dirty="0" smtClean="0">
          <a:ln w="3175">
            <a:noFill/>
          </a:ln>
          <a:solidFill>
            <a:schemeClr val="tx1"/>
          </a:solidFill>
          <a:effectLst/>
          <a:latin typeface="+mj-lt"/>
          <a:ea typeface="+mn-ea"/>
          <a:cs typeface="Segoe UI" pitchFamily="34" charset="0"/>
        </a:defRPr>
      </a:lvl1pPr>
    </p:titleStyle>
    <p:bodyStyle>
      <a:lvl1pPr marL="17145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1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342900" marR="0" indent="-171450"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2pPr>
      <a:lvl3pPr marL="492919" marR="0" indent="-150019"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3pPr>
      <a:lvl4pPr marL="632222" marR="0" indent="-135731"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4pPr>
      <a:lvl5pPr marL="767954" marR="0" indent="-126206" algn="l" defTabSz="69955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kern="1200" spc="0" baseline="0">
          <a:gradFill>
            <a:gsLst>
              <a:gs pos="1250">
                <a:schemeClr val="tx1"/>
              </a:gs>
              <a:gs pos="100000">
                <a:schemeClr val="tx1"/>
              </a:gs>
            </a:gsLst>
            <a:lin ang="5400000" scaled="0"/>
          </a:gradFill>
          <a:latin typeface="+mn-lt"/>
          <a:ea typeface="+mn-ea"/>
          <a:cs typeface="+mn-cs"/>
        </a:defRPr>
      </a:lvl5pPr>
      <a:lvl6pPr marL="1923780"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559"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337"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3116" indent="-174890" algn="l" defTabSz="6995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557" rtl="0" eaLnBrk="1" latinLnBrk="0" hangingPunct="1">
        <a:defRPr sz="1350" kern="1200">
          <a:solidFill>
            <a:schemeClr val="tx1"/>
          </a:solidFill>
          <a:latin typeface="+mn-lt"/>
          <a:ea typeface="+mn-ea"/>
          <a:cs typeface="+mn-cs"/>
        </a:defRPr>
      </a:lvl1pPr>
      <a:lvl2pPr marL="349778" algn="l" defTabSz="699557" rtl="0" eaLnBrk="1" latinLnBrk="0" hangingPunct="1">
        <a:defRPr sz="1350" kern="1200">
          <a:solidFill>
            <a:schemeClr val="tx1"/>
          </a:solidFill>
          <a:latin typeface="+mn-lt"/>
          <a:ea typeface="+mn-ea"/>
          <a:cs typeface="+mn-cs"/>
        </a:defRPr>
      </a:lvl2pPr>
      <a:lvl3pPr marL="699557" algn="l" defTabSz="699557" rtl="0" eaLnBrk="1" latinLnBrk="0" hangingPunct="1">
        <a:defRPr sz="1350" kern="1200">
          <a:solidFill>
            <a:schemeClr val="tx1"/>
          </a:solidFill>
          <a:latin typeface="+mn-lt"/>
          <a:ea typeface="+mn-ea"/>
          <a:cs typeface="+mn-cs"/>
        </a:defRPr>
      </a:lvl3pPr>
      <a:lvl4pPr marL="1049335" algn="l" defTabSz="699557" rtl="0" eaLnBrk="1" latinLnBrk="0" hangingPunct="1">
        <a:defRPr sz="1350" kern="1200">
          <a:solidFill>
            <a:schemeClr val="tx1"/>
          </a:solidFill>
          <a:latin typeface="+mn-lt"/>
          <a:ea typeface="+mn-ea"/>
          <a:cs typeface="+mn-cs"/>
        </a:defRPr>
      </a:lvl4pPr>
      <a:lvl5pPr marL="1399113" algn="l" defTabSz="699557" rtl="0" eaLnBrk="1" latinLnBrk="0" hangingPunct="1">
        <a:defRPr sz="1350" kern="1200">
          <a:solidFill>
            <a:schemeClr val="tx1"/>
          </a:solidFill>
          <a:latin typeface="+mn-lt"/>
          <a:ea typeface="+mn-ea"/>
          <a:cs typeface="+mn-cs"/>
        </a:defRPr>
      </a:lvl5pPr>
      <a:lvl6pPr marL="1748892" algn="l" defTabSz="699557" rtl="0" eaLnBrk="1" latinLnBrk="0" hangingPunct="1">
        <a:defRPr sz="1350" kern="1200">
          <a:solidFill>
            <a:schemeClr val="tx1"/>
          </a:solidFill>
          <a:latin typeface="+mn-lt"/>
          <a:ea typeface="+mn-ea"/>
          <a:cs typeface="+mn-cs"/>
        </a:defRPr>
      </a:lvl6pPr>
      <a:lvl7pPr marL="2098670" algn="l" defTabSz="699557" rtl="0" eaLnBrk="1" latinLnBrk="0" hangingPunct="1">
        <a:defRPr sz="1350" kern="1200">
          <a:solidFill>
            <a:schemeClr val="tx1"/>
          </a:solidFill>
          <a:latin typeface="+mn-lt"/>
          <a:ea typeface="+mn-ea"/>
          <a:cs typeface="+mn-cs"/>
        </a:defRPr>
      </a:lvl7pPr>
      <a:lvl8pPr marL="2448448" algn="l" defTabSz="699557" rtl="0" eaLnBrk="1" latinLnBrk="0" hangingPunct="1">
        <a:defRPr sz="1350" kern="1200">
          <a:solidFill>
            <a:schemeClr val="tx1"/>
          </a:solidFill>
          <a:latin typeface="+mn-lt"/>
          <a:ea typeface="+mn-ea"/>
          <a:cs typeface="+mn-cs"/>
        </a:defRPr>
      </a:lvl8pPr>
      <a:lvl9pPr marL="2798227" algn="l" defTabSz="6995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a:alphaModFix amt="50000"/>
            <a:lum/>
          </a:blip>
          <a:srcRect/>
          <a:stretch>
            <a:fillRect t="-39000" b="-39000"/>
          </a:stretch>
        </a:blip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457200" y="1028700"/>
            <a:ext cx="8229600" cy="33718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457200" y="228600"/>
            <a:ext cx="8229600" cy="5715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1627392201"/>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Lst>
  <p:transition>
    <p:fade/>
  </p:transition>
  <p:hf hdr="0" ftr="0" dt="0"/>
  <p:txStyles>
    <p:titleStyle>
      <a:lvl1pPr marL="0" indent="0" algn="ctr" defTabSz="-13873163" rtl="0" eaLnBrk="1" fontAlgn="base" hangingPunct="1">
        <a:spcBef>
          <a:spcPct val="0"/>
        </a:spcBef>
        <a:spcAft>
          <a:spcPct val="0"/>
        </a:spcAft>
        <a:defRPr lang="en-US" sz="2900" b="1" dirty="0" smtClean="0">
          <a:solidFill>
            <a:schemeClr val="accent2"/>
          </a:solidFill>
          <a:latin typeface="Calibri"/>
          <a:ea typeface="+mj-ea"/>
          <a:cs typeface="Segoe UI" pitchFamily="34" charset="0"/>
        </a:defRPr>
      </a:lvl1pPr>
      <a:lvl2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2pPr>
      <a:lvl3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3pPr>
      <a:lvl4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4pPr>
      <a:lvl5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5pPr>
      <a:lvl6pPr marL="457200" algn="l" eaLnBrk="1" fontAlgn="base" hangingPunct="1">
        <a:spcBef>
          <a:spcPct val="0"/>
        </a:spcBef>
        <a:spcAft>
          <a:spcPct val="0"/>
        </a:spcAft>
        <a:defRPr sz="2800" b="1">
          <a:solidFill>
            <a:schemeClr val="tx2">
              <a:alpha val="100000"/>
            </a:schemeClr>
          </a:solidFill>
          <a:latin typeface="Verdana"/>
        </a:defRPr>
      </a:lvl6pPr>
      <a:lvl7pPr marL="914400" algn="l" eaLnBrk="1" fontAlgn="base" hangingPunct="1">
        <a:spcBef>
          <a:spcPct val="0"/>
        </a:spcBef>
        <a:spcAft>
          <a:spcPct val="0"/>
        </a:spcAft>
        <a:defRPr sz="2800" b="1">
          <a:solidFill>
            <a:schemeClr val="tx2">
              <a:alpha val="100000"/>
            </a:schemeClr>
          </a:solidFill>
          <a:latin typeface="Verdana"/>
        </a:defRPr>
      </a:lvl7pPr>
      <a:lvl8pPr marL="1371600" algn="l" eaLnBrk="1" fontAlgn="base" hangingPunct="1">
        <a:spcBef>
          <a:spcPct val="0"/>
        </a:spcBef>
        <a:spcAft>
          <a:spcPct val="0"/>
        </a:spcAft>
        <a:defRPr sz="2800" b="1">
          <a:solidFill>
            <a:schemeClr val="tx2">
              <a:alpha val="100000"/>
            </a:schemeClr>
          </a:solidFill>
          <a:latin typeface="Verdana"/>
        </a:defRPr>
      </a:lvl8pPr>
      <a:lvl9pPr marL="1828800" algn="l" eaLnBrk="1" fontAlgn="base" hangingPunct="1">
        <a:spcBef>
          <a:spcPct val="0"/>
        </a:spcBef>
        <a:spcAft>
          <a:spcPct val="0"/>
        </a:spcAft>
        <a:defRPr sz="2800" b="1">
          <a:solidFill>
            <a:schemeClr val="tx2">
              <a:alpha val="100000"/>
            </a:schemeClr>
          </a:solidFill>
          <a:latin typeface="Verdana"/>
        </a:defRPr>
      </a:lvl9pPr>
    </p:titleStyle>
    <p:bodyStyle>
      <a:lvl1pPr marL="342900" indent="-342900" algn="l" defTabSz="-13873163" rtl="0" eaLnBrk="1" fontAlgn="base" hangingPunct="1">
        <a:spcBef>
          <a:spcPct val="20000"/>
        </a:spcBef>
        <a:spcAft>
          <a:spcPct val="0"/>
        </a:spcAft>
        <a:buFont typeface="Wingdings" pitchFamily="2" charset="2"/>
        <a:buChar char="§"/>
        <a:defRPr sz="2100" b="1">
          <a:solidFill>
            <a:schemeClr val="tx1"/>
          </a:solidFill>
          <a:latin typeface="Calibri" pitchFamily="34" charset="0"/>
          <a:ea typeface="+mn-ea"/>
          <a:cs typeface="Segoe UI" pitchFamily="34" charset="0"/>
        </a:defRPr>
      </a:lvl1pPr>
      <a:lvl2pPr marL="742950" indent="-285750" algn="l" defTabSz="-13873163" rtl="0" eaLnBrk="1" fontAlgn="base" hangingPunct="1">
        <a:spcBef>
          <a:spcPct val="20000"/>
        </a:spcBef>
        <a:spcAft>
          <a:spcPct val="0"/>
        </a:spcAft>
        <a:buSzPct val="50000"/>
        <a:buFont typeface="Wingdings" pitchFamily="2" charset="2"/>
        <a:buChar char="o"/>
        <a:defRPr sz="1900">
          <a:solidFill>
            <a:schemeClr val="tx1"/>
          </a:solidFill>
          <a:latin typeface="Calibri Light" pitchFamily="34" charset="0"/>
          <a:cs typeface="Segoe UI" pitchFamily="34" charset="0"/>
        </a:defRPr>
      </a:lvl2pPr>
      <a:lvl3pPr marL="1143000" indent="-228600" algn="l" defTabSz="-13873163" rtl="0" eaLnBrk="1" fontAlgn="base" hangingPunct="1">
        <a:spcBef>
          <a:spcPct val="20000"/>
        </a:spcBef>
        <a:spcAft>
          <a:spcPct val="0"/>
        </a:spcAft>
        <a:buSzPct val="50000"/>
        <a:buFont typeface="Wingdings" pitchFamily="2" charset="2"/>
        <a:buChar char="o"/>
        <a:defRPr sz="1700">
          <a:solidFill>
            <a:schemeClr val="tx1"/>
          </a:solidFill>
          <a:latin typeface="Calibri Light" pitchFamily="34" charset="0"/>
          <a:cs typeface="Segoe UI" pitchFamily="34" charset="0"/>
        </a:defRPr>
      </a:lvl3pPr>
      <a:lvl4pPr marL="1600200" indent="-228600" algn="l" defTabSz="-13873163" rtl="0" eaLnBrk="1" fontAlgn="base" hangingPunct="1">
        <a:spcBef>
          <a:spcPct val="20000"/>
        </a:spcBef>
        <a:spcAft>
          <a:spcPct val="0"/>
        </a:spcAft>
        <a:buSzPct val="50000"/>
        <a:buFont typeface="Wingdings" pitchFamily="2" charset="2"/>
        <a:buChar char="o"/>
        <a:defRPr sz="1500">
          <a:solidFill>
            <a:schemeClr val="tx1"/>
          </a:solidFill>
          <a:latin typeface="Calibri Light" pitchFamily="34" charset="0"/>
          <a:cs typeface="Segoe UI" pitchFamily="34" charset="0"/>
        </a:defRPr>
      </a:lvl4pPr>
      <a:lvl5pPr marL="2057400" indent="-228600" algn="l" defTabSz="-13873163" rtl="0" eaLnBrk="1" fontAlgn="base" hangingPunct="1">
        <a:spcBef>
          <a:spcPct val="20000"/>
        </a:spcBef>
        <a:spcAft>
          <a:spcPct val="0"/>
        </a:spcAft>
        <a:buSzPct val="50000"/>
        <a:buFont typeface="Wingdings" pitchFamily="2" charset="2"/>
        <a:buChar char="o"/>
        <a:defRPr sz="1300">
          <a:solidFill>
            <a:schemeClr val="tx1"/>
          </a:solidFill>
          <a:latin typeface="Calibri Light" pitchFamily="34" charset="0"/>
          <a:cs typeface="Segoe UI" pitchFamily="34" charset="0"/>
        </a:defRPr>
      </a:lvl5pPr>
      <a:lvl6pPr marL="25146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6pPr>
      <a:lvl7pPr marL="29718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7pPr>
      <a:lvl8pPr marL="34290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8pPr>
      <a:lvl9pPr marL="38862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1025"/>
          <p:cNvSpPr>
            <a:spLocks noGrp="1" noChangeArrowheads="1"/>
          </p:cNvSpPr>
          <p:nvPr>
            <p:ph type="body" idx="1"/>
          </p:nvPr>
        </p:nvSpPr>
        <p:spPr bwMode="auto">
          <a:xfrm>
            <a:off x="457200" y="1028700"/>
            <a:ext cx="8229600" cy="33718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1026"/>
          <p:cNvSpPr>
            <a:spLocks noGrp="1" noChangeArrowheads="1"/>
          </p:cNvSpPr>
          <p:nvPr>
            <p:ph type="title"/>
          </p:nvPr>
        </p:nvSpPr>
        <p:spPr bwMode="auto">
          <a:xfrm>
            <a:off x="457200" y="228600"/>
            <a:ext cx="8229600" cy="5715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510384014"/>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Lst>
  <p:transition>
    <p:fade/>
  </p:transition>
  <p:hf hdr="0" ftr="0" dt="0"/>
  <p:txStyles>
    <p:titleStyle>
      <a:lvl1pPr marL="0" indent="0" algn="ctr" defTabSz="-13873163" rtl="0" eaLnBrk="1" fontAlgn="base" hangingPunct="1">
        <a:spcBef>
          <a:spcPct val="0"/>
        </a:spcBef>
        <a:spcAft>
          <a:spcPct val="0"/>
        </a:spcAft>
        <a:defRPr lang="en-US" sz="2900" b="1" dirty="0" smtClean="0">
          <a:solidFill>
            <a:schemeClr val="accent2"/>
          </a:solidFill>
          <a:latin typeface="Calibri"/>
          <a:ea typeface="+mj-ea"/>
          <a:cs typeface="Segoe UI" pitchFamily="34" charset="0"/>
        </a:defRPr>
      </a:lvl1pPr>
      <a:lvl2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2pPr>
      <a:lvl3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3pPr>
      <a:lvl4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4pPr>
      <a:lvl5pPr marL="342900" indent="-342900" algn="ctr" defTabSz="-13873163" rtl="0" eaLnBrk="1" fontAlgn="base" hangingPunct="1">
        <a:spcBef>
          <a:spcPct val="0"/>
        </a:spcBef>
        <a:spcAft>
          <a:spcPct val="0"/>
        </a:spcAft>
        <a:defRPr sz="2800" b="1">
          <a:solidFill>
            <a:schemeClr val="tx2"/>
          </a:solidFill>
          <a:latin typeface="Myriad Pro" pitchFamily="34" charset="0"/>
          <a:cs typeface="Segoe UI" pitchFamily="34" charset="0"/>
        </a:defRPr>
      </a:lvl5pPr>
      <a:lvl6pPr marL="457200" algn="l" eaLnBrk="1" fontAlgn="base" hangingPunct="1">
        <a:spcBef>
          <a:spcPct val="0"/>
        </a:spcBef>
        <a:spcAft>
          <a:spcPct val="0"/>
        </a:spcAft>
        <a:defRPr sz="2800" b="1">
          <a:solidFill>
            <a:schemeClr val="tx2">
              <a:alpha val="100000"/>
            </a:schemeClr>
          </a:solidFill>
          <a:latin typeface="Verdana"/>
        </a:defRPr>
      </a:lvl6pPr>
      <a:lvl7pPr marL="914400" algn="l" eaLnBrk="1" fontAlgn="base" hangingPunct="1">
        <a:spcBef>
          <a:spcPct val="0"/>
        </a:spcBef>
        <a:spcAft>
          <a:spcPct val="0"/>
        </a:spcAft>
        <a:defRPr sz="2800" b="1">
          <a:solidFill>
            <a:schemeClr val="tx2">
              <a:alpha val="100000"/>
            </a:schemeClr>
          </a:solidFill>
          <a:latin typeface="Verdana"/>
        </a:defRPr>
      </a:lvl7pPr>
      <a:lvl8pPr marL="1371600" algn="l" eaLnBrk="1" fontAlgn="base" hangingPunct="1">
        <a:spcBef>
          <a:spcPct val="0"/>
        </a:spcBef>
        <a:spcAft>
          <a:spcPct val="0"/>
        </a:spcAft>
        <a:defRPr sz="2800" b="1">
          <a:solidFill>
            <a:schemeClr val="tx2">
              <a:alpha val="100000"/>
            </a:schemeClr>
          </a:solidFill>
          <a:latin typeface="Verdana"/>
        </a:defRPr>
      </a:lvl8pPr>
      <a:lvl9pPr marL="1828800" algn="l" eaLnBrk="1" fontAlgn="base" hangingPunct="1">
        <a:spcBef>
          <a:spcPct val="0"/>
        </a:spcBef>
        <a:spcAft>
          <a:spcPct val="0"/>
        </a:spcAft>
        <a:defRPr sz="2800" b="1">
          <a:solidFill>
            <a:schemeClr val="tx2">
              <a:alpha val="100000"/>
            </a:schemeClr>
          </a:solidFill>
          <a:latin typeface="Verdana"/>
        </a:defRPr>
      </a:lvl9pPr>
    </p:titleStyle>
    <p:bodyStyle>
      <a:lvl1pPr marL="342900" indent="-342900" algn="l" defTabSz="-13873163" rtl="0" eaLnBrk="1" fontAlgn="base" hangingPunct="1">
        <a:spcBef>
          <a:spcPct val="20000"/>
        </a:spcBef>
        <a:spcAft>
          <a:spcPct val="0"/>
        </a:spcAft>
        <a:buFont typeface="Wingdings" pitchFamily="2" charset="2"/>
        <a:buChar char="§"/>
        <a:defRPr sz="2100" b="1">
          <a:solidFill>
            <a:schemeClr val="tx1"/>
          </a:solidFill>
          <a:latin typeface="Calibri" pitchFamily="34" charset="0"/>
          <a:ea typeface="+mn-ea"/>
          <a:cs typeface="Segoe UI" pitchFamily="34" charset="0"/>
        </a:defRPr>
      </a:lvl1pPr>
      <a:lvl2pPr marL="742950" indent="-285750" algn="l" defTabSz="-13873163" rtl="0" eaLnBrk="1" fontAlgn="base" hangingPunct="1">
        <a:spcBef>
          <a:spcPct val="20000"/>
        </a:spcBef>
        <a:spcAft>
          <a:spcPct val="0"/>
        </a:spcAft>
        <a:buSzPct val="50000"/>
        <a:buFont typeface="Wingdings" pitchFamily="2" charset="2"/>
        <a:buChar char="o"/>
        <a:defRPr sz="1900">
          <a:solidFill>
            <a:schemeClr val="tx1"/>
          </a:solidFill>
          <a:latin typeface="Calibri Light" pitchFamily="34" charset="0"/>
          <a:cs typeface="Segoe UI" pitchFamily="34" charset="0"/>
        </a:defRPr>
      </a:lvl2pPr>
      <a:lvl3pPr marL="1143000" indent="-228600" algn="l" defTabSz="-13873163" rtl="0" eaLnBrk="1" fontAlgn="base" hangingPunct="1">
        <a:spcBef>
          <a:spcPct val="20000"/>
        </a:spcBef>
        <a:spcAft>
          <a:spcPct val="0"/>
        </a:spcAft>
        <a:buSzPct val="50000"/>
        <a:buFont typeface="Wingdings" pitchFamily="2" charset="2"/>
        <a:buChar char="o"/>
        <a:defRPr sz="1700">
          <a:solidFill>
            <a:schemeClr val="tx1"/>
          </a:solidFill>
          <a:latin typeface="Calibri Light" pitchFamily="34" charset="0"/>
          <a:cs typeface="Segoe UI" pitchFamily="34" charset="0"/>
        </a:defRPr>
      </a:lvl3pPr>
      <a:lvl4pPr marL="1600200" indent="-228600" algn="l" defTabSz="-13873163" rtl="0" eaLnBrk="1" fontAlgn="base" hangingPunct="1">
        <a:spcBef>
          <a:spcPct val="20000"/>
        </a:spcBef>
        <a:spcAft>
          <a:spcPct val="0"/>
        </a:spcAft>
        <a:buSzPct val="50000"/>
        <a:buFont typeface="Wingdings" pitchFamily="2" charset="2"/>
        <a:buChar char="o"/>
        <a:defRPr sz="1500">
          <a:solidFill>
            <a:schemeClr val="tx1"/>
          </a:solidFill>
          <a:latin typeface="Calibri Light" pitchFamily="34" charset="0"/>
          <a:cs typeface="Segoe UI" pitchFamily="34" charset="0"/>
        </a:defRPr>
      </a:lvl4pPr>
      <a:lvl5pPr marL="2057400" indent="-228600" algn="l" defTabSz="-13873163" rtl="0" eaLnBrk="1" fontAlgn="base" hangingPunct="1">
        <a:spcBef>
          <a:spcPct val="20000"/>
        </a:spcBef>
        <a:spcAft>
          <a:spcPct val="0"/>
        </a:spcAft>
        <a:buSzPct val="50000"/>
        <a:buFont typeface="Wingdings" pitchFamily="2" charset="2"/>
        <a:buChar char="o"/>
        <a:defRPr sz="1300">
          <a:solidFill>
            <a:schemeClr val="tx1"/>
          </a:solidFill>
          <a:latin typeface="Calibri Light" pitchFamily="34" charset="0"/>
          <a:cs typeface="Segoe UI" pitchFamily="34" charset="0"/>
        </a:defRPr>
      </a:lvl5pPr>
      <a:lvl6pPr marL="25146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6pPr>
      <a:lvl7pPr marL="29718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7pPr>
      <a:lvl8pPr marL="34290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8pPr>
      <a:lvl9pPr marL="3886200" indent="-228600" algn="l" eaLnBrk="1" fontAlgn="base" hangingPunct="1">
        <a:spcBef>
          <a:spcPct val="20000"/>
        </a:spcBef>
        <a:spcAft>
          <a:spcPct val="0"/>
        </a:spcAft>
        <a:buClr>
          <a:schemeClr val="accent1">
            <a:alpha val="100000"/>
          </a:schemeClr>
        </a:buClr>
        <a:buFont typeface="Wingdings"/>
        <a:buChar char=""/>
        <a:defRPr sz="1400" b="1">
          <a:solidFill>
            <a:schemeClr val="tx1">
              <a:alpha val="100000"/>
            </a:schemeClr>
          </a:solidFill>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dan@solliance.net" TargetMode="External"/><Relationship Id="rId2" Type="http://schemas.openxmlformats.org/officeDocument/2006/relationships/notesSlide" Target="../notesSlides/notesSlide1.xml"/><Relationship Id="rId1" Type="http://schemas.openxmlformats.org/officeDocument/2006/relationships/slideLayout" Target="../slideLayouts/slideLayout204.xml"/><Relationship Id="rId5" Type="http://schemas.openxmlformats.org/officeDocument/2006/relationships/image" Target="../media/image51.svg"/><Relationship Id="rId4" Type="http://schemas.openxmlformats.org/officeDocument/2006/relationships/image" Target="../media/image50.png"/></Relationships>
</file>

<file path=ppt/slides/_rels/slide10.xml.rels><?xml version="1.0" encoding="UTF-8" standalone="yes"?>
<Relationships xmlns="http://schemas.openxmlformats.org/package/2006/relationships"><Relationship Id="rId8" Type="http://schemas.openxmlformats.org/officeDocument/2006/relationships/image" Target="../media/image75.png"/><Relationship Id="rId13" Type="http://schemas.microsoft.com/office/2007/relationships/hdphoto" Target="../media/hdphoto5.wdp"/><Relationship Id="rId18" Type="http://schemas.openxmlformats.org/officeDocument/2006/relationships/image" Target="../media/image82.emf"/><Relationship Id="rId3" Type="http://schemas.openxmlformats.org/officeDocument/2006/relationships/image" Target="../media/image71.png"/><Relationship Id="rId21" Type="http://schemas.openxmlformats.org/officeDocument/2006/relationships/image" Target="../media/image85.emf"/><Relationship Id="rId7" Type="http://schemas.openxmlformats.org/officeDocument/2006/relationships/image" Target="../media/image74.emf"/><Relationship Id="rId12" Type="http://schemas.openxmlformats.org/officeDocument/2006/relationships/image" Target="../media/image77.png"/><Relationship Id="rId17" Type="http://schemas.openxmlformats.org/officeDocument/2006/relationships/image" Target="../media/image81.emf"/><Relationship Id="rId25" Type="http://schemas.openxmlformats.org/officeDocument/2006/relationships/customXml" Target="../ink/ink2.xml"/><Relationship Id="rId2" Type="http://schemas.openxmlformats.org/officeDocument/2006/relationships/notesSlide" Target="../notesSlides/notesSlide6.xml"/><Relationship Id="rId16" Type="http://schemas.openxmlformats.org/officeDocument/2006/relationships/image" Target="../media/image80.emf"/><Relationship Id="rId20" Type="http://schemas.openxmlformats.org/officeDocument/2006/relationships/image" Target="../media/image84.emf"/><Relationship Id="rId1" Type="http://schemas.openxmlformats.org/officeDocument/2006/relationships/slideLayout" Target="../slideLayouts/slideLayout42.xml"/><Relationship Id="rId6" Type="http://schemas.microsoft.com/office/2007/relationships/hdphoto" Target="../media/hdphoto2.wdp"/><Relationship Id="rId11" Type="http://schemas.microsoft.com/office/2007/relationships/hdphoto" Target="../media/hdphoto4.wdp"/><Relationship Id="rId24" Type="http://schemas.openxmlformats.org/officeDocument/2006/relationships/image" Target="../media/image86.png"/><Relationship Id="rId5" Type="http://schemas.openxmlformats.org/officeDocument/2006/relationships/image" Target="../media/image73.png"/><Relationship Id="rId15" Type="http://schemas.openxmlformats.org/officeDocument/2006/relationships/image" Target="../media/image79.emf"/><Relationship Id="rId23" Type="http://schemas.openxmlformats.org/officeDocument/2006/relationships/customXml" Target="../ink/ink1.xml"/><Relationship Id="rId10" Type="http://schemas.openxmlformats.org/officeDocument/2006/relationships/image" Target="../media/image76.png"/><Relationship Id="rId19" Type="http://schemas.openxmlformats.org/officeDocument/2006/relationships/image" Target="../media/image83.png"/><Relationship Id="rId4" Type="http://schemas.openxmlformats.org/officeDocument/2006/relationships/image" Target="../media/image72.png"/><Relationship Id="rId9" Type="http://schemas.microsoft.com/office/2007/relationships/hdphoto" Target="../media/hdphoto3.wdp"/><Relationship Id="rId14" Type="http://schemas.openxmlformats.org/officeDocument/2006/relationships/image" Target="../media/image78.emf"/><Relationship Id="rId22" Type="http://schemas.openxmlformats.org/officeDocument/2006/relationships/image" Target="../media/image86.emf"/></Relationships>
</file>

<file path=ppt/slides/_rels/slide11.xml.rels><?xml version="1.0" encoding="UTF-8" standalone="yes"?>
<Relationships xmlns="http://schemas.openxmlformats.org/package/2006/relationships"><Relationship Id="rId8" Type="http://schemas.openxmlformats.org/officeDocument/2006/relationships/image" Target="../media/image92.emf"/><Relationship Id="rId13" Type="http://schemas.openxmlformats.org/officeDocument/2006/relationships/image" Target="../media/image97.pn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jpe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90.png"/><Relationship Id="rId11" Type="http://schemas.openxmlformats.org/officeDocument/2006/relationships/image" Target="../media/image95.png"/><Relationship Id="rId5" Type="http://schemas.openxmlformats.org/officeDocument/2006/relationships/image" Target="../media/image89.png"/><Relationship Id="rId15" Type="http://schemas.openxmlformats.org/officeDocument/2006/relationships/image" Target="../media/image99.png"/><Relationship Id="rId10" Type="http://schemas.openxmlformats.org/officeDocument/2006/relationships/image" Target="../media/image94.svg"/><Relationship Id="rId4" Type="http://schemas.openxmlformats.org/officeDocument/2006/relationships/image" Target="../media/image88.png"/><Relationship Id="rId9" Type="http://schemas.openxmlformats.org/officeDocument/2006/relationships/image" Target="../media/image93.png"/><Relationship Id="rId14" Type="http://schemas.openxmlformats.org/officeDocument/2006/relationships/image" Target="../media/image98.png"/></Relationships>
</file>

<file path=ppt/slides/_rels/slide12.xml.rels><?xml version="1.0" encoding="UTF-8" standalone="yes"?>
<Relationships xmlns="http://schemas.openxmlformats.org/package/2006/relationships"><Relationship Id="rId8" Type="http://schemas.openxmlformats.org/officeDocument/2006/relationships/image" Target="../media/image105.emf"/><Relationship Id="rId3" Type="http://schemas.openxmlformats.org/officeDocument/2006/relationships/image" Target="../media/image100.emf"/><Relationship Id="rId7" Type="http://schemas.openxmlformats.org/officeDocument/2006/relationships/image" Target="../media/image104.png"/><Relationship Id="rId2" Type="http://schemas.openxmlformats.org/officeDocument/2006/relationships/notesSlide" Target="../notesSlides/notesSlide8.xml"/><Relationship Id="rId1" Type="http://schemas.openxmlformats.org/officeDocument/2006/relationships/slideLayout" Target="../slideLayouts/slideLayout32.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1.png"/></Relationships>
</file>

<file path=ppt/slides/_rels/slide13.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67.png"/><Relationship Id="rId7" Type="http://schemas.openxmlformats.org/officeDocument/2006/relationships/image" Target="../media/image108.png"/><Relationship Id="rId2" Type="http://schemas.openxmlformats.org/officeDocument/2006/relationships/notesSlide" Target="../notesSlides/notesSlide9.xml"/><Relationship Id="rId1" Type="http://schemas.openxmlformats.org/officeDocument/2006/relationships/slideLayout" Target="../slideLayouts/slideLayout25.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68.svg"/></Relationships>
</file>

<file path=ppt/slides/_rels/slide14.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0.xml"/><Relationship Id="rId1" Type="http://schemas.openxmlformats.org/officeDocument/2006/relationships/slideLayout" Target="../slideLayouts/slideLayout26.xml"/><Relationship Id="rId4" Type="http://schemas.openxmlformats.org/officeDocument/2006/relationships/image" Target="../media/image103.svg"/></Relationships>
</file>

<file path=ppt/slides/_rels/slide1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113.svg"/><Relationship Id="rId2" Type="http://schemas.openxmlformats.org/officeDocument/2006/relationships/image" Target="../media/image112.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emf"/><Relationship Id="rId1" Type="http://schemas.openxmlformats.org/officeDocument/2006/relationships/slideLayout" Target="../slideLayouts/slideLayout5.xml"/><Relationship Id="rId6" Type="http://schemas.openxmlformats.org/officeDocument/2006/relationships/image" Target="../media/image64.svg"/><Relationship Id="rId5" Type="http://schemas.openxmlformats.org/officeDocument/2006/relationships/image" Target="../media/image117.png"/><Relationship Id="rId4" Type="http://schemas.openxmlformats.org/officeDocument/2006/relationships/image" Target="../media/image116.svg"/></Relationships>
</file>

<file path=ppt/slides/_rels/slide2.xml.rels><?xml version="1.0" encoding="UTF-8" standalone="yes"?>
<Relationships xmlns="http://schemas.openxmlformats.org/package/2006/relationships"><Relationship Id="rId3" Type="http://schemas.openxmlformats.org/officeDocument/2006/relationships/image" Target="../media/image52.gi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120.png"/><Relationship Id="rId4" Type="http://schemas.openxmlformats.org/officeDocument/2006/relationships/image" Target="../media/image119.svg"/></Relationships>
</file>

<file path=ppt/slides/_rels/slide22.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23.png"/></Relationships>
</file>

<file path=ppt/slides/_rels/slide2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19.svg"/></Relationships>
</file>

<file path=ppt/slides/_rels/slide2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127.png"/></Relationships>
</file>

<file path=ppt/slides/_rels/slide26.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131.sv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7.png"/></Relationships>
</file>

<file path=ppt/slides/_rels/slide2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107.xml"/></Relationships>
</file>

<file path=ppt/slides/_rels/slide28.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image" Target="../media/image138.svg"/><Relationship Id="rId13" Type="http://schemas.openxmlformats.org/officeDocument/2006/relationships/image" Target="../media/image143.png"/><Relationship Id="rId3" Type="http://schemas.openxmlformats.org/officeDocument/2006/relationships/image" Target="../media/image102.png"/><Relationship Id="rId7" Type="http://schemas.openxmlformats.org/officeDocument/2006/relationships/image" Target="../media/image137.png"/><Relationship Id="rId12" Type="http://schemas.openxmlformats.org/officeDocument/2006/relationships/image" Target="../media/image142.svg"/><Relationship Id="rId2" Type="http://schemas.openxmlformats.org/officeDocument/2006/relationships/image" Target="../media/image134.png"/><Relationship Id="rId16" Type="http://schemas.openxmlformats.org/officeDocument/2006/relationships/image" Target="../media/image146.svg"/><Relationship Id="rId1" Type="http://schemas.openxmlformats.org/officeDocument/2006/relationships/slideLayout" Target="../slideLayouts/slideLayout29.xml"/><Relationship Id="rId6" Type="http://schemas.openxmlformats.org/officeDocument/2006/relationships/image" Target="../media/image136.svg"/><Relationship Id="rId11" Type="http://schemas.openxmlformats.org/officeDocument/2006/relationships/image" Target="../media/image141.png"/><Relationship Id="rId5" Type="http://schemas.openxmlformats.org/officeDocument/2006/relationships/image" Target="../media/image135.png"/><Relationship Id="rId15" Type="http://schemas.openxmlformats.org/officeDocument/2006/relationships/image" Target="../media/image145.png"/><Relationship Id="rId10" Type="http://schemas.openxmlformats.org/officeDocument/2006/relationships/image" Target="../media/image140.svg"/><Relationship Id="rId4" Type="http://schemas.openxmlformats.org/officeDocument/2006/relationships/image" Target="../media/image103.svg"/><Relationship Id="rId9" Type="http://schemas.openxmlformats.org/officeDocument/2006/relationships/image" Target="../media/image139.png"/><Relationship Id="rId14" Type="http://schemas.openxmlformats.org/officeDocument/2006/relationships/image" Target="../media/image144.svg"/></Relationships>
</file>

<file path=ppt/slides/_rels/slide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00.emf"/><Relationship Id="rId3" Type="http://schemas.openxmlformats.org/officeDocument/2006/relationships/image" Target="../media/image148.png"/><Relationship Id="rId7" Type="http://schemas.microsoft.com/office/2007/relationships/hdphoto" Target="../media/hdphoto6.wdp"/><Relationship Id="rId12" Type="http://schemas.openxmlformats.org/officeDocument/2006/relationships/image" Target="../media/image154.png"/><Relationship Id="rId2" Type="http://schemas.openxmlformats.org/officeDocument/2006/relationships/image" Target="../media/image147.emf"/><Relationship Id="rId1" Type="http://schemas.openxmlformats.org/officeDocument/2006/relationships/slideLayout" Target="../slideLayouts/slideLayout38.xml"/><Relationship Id="rId6" Type="http://schemas.openxmlformats.org/officeDocument/2006/relationships/image" Target="../media/image151.png"/><Relationship Id="rId11" Type="http://schemas.microsoft.com/office/2007/relationships/hdphoto" Target="../media/hdphoto7.wdp"/><Relationship Id="rId5" Type="http://schemas.openxmlformats.org/officeDocument/2006/relationships/image" Target="../media/image150.png"/><Relationship Id="rId10" Type="http://schemas.openxmlformats.org/officeDocument/2006/relationships/image" Target="../media/image153.png"/><Relationship Id="rId4" Type="http://schemas.openxmlformats.org/officeDocument/2006/relationships/image" Target="../media/image149.emf"/><Relationship Id="rId9" Type="http://schemas.openxmlformats.org/officeDocument/2006/relationships/image" Target="../media/image152.png"/></Relationships>
</file>

<file path=ppt/slides/_rels/slide31.xml.rels><?xml version="1.0" encoding="UTF-8" standalone="yes"?>
<Relationships xmlns="http://schemas.openxmlformats.org/package/2006/relationships"><Relationship Id="rId3" Type="http://schemas.openxmlformats.org/officeDocument/2006/relationships/image" Target="../media/image156.svg"/><Relationship Id="rId2" Type="http://schemas.openxmlformats.org/officeDocument/2006/relationships/image" Target="../media/image155.png"/><Relationship Id="rId1" Type="http://schemas.openxmlformats.org/officeDocument/2006/relationships/slideLayout" Target="../slideLayouts/slideLayout25.xml"/><Relationship Id="rId4" Type="http://schemas.openxmlformats.org/officeDocument/2006/relationships/image" Target="../media/image157.png"/></Relationships>
</file>

<file path=ppt/slides/_rels/slide32.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9.xml"/><Relationship Id="rId1" Type="http://schemas.openxmlformats.org/officeDocument/2006/relationships/slideLayout" Target="../slideLayouts/slideLayout25.xml"/><Relationship Id="rId4" Type="http://schemas.openxmlformats.org/officeDocument/2006/relationships/image" Target="../media/image163.svg"/></Relationships>
</file>

<file path=ppt/slides/_rels/slide3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20.xml"/><Relationship Id="rId1" Type="http://schemas.openxmlformats.org/officeDocument/2006/relationships/slideLayout" Target="../slideLayouts/slideLayout50.xml"/><Relationship Id="rId4" Type="http://schemas.openxmlformats.org/officeDocument/2006/relationships/image" Target="../media/image128.png"/></Relationships>
</file>

<file path=ppt/slides/_rels/slide38.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8" Type="http://schemas.openxmlformats.org/officeDocument/2006/relationships/image" Target="../media/image170.svg"/><Relationship Id="rId13" Type="http://schemas.openxmlformats.org/officeDocument/2006/relationships/image" Target="../media/image175.pn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svg"/><Relationship Id="rId2" Type="http://schemas.openxmlformats.org/officeDocument/2006/relationships/notesSlide" Target="../notesSlides/notesSlide21.xml"/><Relationship Id="rId1" Type="http://schemas.openxmlformats.org/officeDocument/2006/relationships/slideLayout" Target="../slideLayouts/slideLayout49.xml"/><Relationship Id="rId6" Type="http://schemas.openxmlformats.org/officeDocument/2006/relationships/image" Target="../media/image168.svg"/><Relationship Id="rId11" Type="http://schemas.openxmlformats.org/officeDocument/2006/relationships/image" Target="../media/image173.png"/><Relationship Id="rId5" Type="http://schemas.openxmlformats.org/officeDocument/2006/relationships/image" Target="../media/image167.png"/><Relationship Id="rId10" Type="http://schemas.openxmlformats.org/officeDocument/2006/relationships/image" Target="../media/image172.svg"/><Relationship Id="rId4" Type="http://schemas.openxmlformats.org/officeDocument/2006/relationships/image" Target="../media/image166.svg"/><Relationship Id="rId9" Type="http://schemas.openxmlformats.org/officeDocument/2006/relationships/image" Target="../media/image171.png"/><Relationship Id="rId14" Type="http://schemas.openxmlformats.org/officeDocument/2006/relationships/image" Target="../media/image176.svg"/></Relationships>
</file>

<file path=ppt/slides/_rels/slide4.xml.rels><?xml version="1.0" encoding="UTF-8" standalone="yes"?>
<Relationships xmlns="http://schemas.openxmlformats.org/package/2006/relationships"><Relationship Id="rId8" Type="http://schemas.openxmlformats.org/officeDocument/2006/relationships/image" Target="../media/image58.jpg"/><Relationship Id="rId3" Type="http://schemas.openxmlformats.org/officeDocument/2006/relationships/image" Target="../media/image54.png"/><Relationship Id="rId7" Type="http://schemas.openxmlformats.org/officeDocument/2006/relationships/hyperlink" Target="http://aka.ms/smartpaper"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57.png"/><Relationship Id="rId5" Type="http://schemas.openxmlformats.org/officeDocument/2006/relationships/image" Target="../media/image56.jpeg"/><Relationship Id="rId4" Type="http://schemas.openxmlformats.org/officeDocument/2006/relationships/image" Target="../media/image55.png"/><Relationship Id="rId9" Type="http://schemas.openxmlformats.org/officeDocument/2006/relationships/image" Target="../media/image59.jpeg"/></Relationships>
</file>

<file path=ppt/slides/_rels/slide40.xml.rels><?xml version="1.0" encoding="UTF-8" standalone="yes"?>
<Relationships xmlns="http://schemas.openxmlformats.org/package/2006/relationships"><Relationship Id="rId3" Type="http://schemas.openxmlformats.org/officeDocument/2006/relationships/image" Target="../media/image177.tiff"/><Relationship Id="rId2" Type="http://schemas.openxmlformats.org/officeDocument/2006/relationships/notesSlide" Target="../notesSlides/notesSlide22.xml"/><Relationship Id="rId1" Type="http://schemas.openxmlformats.org/officeDocument/2006/relationships/slideLayout" Target="../slideLayouts/slideLayout165.xml"/></Relationships>
</file>

<file path=ppt/slides/_rels/slide41.xml.rels><?xml version="1.0" encoding="UTF-8" standalone="yes"?>
<Relationships xmlns="http://schemas.openxmlformats.org/package/2006/relationships"><Relationship Id="rId8" Type="http://schemas.openxmlformats.org/officeDocument/2006/relationships/image" Target="../media/image182.svg"/><Relationship Id="rId13" Type="http://schemas.openxmlformats.org/officeDocument/2006/relationships/image" Target="../media/image187.png"/><Relationship Id="rId18" Type="http://schemas.openxmlformats.org/officeDocument/2006/relationships/image" Target="../media/image192.svg"/><Relationship Id="rId26" Type="http://schemas.openxmlformats.org/officeDocument/2006/relationships/image" Target="../media/image199.svg"/><Relationship Id="rId3" Type="http://schemas.openxmlformats.org/officeDocument/2006/relationships/image" Target="../media/image178.png"/><Relationship Id="rId21" Type="http://schemas.openxmlformats.org/officeDocument/2006/relationships/image" Target="../media/image195.png"/><Relationship Id="rId7" Type="http://schemas.openxmlformats.org/officeDocument/2006/relationships/image" Target="../media/image181.png"/><Relationship Id="rId12" Type="http://schemas.openxmlformats.org/officeDocument/2006/relationships/image" Target="../media/image186.svg"/><Relationship Id="rId17" Type="http://schemas.openxmlformats.org/officeDocument/2006/relationships/image" Target="../media/image191.png"/><Relationship Id="rId25" Type="http://schemas.openxmlformats.org/officeDocument/2006/relationships/image" Target="../media/image198.png"/><Relationship Id="rId2" Type="http://schemas.openxmlformats.org/officeDocument/2006/relationships/notesSlide" Target="../notesSlides/notesSlide23.xml"/><Relationship Id="rId16" Type="http://schemas.openxmlformats.org/officeDocument/2006/relationships/image" Target="../media/image190.svg"/><Relationship Id="rId20" Type="http://schemas.openxmlformats.org/officeDocument/2006/relationships/image" Target="../media/image194.svg"/><Relationship Id="rId1" Type="http://schemas.openxmlformats.org/officeDocument/2006/relationships/slideLayout" Target="../slideLayouts/slideLayout29.xml"/><Relationship Id="rId6" Type="http://schemas.openxmlformats.org/officeDocument/2006/relationships/image" Target="../media/image180.svg"/><Relationship Id="rId11" Type="http://schemas.openxmlformats.org/officeDocument/2006/relationships/image" Target="../media/image185.png"/><Relationship Id="rId24" Type="http://schemas.openxmlformats.org/officeDocument/2006/relationships/image" Target="../media/image174.svg"/><Relationship Id="rId5" Type="http://schemas.openxmlformats.org/officeDocument/2006/relationships/image" Target="../media/image179.png"/><Relationship Id="rId15" Type="http://schemas.openxmlformats.org/officeDocument/2006/relationships/image" Target="../media/image189.png"/><Relationship Id="rId23" Type="http://schemas.openxmlformats.org/officeDocument/2006/relationships/image" Target="../media/image197.png"/><Relationship Id="rId28" Type="http://schemas.openxmlformats.org/officeDocument/2006/relationships/image" Target="../media/image201.svg"/><Relationship Id="rId10" Type="http://schemas.openxmlformats.org/officeDocument/2006/relationships/image" Target="../media/image184.svg"/><Relationship Id="rId19" Type="http://schemas.openxmlformats.org/officeDocument/2006/relationships/image" Target="../media/image193.png"/><Relationship Id="rId4" Type="http://schemas.openxmlformats.org/officeDocument/2006/relationships/image" Target="../media/image168.svg"/><Relationship Id="rId9" Type="http://schemas.openxmlformats.org/officeDocument/2006/relationships/image" Target="../media/image183.png"/><Relationship Id="rId14" Type="http://schemas.openxmlformats.org/officeDocument/2006/relationships/image" Target="../media/image188.svg"/><Relationship Id="rId22" Type="http://schemas.openxmlformats.org/officeDocument/2006/relationships/image" Target="../media/image196.svg"/><Relationship Id="rId27" Type="http://schemas.openxmlformats.org/officeDocument/2006/relationships/image" Target="../media/image200.png"/></Relationships>
</file>

<file path=ppt/slides/_rels/slide42.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24.xml"/><Relationship Id="rId1" Type="http://schemas.openxmlformats.org/officeDocument/2006/relationships/slideLayout" Target="../slideLayouts/slideLayout29.xml"/><Relationship Id="rId4" Type="http://schemas.openxmlformats.org/officeDocument/2006/relationships/image" Target="../media/image203.svg"/></Relationships>
</file>

<file path=ppt/slides/_rels/slide43.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8" Type="http://schemas.openxmlformats.org/officeDocument/2006/relationships/image" Target="../media/image210.png"/><Relationship Id="rId3" Type="http://schemas.openxmlformats.org/officeDocument/2006/relationships/image" Target="../media/image205.png"/><Relationship Id="rId7" Type="http://schemas.openxmlformats.org/officeDocument/2006/relationships/image" Target="../media/image209.svg"/><Relationship Id="rId2" Type="http://schemas.openxmlformats.org/officeDocument/2006/relationships/notesSlide" Target="../notesSlides/notesSlide26.xml"/><Relationship Id="rId1" Type="http://schemas.openxmlformats.org/officeDocument/2006/relationships/slideLayout" Target="../slideLayouts/slideLayout40.xml"/><Relationship Id="rId6" Type="http://schemas.openxmlformats.org/officeDocument/2006/relationships/image" Target="../media/image208.png"/><Relationship Id="rId5" Type="http://schemas.openxmlformats.org/officeDocument/2006/relationships/image" Target="../media/image207.svg"/><Relationship Id="rId4" Type="http://schemas.openxmlformats.org/officeDocument/2006/relationships/image" Target="../media/image206.png"/><Relationship Id="rId9" Type="http://schemas.openxmlformats.org/officeDocument/2006/relationships/image" Target="../media/image211.svg"/></Relationships>
</file>

<file path=ppt/slides/_rels/slide45.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222.svg"/><Relationship Id="rId18" Type="http://schemas.openxmlformats.org/officeDocument/2006/relationships/image" Target="../media/image227.png"/><Relationship Id="rId26" Type="http://schemas.openxmlformats.org/officeDocument/2006/relationships/image" Target="../media/image235.png"/><Relationship Id="rId3" Type="http://schemas.openxmlformats.org/officeDocument/2006/relationships/image" Target="../media/image213.png"/><Relationship Id="rId21" Type="http://schemas.openxmlformats.org/officeDocument/2006/relationships/image" Target="../media/image230.svg"/><Relationship Id="rId7" Type="http://schemas.openxmlformats.org/officeDocument/2006/relationships/image" Target="../media/image217.svg"/><Relationship Id="rId12" Type="http://schemas.openxmlformats.org/officeDocument/2006/relationships/image" Target="../media/image221.png"/><Relationship Id="rId17" Type="http://schemas.openxmlformats.org/officeDocument/2006/relationships/image" Target="../media/image226.svg"/><Relationship Id="rId25" Type="http://schemas.openxmlformats.org/officeDocument/2006/relationships/image" Target="../media/image234.svg"/><Relationship Id="rId2" Type="http://schemas.openxmlformats.org/officeDocument/2006/relationships/notesSlide" Target="../notesSlides/notesSlide28.xml"/><Relationship Id="rId16" Type="http://schemas.openxmlformats.org/officeDocument/2006/relationships/image" Target="../media/image225.png"/><Relationship Id="rId20" Type="http://schemas.openxmlformats.org/officeDocument/2006/relationships/image" Target="../media/image229.png"/><Relationship Id="rId29" Type="http://schemas.openxmlformats.org/officeDocument/2006/relationships/image" Target="../media/image238.svg"/><Relationship Id="rId1" Type="http://schemas.openxmlformats.org/officeDocument/2006/relationships/slideLayout" Target="../slideLayouts/slideLayout29.xml"/><Relationship Id="rId6" Type="http://schemas.openxmlformats.org/officeDocument/2006/relationships/image" Target="../media/image216.png"/><Relationship Id="rId11" Type="http://schemas.openxmlformats.org/officeDocument/2006/relationships/image" Target="../media/image220.svg"/><Relationship Id="rId24" Type="http://schemas.openxmlformats.org/officeDocument/2006/relationships/image" Target="../media/image233.png"/><Relationship Id="rId5" Type="http://schemas.openxmlformats.org/officeDocument/2006/relationships/image" Target="../media/image215.emf"/><Relationship Id="rId15" Type="http://schemas.openxmlformats.org/officeDocument/2006/relationships/image" Target="../media/image224.svg"/><Relationship Id="rId23" Type="http://schemas.openxmlformats.org/officeDocument/2006/relationships/image" Target="../media/image232.svg"/><Relationship Id="rId28" Type="http://schemas.openxmlformats.org/officeDocument/2006/relationships/image" Target="../media/image237.png"/><Relationship Id="rId10" Type="http://schemas.openxmlformats.org/officeDocument/2006/relationships/image" Target="../media/image219.png"/><Relationship Id="rId19" Type="http://schemas.openxmlformats.org/officeDocument/2006/relationships/image" Target="../media/image228.svg"/><Relationship Id="rId4" Type="http://schemas.openxmlformats.org/officeDocument/2006/relationships/image" Target="../media/image214.svg"/><Relationship Id="rId9" Type="http://schemas.openxmlformats.org/officeDocument/2006/relationships/image" Target="../media/image199.svg"/><Relationship Id="rId14" Type="http://schemas.openxmlformats.org/officeDocument/2006/relationships/image" Target="../media/image223.png"/><Relationship Id="rId22" Type="http://schemas.openxmlformats.org/officeDocument/2006/relationships/image" Target="../media/image231.png"/><Relationship Id="rId27" Type="http://schemas.openxmlformats.org/officeDocument/2006/relationships/image" Target="../media/image236.svg"/></Relationships>
</file>

<file path=ppt/slides/_rels/slide47.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29.xml"/><Relationship Id="rId1" Type="http://schemas.openxmlformats.org/officeDocument/2006/relationships/slideLayout" Target="../slideLayouts/slideLayout48.xml"/></Relationships>
</file>

<file path=ppt/slides/_rels/slide48.xml.rels><?xml version="1.0" encoding="UTF-8" standalone="yes"?>
<Relationships xmlns="http://schemas.openxmlformats.org/package/2006/relationships"><Relationship Id="rId2" Type="http://schemas.openxmlformats.org/officeDocument/2006/relationships/image" Target="../media/image240.png"/><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8" Type="http://schemas.openxmlformats.org/officeDocument/2006/relationships/image" Target="../media/image228.svg"/><Relationship Id="rId3" Type="http://schemas.openxmlformats.org/officeDocument/2006/relationships/image" Target="../media/image242.png"/><Relationship Id="rId7" Type="http://schemas.openxmlformats.org/officeDocument/2006/relationships/image" Target="../media/image244.png"/><Relationship Id="rId12" Type="http://schemas.openxmlformats.org/officeDocument/2006/relationships/image" Target="../media/image230.svg"/><Relationship Id="rId2" Type="http://schemas.openxmlformats.org/officeDocument/2006/relationships/image" Target="../media/image241.png"/><Relationship Id="rId1" Type="http://schemas.openxmlformats.org/officeDocument/2006/relationships/slideLayout" Target="../slideLayouts/slideLayout32.xml"/><Relationship Id="rId6" Type="http://schemas.openxmlformats.org/officeDocument/2006/relationships/image" Target="../media/image174.svg"/><Relationship Id="rId11" Type="http://schemas.openxmlformats.org/officeDocument/2006/relationships/image" Target="../media/image245.png"/><Relationship Id="rId5" Type="http://schemas.openxmlformats.org/officeDocument/2006/relationships/image" Target="../media/image197.png"/><Relationship Id="rId10" Type="http://schemas.openxmlformats.org/officeDocument/2006/relationships/image" Target="../media/image180.svg"/><Relationship Id="rId4" Type="http://schemas.openxmlformats.org/officeDocument/2006/relationships/image" Target="../media/image243.svg"/><Relationship Id="rId9" Type="http://schemas.openxmlformats.org/officeDocument/2006/relationships/image" Target="../media/image179.png"/></Relationships>
</file>

<file path=ppt/slides/_rels/slide5.xml.rels><?xml version="1.0" encoding="UTF-8" standalone="yes"?>
<Relationships xmlns="http://schemas.openxmlformats.org/package/2006/relationships"><Relationship Id="rId2" Type="http://schemas.openxmlformats.org/officeDocument/2006/relationships/hyperlink" Target="https://products.office.com/en-us/business/office-365-for-business-support-options" TargetMode="External"/><Relationship Id="rId1" Type="http://schemas.openxmlformats.org/officeDocument/2006/relationships/slideLayout" Target="../slideLayouts/slideLayout4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s://www.cisecurity.org/benchmark/azure/" TargetMode="Externa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62.png"/><Relationship Id="rId7" Type="http://schemas.openxmlformats.org/officeDocument/2006/relationships/image" Target="../media/image66.svg"/><Relationship Id="rId2" Type="http://schemas.openxmlformats.org/officeDocument/2006/relationships/notesSlide" Target="../notesSlides/notesSlide5.xml"/><Relationship Id="rId1" Type="http://schemas.openxmlformats.org/officeDocument/2006/relationships/slideLayout" Target="../slideLayouts/slideLayout45.xml"/><Relationship Id="rId6" Type="http://schemas.openxmlformats.org/officeDocument/2006/relationships/image" Target="../media/image65.png"/><Relationship Id="rId11" Type="http://schemas.openxmlformats.org/officeDocument/2006/relationships/image" Target="../media/image68.svg"/><Relationship Id="rId5" Type="http://schemas.openxmlformats.org/officeDocument/2006/relationships/image" Target="../media/image64.svg"/><Relationship Id="rId10" Type="http://schemas.openxmlformats.org/officeDocument/2006/relationships/image" Target="../media/image67.png"/><Relationship Id="rId4" Type="http://schemas.openxmlformats.org/officeDocument/2006/relationships/image" Target="../media/image63.png"/><Relationship Id="rId9" Type="http://schemas.openxmlformats.org/officeDocument/2006/relationships/image" Target="../media/image51.svg"/></Relationships>
</file>

<file path=ppt/slides/_rels/slide8.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br>
              <a:rPr lang="en-US" sz="3600" dirty="0">
                <a:solidFill>
                  <a:schemeClr val="tx1"/>
                </a:solidFill>
              </a:rPr>
            </a:br>
            <a:r>
              <a:rPr lang="en-US" sz="3600" dirty="0">
                <a:solidFill>
                  <a:schemeClr val="tx1"/>
                </a:solidFill>
              </a:rPr>
              <a:t>SHIELDS UP: </a:t>
            </a:r>
            <a:br>
              <a:rPr lang="en-US" sz="3600" dirty="0">
                <a:solidFill>
                  <a:schemeClr val="tx1"/>
                </a:solidFill>
              </a:rPr>
            </a:br>
            <a:r>
              <a:rPr lang="en-US" sz="3600" dirty="0">
                <a:solidFill>
                  <a:schemeClr val="tx1"/>
                </a:solidFill>
              </a:rPr>
              <a:t>SECURING YOUR AZURE DEPLOYMENTS</a:t>
            </a:r>
          </a:p>
        </p:txBody>
      </p:sp>
      <p:sp>
        <p:nvSpPr>
          <p:cNvPr id="3" name="Subtitle 2"/>
          <p:cNvSpPr>
            <a:spLocks noGrp="1"/>
          </p:cNvSpPr>
          <p:nvPr>
            <p:ph type="subTitle" idx="1"/>
          </p:nvPr>
        </p:nvSpPr>
        <p:spPr/>
        <p:txBody>
          <a:bodyPr/>
          <a:lstStyle/>
          <a:p>
            <a:r>
              <a:rPr lang="en-US" dirty="0">
                <a:solidFill>
                  <a:schemeClr val="tx1"/>
                </a:solidFill>
              </a:rPr>
              <a:t>Dan Patrick</a:t>
            </a:r>
          </a:p>
          <a:p>
            <a:r>
              <a:rPr lang="en-US" dirty="0">
                <a:solidFill>
                  <a:schemeClr val="tx1"/>
                </a:solidFill>
                <a:hlinkClick r:id="rId3">
                  <a:extLst>
                    <a:ext uri="{A12FA001-AC4F-418D-AE19-62706E023703}">
                      <ahyp:hlinkClr xmlns:ahyp="http://schemas.microsoft.com/office/drawing/2018/hyperlinkcolor" val="tx"/>
                    </a:ext>
                  </a:extLst>
                </a:hlinkClick>
              </a:rPr>
              <a:t>dan@solliance.net</a:t>
            </a:r>
            <a:endParaRPr lang="en-US" dirty="0">
              <a:solidFill>
                <a:schemeClr val="tx1"/>
              </a:solidFill>
            </a:endParaRPr>
          </a:p>
          <a:p>
            <a:r>
              <a:rPr lang="en-US" dirty="0">
                <a:solidFill>
                  <a:schemeClr val="tx1"/>
                </a:solidFill>
              </a:rPr>
              <a:t>@deltadan</a:t>
            </a:r>
          </a:p>
        </p:txBody>
      </p:sp>
      <p:pic>
        <p:nvPicPr>
          <p:cNvPr id="5" name="Graphic 4">
            <a:extLst>
              <a:ext uri="{FF2B5EF4-FFF2-40B4-BE49-F238E27FC236}">
                <a16:creationId xmlns:a16="http://schemas.microsoft.com/office/drawing/2014/main" id="{920890D6-7066-4EC2-BE32-3098E8326A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53200" y="3619500"/>
            <a:ext cx="1524000" cy="1524000"/>
          </a:xfrm>
          <a:prstGeom prst="rect">
            <a:avLst/>
          </a:prstGeom>
        </p:spPr>
      </p:pic>
    </p:spTree>
    <p:extLst>
      <p:ext uri="{BB962C8B-B14F-4D97-AF65-F5344CB8AC3E}">
        <p14:creationId xmlns:p14="http://schemas.microsoft.com/office/powerpoint/2010/main" val="202960849"/>
      </p:ext>
    </p:extLst>
  </p:cSld>
  <p:clrMapOvr>
    <a:masterClrMapping/>
  </p:clrMapOvr>
  <mc:AlternateContent xmlns:mc="http://schemas.openxmlformats.org/markup-compatibility/2006" xmlns:p14="http://schemas.microsoft.com/office/powerpoint/2010/main">
    <mc:Choice Requires="p14">
      <p:transition p14:dur="0"/>
    </mc:Choice>
    <mc:Fallback xmlns="" xmlns:mv="urn:schemas-microsoft-com:mac:vml">
      <mp:transition xmlns:mp="http://schemas.microsoft.com/office/mac/powerpoint/2008/mai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9F0A8EF9-31DC-41A2-A6A7-C8973311F909}"/>
              </a:ext>
            </a:extLst>
          </p:cNvPr>
          <p:cNvSpPr txBox="1">
            <a:spLocks/>
          </p:cNvSpPr>
          <p:nvPr/>
        </p:nvSpPr>
        <p:spPr>
          <a:xfrm>
            <a:off x="427545" y="540094"/>
            <a:ext cx="3968594" cy="557931"/>
          </a:xfrm>
          <a:prstGeom prst="rect">
            <a:avLst/>
          </a:prstGeom>
        </p:spPr>
        <p:txBody>
          <a:bodyPr/>
          <a:lstStyle>
            <a:lvl1pPr algn="l" defTabSz="932384" rtl="0" eaLnBrk="1" latinLnBrk="0" hangingPunct="1">
              <a:lnSpc>
                <a:spcPct val="90000"/>
              </a:lnSpc>
              <a:spcBef>
                <a:spcPct val="0"/>
              </a:spcBef>
              <a:buNone/>
              <a:defRPr lang="en-US" sz="3264" b="0" kern="1200" cap="none" spc="-150" baseline="0" dirty="0" smtClean="0">
                <a:ln w="3175">
                  <a:noFill/>
                </a:ln>
                <a:solidFill>
                  <a:schemeClr val="tx1"/>
                </a:solidFill>
                <a:effectLst/>
                <a:latin typeface="+mj-lt"/>
                <a:ea typeface="+mn-ea"/>
                <a:cs typeface="Segoe UI" pitchFamily="34" charset="0"/>
              </a:defRPr>
            </a:lvl1pPr>
          </a:lstStyle>
          <a:p>
            <a:pPr marL="0" marR="0" lvl="0" indent="0" algn="l" defTabSz="685512" rtl="0" eaLnBrk="1" fontAlgn="base" latinLnBrk="0" hangingPunct="1">
              <a:lnSpc>
                <a:spcPct val="90000"/>
              </a:lnSpc>
              <a:spcBef>
                <a:spcPct val="0"/>
              </a:spcBef>
              <a:spcAft>
                <a:spcPct val="0"/>
              </a:spcAft>
              <a:buClrTx/>
              <a:buSzTx/>
              <a:buFontTx/>
              <a:buNone/>
              <a:tabLst/>
              <a:defRPr/>
            </a:pPr>
            <a:endParaRPr kumimoji="0" lang="en-US" sz="2647" b="0" i="0" u="none" strike="noStrike" kern="1200" cap="none" spc="-110" normalizeH="0" baseline="0" noProof="0" dirty="0">
              <a:ln w="3175">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cxnSp>
        <p:nvCxnSpPr>
          <p:cNvPr id="18" name="Straight Connector 17">
            <a:extLst>
              <a:ext uri="{FF2B5EF4-FFF2-40B4-BE49-F238E27FC236}">
                <a16:creationId xmlns:a16="http://schemas.microsoft.com/office/drawing/2014/main" id="{0708F30C-625C-44BF-9A18-B17F216DAC3A}"/>
              </a:ext>
            </a:extLst>
          </p:cNvPr>
          <p:cNvCxnSpPr>
            <a:cxnSpLocks/>
            <a:endCxn id="176" idx="4"/>
          </p:cNvCxnSpPr>
          <p:nvPr/>
        </p:nvCxnSpPr>
        <p:spPr>
          <a:xfrm flipV="1">
            <a:off x="5424040" y="2059001"/>
            <a:ext cx="2008928" cy="1938309"/>
          </a:xfrm>
          <a:prstGeom prst="line">
            <a:avLst/>
          </a:prstGeom>
          <a:noFill/>
          <a:ln w="12700" cap="flat" cmpd="sng" algn="ctr">
            <a:solidFill>
              <a:srgbClr val="EAEAEA">
                <a:lumMod val="75000"/>
              </a:srgbClr>
            </a:solidFill>
            <a:prstDash val="solid"/>
            <a:headEnd type="none"/>
            <a:tailEnd type="none"/>
          </a:ln>
          <a:effectLst/>
        </p:spPr>
      </p:cxnSp>
      <p:grpSp>
        <p:nvGrpSpPr>
          <p:cNvPr id="19" name="Group 18">
            <a:extLst>
              <a:ext uri="{FF2B5EF4-FFF2-40B4-BE49-F238E27FC236}">
                <a16:creationId xmlns:a16="http://schemas.microsoft.com/office/drawing/2014/main" id="{6DC492E1-D228-43C8-8542-9ECF7E2A044B}"/>
              </a:ext>
            </a:extLst>
          </p:cNvPr>
          <p:cNvGrpSpPr/>
          <p:nvPr/>
        </p:nvGrpSpPr>
        <p:grpSpPr>
          <a:xfrm>
            <a:off x="4326253" y="302589"/>
            <a:ext cx="6055601" cy="3767046"/>
            <a:chOff x="2485631" y="202022"/>
            <a:chExt cx="8236037" cy="5123444"/>
          </a:xfrm>
        </p:grpSpPr>
        <p:grpSp>
          <p:nvGrpSpPr>
            <p:cNvPr id="20" name="Group 19">
              <a:extLst>
                <a:ext uri="{FF2B5EF4-FFF2-40B4-BE49-F238E27FC236}">
                  <a16:creationId xmlns:a16="http://schemas.microsoft.com/office/drawing/2014/main" id="{99A32BF9-14AF-4D8D-9D94-5B72C46F0117}"/>
                </a:ext>
              </a:extLst>
            </p:cNvPr>
            <p:cNvGrpSpPr/>
            <p:nvPr/>
          </p:nvGrpSpPr>
          <p:grpSpPr>
            <a:xfrm>
              <a:off x="2731352" y="250245"/>
              <a:ext cx="7990316" cy="4927617"/>
              <a:chOff x="2158810" y="1082278"/>
              <a:chExt cx="8150536" cy="5026425"/>
            </a:xfrm>
          </p:grpSpPr>
          <p:cxnSp>
            <p:nvCxnSpPr>
              <p:cNvPr id="153" name="Straight Connector 152">
                <a:extLst>
                  <a:ext uri="{FF2B5EF4-FFF2-40B4-BE49-F238E27FC236}">
                    <a16:creationId xmlns:a16="http://schemas.microsoft.com/office/drawing/2014/main" id="{97E62537-2120-43F1-8C5A-7C00A57D5D8E}"/>
                  </a:ext>
                </a:extLst>
              </p:cNvPr>
              <p:cNvCxnSpPr>
                <a:cxnSpLocks/>
                <a:endCxn id="176" idx="2"/>
              </p:cNvCxnSpPr>
              <p:nvPr/>
            </p:nvCxnSpPr>
            <p:spPr>
              <a:xfrm>
                <a:off x="3093834" y="2825702"/>
                <a:ext cx="3115258" cy="634984"/>
              </a:xfrm>
              <a:prstGeom prst="line">
                <a:avLst/>
              </a:prstGeom>
              <a:noFill/>
              <a:ln w="6350" cap="flat" cmpd="sng" algn="ctr">
                <a:solidFill>
                  <a:srgbClr val="EAEAEA">
                    <a:lumMod val="75000"/>
                  </a:srgbClr>
                </a:solidFill>
                <a:prstDash val="solid"/>
                <a:headEnd type="none"/>
                <a:tailEnd type="none"/>
              </a:ln>
              <a:effectLst/>
            </p:spPr>
          </p:cxnSp>
          <p:cxnSp>
            <p:nvCxnSpPr>
              <p:cNvPr id="154" name="Straight Connector 153">
                <a:extLst>
                  <a:ext uri="{FF2B5EF4-FFF2-40B4-BE49-F238E27FC236}">
                    <a16:creationId xmlns:a16="http://schemas.microsoft.com/office/drawing/2014/main" id="{C2262A55-B5AB-4A64-B301-A3D8D4149035}"/>
                  </a:ext>
                </a:extLst>
              </p:cNvPr>
              <p:cNvCxnSpPr>
                <a:cxnSpLocks/>
                <a:stCxn id="136" idx="22"/>
                <a:endCxn id="176" idx="1"/>
              </p:cNvCxnSpPr>
              <p:nvPr/>
            </p:nvCxnSpPr>
            <p:spPr>
              <a:xfrm>
                <a:off x="2904243" y="2174179"/>
                <a:ext cx="3307527" cy="1280040"/>
              </a:xfrm>
              <a:prstGeom prst="line">
                <a:avLst/>
              </a:prstGeom>
              <a:noFill/>
              <a:ln w="6350" cap="flat" cmpd="sng" algn="ctr">
                <a:solidFill>
                  <a:srgbClr val="EAEAEA">
                    <a:lumMod val="75000"/>
                  </a:srgbClr>
                </a:solidFill>
                <a:prstDash val="solid"/>
                <a:headEnd type="none"/>
                <a:tailEnd type="none"/>
              </a:ln>
              <a:effectLst/>
            </p:spPr>
          </p:cxnSp>
          <p:cxnSp>
            <p:nvCxnSpPr>
              <p:cNvPr id="155" name="Straight Connector 154">
                <a:extLst>
                  <a:ext uri="{FF2B5EF4-FFF2-40B4-BE49-F238E27FC236}">
                    <a16:creationId xmlns:a16="http://schemas.microsoft.com/office/drawing/2014/main" id="{C75E1302-8CCE-4753-A286-85F023A2DC23}"/>
                  </a:ext>
                </a:extLst>
              </p:cNvPr>
              <p:cNvCxnSpPr>
                <a:cxnSpLocks/>
                <a:endCxn id="176" idx="1"/>
              </p:cNvCxnSpPr>
              <p:nvPr/>
            </p:nvCxnSpPr>
            <p:spPr>
              <a:xfrm>
                <a:off x="3819167" y="2148495"/>
                <a:ext cx="2392604" cy="1305724"/>
              </a:xfrm>
              <a:prstGeom prst="line">
                <a:avLst/>
              </a:prstGeom>
              <a:noFill/>
              <a:ln w="6350" cap="flat" cmpd="sng" algn="ctr">
                <a:solidFill>
                  <a:srgbClr val="EAEAEA">
                    <a:lumMod val="75000"/>
                  </a:srgbClr>
                </a:solidFill>
                <a:prstDash val="solid"/>
                <a:headEnd type="none"/>
                <a:tailEnd type="none"/>
              </a:ln>
              <a:effectLst/>
            </p:spPr>
          </p:cxnSp>
          <p:cxnSp>
            <p:nvCxnSpPr>
              <p:cNvPr id="156" name="Straight Connector 155">
                <a:extLst>
                  <a:ext uri="{FF2B5EF4-FFF2-40B4-BE49-F238E27FC236}">
                    <a16:creationId xmlns:a16="http://schemas.microsoft.com/office/drawing/2014/main" id="{C8ED88D0-EDE6-4EA2-BF48-9F4D333F9E18}"/>
                  </a:ext>
                </a:extLst>
              </p:cNvPr>
              <p:cNvCxnSpPr>
                <a:cxnSpLocks/>
                <a:stCxn id="102" idx="18"/>
                <a:endCxn id="176" idx="1"/>
              </p:cNvCxnSpPr>
              <p:nvPr/>
            </p:nvCxnSpPr>
            <p:spPr>
              <a:xfrm>
                <a:off x="4145242" y="1650019"/>
                <a:ext cx="2066528" cy="1804199"/>
              </a:xfrm>
              <a:prstGeom prst="line">
                <a:avLst/>
              </a:prstGeom>
              <a:noFill/>
              <a:ln w="6350" cap="flat" cmpd="sng" algn="ctr">
                <a:solidFill>
                  <a:srgbClr val="EAEAEA">
                    <a:lumMod val="75000"/>
                  </a:srgbClr>
                </a:solidFill>
                <a:prstDash val="solid"/>
                <a:headEnd type="none"/>
                <a:tailEnd type="none"/>
              </a:ln>
              <a:effectLst/>
            </p:spPr>
          </p:cxnSp>
          <p:cxnSp>
            <p:nvCxnSpPr>
              <p:cNvPr id="157" name="Straight Connector 156">
                <a:extLst>
                  <a:ext uri="{FF2B5EF4-FFF2-40B4-BE49-F238E27FC236}">
                    <a16:creationId xmlns:a16="http://schemas.microsoft.com/office/drawing/2014/main" id="{4F082ECD-3466-4686-9B93-579169E87951}"/>
                  </a:ext>
                </a:extLst>
              </p:cNvPr>
              <p:cNvCxnSpPr>
                <a:cxnSpLocks/>
                <a:stCxn id="116" idx="6"/>
                <a:endCxn id="176" idx="5"/>
              </p:cNvCxnSpPr>
              <p:nvPr/>
            </p:nvCxnSpPr>
            <p:spPr>
              <a:xfrm>
                <a:off x="2910548" y="3458821"/>
                <a:ext cx="3314154" cy="8330"/>
              </a:xfrm>
              <a:prstGeom prst="line">
                <a:avLst/>
              </a:prstGeom>
              <a:noFill/>
              <a:ln w="6350" cap="flat" cmpd="sng" algn="ctr">
                <a:solidFill>
                  <a:srgbClr val="EAEAEA">
                    <a:lumMod val="75000"/>
                  </a:srgbClr>
                </a:solidFill>
                <a:prstDash val="solid"/>
                <a:headEnd type="none"/>
                <a:tailEnd type="none"/>
              </a:ln>
              <a:effectLst/>
            </p:spPr>
          </p:cxnSp>
          <p:cxnSp>
            <p:nvCxnSpPr>
              <p:cNvPr id="158" name="Straight Connector 157">
                <a:extLst>
                  <a:ext uri="{FF2B5EF4-FFF2-40B4-BE49-F238E27FC236}">
                    <a16:creationId xmlns:a16="http://schemas.microsoft.com/office/drawing/2014/main" id="{C56BA71A-04A6-4975-B0B5-F6421FCFFBA9}"/>
                  </a:ext>
                </a:extLst>
              </p:cNvPr>
              <p:cNvCxnSpPr>
                <a:cxnSpLocks/>
                <a:endCxn id="176" idx="3"/>
              </p:cNvCxnSpPr>
              <p:nvPr/>
            </p:nvCxnSpPr>
            <p:spPr>
              <a:xfrm flipV="1">
                <a:off x="2158810" y="3467151"/>
                <a:ext cx="4052961" cy="592650"/>
              </a:xfrm>
              <a:prstGeom prst="line">
                <a:avLst/>
              </a:prstGeom>
              <a:noFill/>
              <a:ln w="6350" cap="flat" cmpd="sng" algn="ctr">
                <a:solidFill>
                  <a:srgbClr val="EAEAEA">
                    <a:lumMod val="75000"/>
                  </a:srgbClr>
                </a:solidFill>
                <a:prstDash val="solid"/>
                <a:headEnd type="none"/>
                <a:tailEnd type="none"/>
              </a:ln>
              <a:effectLst/>
            </p:spPr>
          </p:cxnSp>
          <p:cxnSp>
            <p:nvCxnSpPr>
              <p:cNvPr id="159" name="Straight Connector 158">
                <a:extLst>
                  <a:ext uri="{FF2B5EF4-FFF2-40B4-BE49-F238E27FC236}">
                    <a16:creationId xmlns:a16="http://schemas.microsoft.com/office/drawing/2014/main" id="{4C362B5E-E545-4CD2-BD19-3B14151C364A}"/>
                  </a:ext>
                </a:extLst>
              </p:cNvPr>
              <p:cNvCxnSpPr>
                <a:cxnSpLocks/>
                <a:endCxn id="176" idx="3"/>
              </p:cNvCxnSpPr>
              <p:nvPr/>
            </p:nvCxnSpPr>
            <p:spPr>
              <a:xfrm flipV="1">
                <a:off x="3124773" y="3467151"/>
                <a:ext cx="3086997" cy="905471"/>
              </a:xfrm>
              <a:prstGeom prst="line">
                <a:avLst/>
              </a:prstGeom>
              <a:noFill/>
              <a:ln w="6350" cap="flat" cmpd="sng" algn="ctr">
                <a:solidFill>
                  <a:srgbClr val="EAEAEA">
                    <a:lumMod val="75000"/>
                  </a:srgbClr>
                </a:solidFill>
                <a:prstDash val="solid"/>
                <a:headEnd type="none"/>
                <a:tailEnd type="none"/>
              </a:ln>
              <a:effectLst/>
            </p:spPr>
          </p:cxnSp>
          <p:cxnSp>
            <p:nvCxnSpPr>
              <p:cNvPr id="160" name="Straight Connector 159">
                <a:extLst>
                  <a:ext uri="{FF2B5EF4-FFF2-40B4-BE49-F238E27FC236}">
                    <a16:creationId xmlns:a16="http://schemas.microsoft.com/office/drawing/2014/main" id="{FC479CA3-6FBE-49AE-ACA2-16AADF2C7A10}"/>
                  </a:ext>
                </a:extLst>
              </p:cNvPr>
              <p:cNvCxnSpPr>
                <a:cxnSpLocks/>
                <a:endCxn id="176" idx="3"/>
              </p:cNvCxnSpPr>
              <p:nvPr/>
            </p:nvCxnSpPr>
            <p:spPr>
              <a:xfrm flipV="1">
                <a:off x="2681324" y="3467151"/>
                <a:ext cx="3530447" cy="1517362"/>
              </a:xfrm>
              <a:prstGeom prst="line">
                <a:avLst/>
              </a:prstGeom>
              <a:noFill/>
              <a:ln w="6350" cap="flat" cmpd="sng" algn="ctr">
                <a:solidFill>
                  <a:srgbClr val="EAEAEA">
                    <a:lumMod val="75000"/>
                  </a:srgbClr>
                </a:solidFill>
                <a:prstDash val="solid"/>
                <a:headEnd type="none"/>
                <a:tailEnd type="none"/>
              </a:ln>
              <a:effectLst/>
            </p:spPr>
          </p:cxnSp>
          <p:cxnSp>
            <p:nvCxnSpPr>
              <p:cNvPr id="161" name="Straight Connector 160">
                <a:extLst>
                  <a:ext uri="{FF2B5EF4-FFF2-40B4-BE49-F238E27FC236}">
                    <a16:creationId xmlns:a16="http://schemas.microsoft.com/office/drawing/2014/main" id="{518C8B92-B9A9-4FFC-9DB4-A8747213B60A}"/>
                  </a:ext>
                </a:extLst>
              </p:cNvPr>
              <p:cNvCxnSpPr>
                <a:cxnSpLocks/>
                <a:endCxn id="176" idx="7"/>
              </p:cNvCxnSpPr>
              <p:nvPr/>
            </p:nvCxnSpPr>
            <p:spPr>
              <a:xfrm flipH="1">
                <a:off x="6224702" y="2811951"/>
                <a:ext cx="3115241" cy="642268"/>
              </a:xfrm>
              <a:prstGeom prst="line">
                <a:avLst/>
              </a:prstGeom>
              <a:noFill/>
              <a:ln w="6350" cap="flat" cmpd="sng" algn="ctr">
                <a:solidFill>
                  <a:srgbClr val="EAEAEA">
                    <a:lumMod val="75000"/>
                  </a:srgbClr>
                </a:solidFill>
                <a:prstDash val="solid"/>
                <a:headEnd type="none"/>
                <a:tailEnd type="none"/>
              </a:ln>
              <a:effectLst/>
            </p:spPr>
          </p:cxnSp>
          <p:cxnSp>
            <p:nvCxnSpPr>
              <p:cNvPr id="162" name="Straight Connector 161">
                <a:extLst>
                  <a:ext uri="{FF2B5EF4-FFF2-40B4-BE49-F238E27FC236}">
                    <a16:creationId xmlns:a16="http://schemas.microsoft.com/office/drawing/2014/main" id="{E70DB654-1298-4328-A851-5410F6C02D0C}"/>
                  </a:ext>
                </a:extLst>
              </p:cNvPr>
              <p:cNvCxnSpPr>
                <a:cxnSpLocks/>
                <a:endCxn id="176" idx="6"/>
              </p:cNvCxnSpPr>
              <p:nvPr/>
            </p:nvCxnSpPr>
            <p:spPr>
              <a:xfrm flipH="1">
                <a:off x="6227381" y="2189746"/>
                <a:ext cx="3470072" cy="1270939"/>
              </a:xfrm>
              <a:prstGeom prst="line">
                <a:avLst/>
              </a:prstGeom>
              <a:noFill/>
              <a:ln w="6350" cap="flat" cmpd="sng" algn="ctr">
                <a:solidFill>
                  <a:srgbClr val="EAEAEA">
                    <a:lumMod val="75000"/>
                  </a:srgbClr>
                </a:solidFill>
                <a:prstDash val="solid"/>
                <a:headEnd type="none"/>
                <a:tailEnd type="none"/>
              </a:ln>
              <a:effectLst/>
            </p:spPr>
          </p:cxnSp>
          <p:cxnSp>
            <p:nvCxnSpPr>
              <p:cNvPr id="163" name="Straight Connector 162">
                <a:extLst>
                  <a:ext uri="{FF2B5EF4-FFF2-40B4-BE49-F238E27FC236}">
                    <a16:creationId xmlns:a16="http://schemas.microsoft.com/office/drawing/2014/main" id="{4998ECDE-F72F-42B9-9B80-A1B3312D9C38}"/>
                  </a:ext>
                </a:extLst>
              </p:cNvPr>
              <p:cNvCxnSpPr>
                <a:cxnSpLocks/>
                <a:endCxn id="176" idx="7"/>
              </p:cNvCxnSpPr>
              <p:nvPr/>
            </p:nvCxnSpPr>
            <p:spPr>
              <a:xfrm flipH="1">
                <a:off x="6224702" y="2162788"/>
                <a:ext cx="2434164" cy="1291431"/>
              </a:xfrm>
              <a:prstGeom prst="line">
                <a:avLst/>
              </a:prstGeom>
              <a:noFill/>
              <a:ln w="6350" cap="flat" cmpd="sng" algn="ctr">
                <a:solidFill>
                  <a:srgbClr val="EAEAEA">
                    <a:lumMod val="75000"/>
                  </a:srgbClr>
                </a:solidFill>
                <a:prstDash val="solid"/>
                <a:headEnd type="none"/>
                <a:tailEnd type="none"/>
              </a:ln>
              <a:effectLst/>
            </p:spPr>
          </p:cxnSp>
          <p:cxnSp>
            <p:nvCxnSpPr>
              <p:cNvPr id="164" name="Straight Connector 163">
                <a:extLst>
                  <a:ext uri="{FF2B5EF4-FFF2-40B4-BE49-F238E27FC236}">
                    <a16:creationId xmlns:a16="http://schemas.microsoft.com/office/drawing/2014/main" id="{825735A3-2413-4D0F-9E2E-6A97EEDC3163}"/>
                  </a:ext>
                </a:extLst>
              </p:cNvPr>
              <p:cNvCxnSpPr>
                <a:cxnSpLocks/>
                <a:endCxn id="176" idx="7"/>
              </p:cNvCxnSpPr>
              <p:nvPr/>
            </p:nvCxnSpPr>
            <p:spPr>
              <a:xfrm flipH="1">
                <a:off x="6224702" y="1522854"/>
                <a:ext cx="2352096" cy="1931365"/>
              </a:xfrm>
              <a:prstGeom prst="line">
                <a:avLst/>
              </a:prstGeom>
              <a:noFill/>
              <a:ln w="6350" cap="flat" cmpd="sng" algn="ctr">
                <a:solidFill>
                  <a:srgbClr val="EAEAEA">
                    <a:lumMod val="75000"/>
                  </a:srgbClr>
                </a:solidFill>
                <a:prstDash val="solid"/>
                <a:headEnd type="none"/>
                <a:tailEnd type="none"/>
              </a:ln>
              <a:effectLst/>
            </p:spPr>
          </p:cxnSp>
          <p:cxnSp>
            <p:nvCxnSpPr>
              <p:cNvPr id="165" name="Straight Connector 164">
                <a:extLst>
                  <a:ext uri="{FF2B5EF4-FFF2-40B4-BE49-F238E27FC236}">
                    <a16:creationId xmlns:a16="http://schemas.microsoft.com/office/drawing/2014/main" id="{48D3934D-AC55-4F9E-A2C7-172D1D60F755}"/>
                  </a:ext>
                </a:extLst>
              </p:cNvPr>
              <p:cNvCxnSpPr>
                <a:cxnSpLocks/>
                <a:endCxn id="176" idx="6"/>
              </p:cNvCxnSpPr>
              <p:nvPr/>
            </p:nvCxnSpPr>
            <p:spPr>
              <a:xfrm flipH="1">
                <a:off x="6227381" y="3111022"/>
                <a:ext cx="4081965" cy="349663"/>
              </a:xfrm>
              <a:prstGeom prst="line">
                <a:avLst/>
              </a:prstGeom>
              <a:noFill/>
              <a:ln w="6350" cap="flat" cmpd="sng" algn="ctr">
                <a:solidFill>
                  <a:srgbClr val="EAEAEA">
                    <a:lumMod val="75000"/>
                  </a:srgbClr>
                </a:solidFill>
                <a:prstDash val="solid"/>
                <a:headEnd type="none"/>
                <a:tailEnd type="none"/>
              </a:ln>
              <a:effectLst/>
            </p:spPr>
          </p:cxnSp>
          <p:cxnSp>
            <p:nvCxnSpPr>
              <p:cNvPr id="166" name="Straight Connector 165">
                <a:extLst>
                  <a:ext uri="{FF2B5EF4-FFF2-40B4-BE49-F238E27FC236}">
                    <a16:creationId xmlns:a16="http://schemas.microsoft.com/office/drawing/2014/main" id="{BCB775A5-1EDE-4A25-9196-7179673D6AB6}"/>
                  </a:ext>
                </a:extLst>
              </p:cNvPr>
              <p:cNvCxnSpPr>
                <a:cxnSpLocks/>
                <a:endCxn id="176" idx="6"/>
              </p:cNvCxnSpPr>
              <p:nvPr/>
            </p:nvCxnSpPr>
            <p:spPr>
              <a:xfrm flipH="1" flipV="1">
                <a:off x="6227381" y="3460685"/>
                <a:ext cx="3384133" cy="128164"/>
              </a:xfrm>
              <a:prstGeom prst="line">
                <a:avLst/>
              </a:prstGeom>
              <a:noFill/>
              <a:ln w="6350" cap="flat" cmpd="sng" algn="ctr">
                <a:solidFill>
                  <a:srgbClr val="EAEAEA">
                    <a:lumMod val="75000"/>
                  </a:srgbClr>
                </a:solidFill>
                <a:prstDash val="solid"/>
                <a:headEnd type="none"/>
                <a:tailEnd type="none"/>
              </a:ln>
              <a:effectLst/>
            </p:spPr>
          </p:cxnSp>
          <p:cxnSp>
            <p:nvCxnSpPr>
              <p:cNvPr id="167" name="Straight Connector 166">
                <a:extLst>
                  <a:ext uri="{FF2B5EF4-FFF2-40B4-BE49-F238E27FC236}">
                    <a16:creationId xmlns:a16="http://schemas.microsoft.com/office/drawing/2014/main" id="{7B5E10EF-CFA3-4964-9A08-BA8D3F944777}"/>
                  </a:ext>
                </a:extLst>
              </p:cNvPr>
              <p:cNvCxnSpPr>
                <a:cxnSpLocks/>
                <a:endCxn id="176" idx="6"/>
              </p:cNvCxnSpPr>
              <p:nvPr/>
            </p:nvCxnSpPr>
            <p:spPr>
              <a:xfrm flipH="1" flipV="1">
                <a:off x="6227381" y="3460685"/>
                <a:ext cx="4075088" cy="636928"/>
              </a:xfrm>
              <a:prstGeom prst="line">
                <a:avLst/>
              </a:prstGeom>
              <a:noFill/>
              <a:ln w="6350" cap="flat" cmpd="sng" algn="ctr">
                <a:solidFill>
                  <a:srgbClr val="EAEAEA">
                    <a:lumMod val="75000"/>
                  </a:srgbClr>
                </a:solidFill>
                <a:prstDash val="solid"/>
                <a:headEnd type="none"/>
                <a:tailEnd type="none"/>
              </a:ln>
              <a:effectLst/>
            </p:spPr>
          </p:cxnSp>
          <p:cxnSp>
            <p:nvCxnSpPr>
              <p:cNvPr id="168" name="Straight Connector 167">
                <a:extLst>
                  <a:ext uri="{FF2B5EF4-FFF2-40B4-BE49-F238E27FC236}">
                    <a16:creationId xmlns:a16="http://schemas.microsoft.com/office/drawing/2014/main" id="{54016D66-493E-4DCF-A1A0-4EFE6C94ECD7}"/>
                  </a:ext>
                </a:extLst>
              </p:cNvPr>
              <p:cNvCxnSpPr>
                <a:cxnSpLocks/>
                <a:endCxn id="176" idx="5"/>
              </p:cNvCxnSpPr>
              <p:nvPr/>
            </p:nvCxnSpPr>
            <p:spPr>
              <a:xfrm flipH="1" flipV="1">
                <a:off x="6224702" y="3467151"/>
                <a:ext cx="3128559" cy="919765"/>
              </a:xfrm>
              <a:prstGeom prst="line">
                <a:avLst/>
              </a:prstGeom>
              <a:noFill/>
              <a:ln w="6350" cap="flat" cmpd="sng" algn="ctr">
                <a:solidFill>
                  <a:srgbClr val="EAEAEA">
                    <a:lumMod val="75000"/>
                  </a:srgbClr>
                </a:solidFill>
                <a:prstDash val="solid"/>
                <a:headEnd type="none"/>
                <a:tailEnd type="none"/>
              </a:ln>
              <a:effectLst/>
            </p:spPr>
          </p:cxnSp>
          <p:cxnSp>
            <p:nvCxnSpPr>
              <p:cNvPr id="169" name="Straight Connector 168">
                <a:extLst>
                  <a:ext uri="{FF2B5EF4-FFF2-40B4-BE49-F238E27FC236}">
                    <a16:creationId xmlns:a16="http://schemas.microsoft.com/office/drawing/2014/main" id="{DF236685-E7A1-45A2-B004-4E410C8A4D6D}"/>
                  </a:ext>
                </a:extLst>
              </p:cNvPr>
              <p:cNvCxnSpPr>
                <a:cxnSpLocks/>
                <a:endCxn id="176" idx="6"/>
              </p:cNvCxnSpPr>
              <p:nvPr/>
            </p:nvCxnSpPr>
            <p:spPr>
              <a:xfrm flipH="1" flipV="1">
                <a:off x="6227381" y="3460685"/>
                <a:ext cx="3401321" cy="1592579"/>
              </a:xfrm>
              <a:prstGeom prst="line">
                <a:avLst/>
              </a:prstGeom>
              <a:noFill/>
              <a:ln w="6350" cap="flat" cmpd="sng" algn="ctr">
                <a:solidFill>
                  <a:srgbClr val="EAEAEA">
                    <a:lumMod val="75000"/>
                  </a:srgbClr>
                </a:solidFill>
                <a:prstDash val="solid"/>
                <a:headEnd type="none"/>
                <a:tailEnd type="none"/>
              </a:ln>
              <a:effectLst/>
            </p:spPr>
          </p:cxnSp>
          <p:cxnSp>
            <p:nvCxnSpPr>
              <p:cNvPr id="170" name="Straight Connector 169">
                <a:extLst>
                  <a:ext uri="{FF2B5EF4-FFF2-40B4-BE49-F238E27FC236}">
                    <a16:creationId xmlns:a16="http://schemas.microsoft.com/office/drawing/2014/main" id="{E443E120-5600-4D9A-8C10-73612640B9D5}"/>
                  </a:ext>
                </a:extLst>
              </p:cNvPr>
              <p:cNvCxnSpPr>
                <a:cxnSpLocks/>
                <a:endCxn id="176" idx="4"/>
              </p:cNvCxnSpPr>
              <p:nvPr/>
            </p:nvCxnSpPr>
            <p:spPr>
              <a:xfrm flipV="1">
                <a:off x="5358470" y="3469830"/>
                <a:ext cx="859767" cy="2582063"/>
              </a:xfrm>
              <a:prstGeom prst="line">
                <a:avLst/>
              </a:prstGeom>
              <a:noFill/>
              <a:ln w="6350" cap="flat" cmpd="sng" algn="ctr">
                <a:solidFill>
                  <a:srgbClr val="EAEAEA">
                    <a:lumMod val="75000"/>
                  </a:srgbClr>
                </a:solidFill>
                <a:prstDash val="solid"/>
                <a:headEnd type="none"/>
                <a:tailEnd type="none"/>
              </a:ln>
              <a:effectLst/>
            </p:spPr>
          </p:cxnSp>
          <p:cxnSp>
            <p:nvCxnSpPr>
              <p:cNvPr id="171" name="Straight Connector 170">
                <a:extLst>
                  <a:ext uri="{FF2B5EF4-FFF2-40B4-BE49-F238E27FC236}">
                    <a16:creationId xmlns:a16="http://schemas.microsoft.com/office/drawing/2014/main" id="{B32192C6-52B5-4C75-B6A0-F022B4E8A4FC}"/>
                  </a:ext>
                </a:extLst>
              </p:cNvPr>
              <p:cNvCxnSpPr>
                <a:cxnSpLocks/>
                <a:endCxn id="176" idx="4"/>
              </p:cNvCxnSpPr>
              <p:nvPr/>
            </p:nvCxnSpPr>
            <p:spPr>
              <a:xfrm flipV="1">
                <a:off x="6153391" y="3469830"/>
                <a:ext cx="64846" cy="2183438"/>
              </a:xfrm>
              <a:prstGeom prst="line">
                <a:avLst/>
              </a:prstGeom>
              <a:noFill/>
              <a:ln w="6350" cap="flat" cmpd="sng" algn="ctr">
                <a:solidFill>
                  <a:srgbClr val="EAEAEA">
                    <a:lumMod val="75000"/>
                  </a:srgbClr>
                </a:solidFill>
                <a:prstDash val="solid"/>
                <a:headEnd type="none"/>
                <a:tailEnd type="none"/>
              </a:ln>
              <a:effectLst/>
            </p:spPr>
          </p:cxnSp>
          <p:cxnSp>
            <p:nvCxnSpPr>
              <p:cNvPr id="172" name="Straight Connector 171">
                <a:extLst>
                  <a:ext uri="{FF2B5EF4-FFF2-40B4-BE49-F238E27FC236}">
                    <a16:creationId xmlns:a16="http://schemas.microsoft.com/office/drawing/2014/main" id="{8CC3B9F8-2B5B-4900-9DF7-05FA7CA27972}"/>
                  </a:ext>
                </a:extLst>
              </p:cNvPr>
              <p:cNvCxnSpPr>
                <a:cxnSpLocks/>
                <a:endCxn id="176" idx="5"/>
              </p:cNvCxnSpPr>
              <p:nvPr/>
            </p:nvCxnSpPr>
            <p:spPr>
              <a:xfrm flipH="1" flipV="1">
                <a:off x="6224702" y="3467151"/>
                <a:ext cx="1271474" cy="1965276"/>
              </a:xfrm>
              <a:prstGeom prst="line">
                <a:avLst/>
              </a:prstGeom>
              <a:noFill/>
              <a:ln w="6350" cap="flat" cmpd="sng" algn="ctr">
                <a:solidFill>
                  <a:srgbClr val="EAEAEA">
                    <a:lumMod val="75000"/>
                  </a:srgbClr>
                </a:solidFill>
                <a:prstDash val="solid"/>
                <a:headEnd type="none"/>
                <a:tailEnd type="none"/>
              </a:ln>
              <a:effectLst/>
            </p:spPr>
          </p:cxnSp>
          <p:cxnSp>
            <p:nvCxnSpPr>
              <p:cNvPr id="173" name="Straight Connector 172">
                <a:extLst>
                  <a:ext uri="{FF2B5EF4-FFF2-40B4-BE49-F238E27FC236}">
                    <a16:creationId xmlns:a16="http://schemas.microsoft.com/office/drawing/2014/main" id="{0ED93DA6-F151-438D-B8A7-75A4182A6C79}"/>
                  </a:ext>
                </a:extLst>
              </p:cNvPr>
              <p:cNvCxnSpPr>
                <a:cxnSpLocks/>
                <a:endCxn id="176" idx="5"/>
              </p:cNvCxnSpPr>
              <p:nvPr/>
            </p:nvCxnSpPr>
            <p:spPr>
              <a:xfrm flipH="1" flipV="1">
                <a:off x="6224702" y="3467151"/>
                <a:ext cx="2281124" cy="2276425"/>
              </a:xfrm>
              <a:prstGeom prst="line">
                <a:avLst/>
              </a:prstGeom>
              <a:noFill/>
              <a:ln w="6350" cap="flat" cmpd="sng" algn="ctr">
                <a:solidFill>
                  <a:srgbClr val="EAEAEA">
                    <a:lumMod val="75000"/>
                  </a:srgbClr>
                </a:solidFill>
                <a:prstDash val="solid"/>
                <a:headEnd type="none"/>
                <a:tailEnd type="none"/>
              </a:ln>
              <a:effectLst/>
            </p:spPr>
          </p:cxnSp>
          <p:cxnSp>
            <p:nvCxnSpPr>
              <p:cNvPr id="174" name="Straight Connector 173">
                <a:extLst>
                  <a:ext uri="{FF2B5EF4-FFF2-40B4-BE49-F238E27FC236}">
                    <a16:creationId xmlns:a16="http://schemas.microsoft.com/office/drawing/2014/main" id="{CBFF3ADF-15CF-4BE7-9AFC-78B5C9BA7175}"/>
                  </a:ext>
                </a:extLst>
              </p:cNvPr>
              <p:cNvCxnSpPr>
                <a:cxnSpLocks/>
                <a:endCxn id="176" idx="5"/>
              </p:cNvCxnSpPr>
              <p:nvPr/>
            </p:nvCxnSpPr>
            <p:spPr>
              <a:xfrm flipH="1" flipV="1">
                <a:off x="6224703" y="3467151"/>
                <a:ext cx="2363676" cy="1549350"/>
              </a:xfrm>
              <a:prstGeom prst="line">
                <a:avLst/>
              </a:prstGeom>
              <a:noFill/>
              <a:ln w="6350" cap="flat" cmpd="sng" algn="ctr">
                <a:solidFill>
                  <a:srgbClr val="EAEAEA">
                    <a:lumMod val="75000"/>
                  </a:srgbClr>
                </a:solidFill>
                <a:prstDash val="solid"/>
                <a:headEnd type="none"/>
                <a:tailEnd type="none"/>
              </a:ln>
              <a:effectLst/>
            </p:spPr>
          </p:cxnSp>
          <p:cxnSp>
            <p:nvCxnSpPr>
              <p:cNvPr id="175" name="Straight Connector 174">
                <a:extLst>
                  <a:ext uri="{FF2B5EF4-FFF2-40B4-BE49-F238E27FC236}">
                    <a16:creationId xmlns:a16="http://schemas.microsoft.com/office/drawing/2014/main" id="{5D03D1D6-D215-44DB-9C92-4FFAF6C62848}"/>
                  </a:ext>
                </a:extLst>
              </p:cNvPr>
              <p:cNvCxnSpPr>
                <a:cxnSpLocks/>
                <a:endCxn id="176" idx="4"/>
              </p:cNvCxnSpPr>
              <p:nvPr/>
            </p:nvCxnSpPr>
            <p:spPr>
              <a:xfrm flipH="1" flipV="1">
                <a:off x="6218237" y="3469830"/>
                <a:ext cx="757238" cy="2638873"/>
              </a:xfrm>
              <a:prstGeom prst="line">
                <a:avLst/>
              </a:prstGeom>
              <a:noFill/>
              <a:ln w="6350" cap="flat" cmpd="sng" algn="ctr">
                <a:solidFill>
                  <a:srgbClr val="EAEAEA">
                    <a:lumMod val="75000"/>
                  </a:srgbClr>
                </a:solidFill>
                <a:prstDash val="solid"/>
                <a:headEnd type="none"/>
                <a:tailEnd type="none"/>
              </a:ln>
              <a:effectLst/>
            </p:spPr>
          </p:cxnSp>
          <p:sp useBgFill="1">
            <p:nvSpPr>
              <p:cNvPr id="176" name="Oval 175">
                <a:extLst>
                  <a:ext uri="{FF2B5EF4-FFF2-40B4-BE49-F238E27FC236}">
                    <a16:creationId xmlns:a16="http://schemas.microsoft.com/office/drawing/2014/main" id="{FD65D209-3C59-49F2-86BF-CD420D2D4D32}"/>
                  </a:ext>
                </a:extLst>
              </p:cNvPr>
              <p:cNvSpPr/>
              <p:nvPr/>
            </p:nvSpPr>
            <p:spPr bwMode="auto">
              <a:xfrm>
                <a:off x="6209093" y="3451541"/>
                <a:ext cx="18287" cy="18287"/>
              </a:xfrm>
              <a:prstGeom prst="ellipse">
                <a:avLst/>
              </a:prstGeom>
              <a:solidFill>
                <a:srgbClr val="002050">
                  <a:shade val="80000"/>
                  <a:satMod val="180000"/>
                </a:srgbClr>
              </a:solidFill>
              <a:ln w="9525" cap="flat" cmpd="sng" algn="ctr">
                <a:solidFill>
                  <a:srgbClr val="EAEAEA">
                    <a:lumMod val="75000"/>
                  </a:srgbClr>
                </a:solid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marL="0" marR="0" lvl="0" indent="0" algn="ctr" defTabSz="672071" rtl="0" eaLnBrk="0" fontAlgn="base" latinLnBrk="0" hangingPunct="0">
                  <a:lnSpc>
                    <a:spcPct val="90000"/>
                  </a:lnSpc>
                  <a:spcBef>
                    <a:spcPct val="0"/>
                  </a:spcBef>
                  <a:spcAft>
                    <a:spcPct val="0"/>
                  </a:spcAft>
                  <a:buClrTx/>
                  <a:buSzTx/>
                  <a:buFontTx/>
                  <a:buNone/>
                  <a:tabLst/>
                  <a:defRPr/>
                </a:pPr>
                <a:endParaRPr kumimoji="0" lang="en-US" sz="173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7" name="Straight Connector 176">
                <a:extLst>
                  <a:ext uri="{FF2B5EF4-FFF2-40B4-BE49-F238E27FC236}">
                    <a16:creationId xmlns:a16="http://schemas.microsoft.com/office/drawing/2014/main" id="{03C8D1FB-9173-41D1-B859-6D0B5F6FDD55}"/>
                  </a:ext>
                </a:extLst>
              </p:cNvPr>
              <p:cNvCxnSpPr>
                <a:cxnSpLocks/>
                <a:endCxn id="176" idx="0"/>
              </p:cNvCxnSpPr>
              <p:nvPr/>
            </p:nvCxnSpPr>
            <p:spPr>
              <a:xfrm>
                <a:off x="4926996" y="1692567"/>
                <a:ext cx="1291241" cy="1758974"/>
              </a:xfrm>
              <a:prstGeom prst="line">
                <a:avLst/>
              </a:prstGeom>
              <a:noFill/>
              <a:ln w="6350" cap="flat" cmpd="sng" algn="ctr">
                <a:solidFill>
                  <a:srgbClr val="EAEAEA">
                    <a:lumMod val="75000"/>
                  </a:srgbClr>
                </a:solidFill>
                <a:prstDash val="solid"/>
                <a:headEnd type="none"/>
                <a:tailEnd type="none"/>
              </a:ln>
              <a:effectLst/>
            </p:spPr>
          </p:cxnSp>
          <p:cxnSp>
            <p:nvCxnSpPr>
              <p:cNvPr id="178" name="Straight Connector 177">
                <a:extLst>
                  <a:ext uri="{FF2B5EF4-FFF2-40B4-BE49-F238E27FC236}">
                    <a16:creationId xmlns:a16="http://schemas.microsoft.com/office/drawing/2014/main" id="{53F8928D-052D-48F3-A044-A5A9D58C4818}"/>
                  </a:ext>
                </a:extLst>
              </p:cNvPr>
              <p:cNvCxnSpPr>
                <a:cxnSpLocks/>
              </p:cNvCxnSpPr>
              <p:nvPr/>
            </p:nvCxnSpPr>
            <p:spPr>
              <a:xfrm>
                <a:off x="5478843" y="1108666"/>
                <a:ext cx="745773" cy="2344951"/>
              </a:xfrm>
              <a:prstGeom prst="line">
                <a:avLst/>
              </a:prstGeom>
              <a:noFill/>
              <a:ln w="6350" cap="flat" cmpd="sng" algn="ctr">
                <a:solidFill>
                  <a:srgbClr val="EAEAEA">
                    <a:lumMod val="75000"/>
                  </a:srgbClr>
                </a:solidFill>
                <a:prstDash val="solid"/>
                <a:headEnd type="none"/>
                <a:tailEnd type="none"/>
              </a:ln>
              <a:effectLst/>
            </p:spPr>
          </p:cxnSp>
          <p:cxnSp>
            <p:nvCxnSpPr>
              <p:cNvPr id="179" name="Straight Connector 178">
                <a:extLst>
                  <a:ext uri="{FF2B5EF4-FFF2-40B4-BE49-F238E27FC236}">
                    <a16:creationId xmlns:a16="http://schemas.microsoft.com/office/drawing/2014/main" id="{21ACAFAC-DFCD-477B-A966-E0D1899F0DB6}"/>
                  </a:ext>
                </a:extLst>
              </p:cNvPr>
              <p:cNvCxnSpPr>
                <a:cxnSpLocks/>
                <a:endCxn id="176" idx="0"/>
              </p:cNvCxnSpPr>
              <p:nvPr/>
            </p:nvCxnSpPr>
            <p:spPr>
              <a:xfrm flipH="1">
                <a:off x="6218237" y="1557338"/>
                <a:ext cx="42070" cy="1894204"/>
              </a:xfrm>
              <a:prstGeom prst="line">
                <a:avLst/>
              </a:prstGeom>
              <a:noFill/>
              <a:ln w="6350" cap="flat" cmpd="sng" algn="ctr">
                <a:solidFill>
                  <a:srgbClr val="EAEAEA">
                    <a:lumMod val="75000"/>
                  </a:srgbClr>
                </a:solidFill>
                <a:prstDash val="solid"/>
                <a:headEnd type="none"/>
                <a:tailEnd type="none"/>
              </a:ln>
              <a:effectLst/>
            </p:spPr>
          </p:cxnSp>
          <p:cxnSp>
            <p:nvCxnSpPr>
              <p:cNvPr id="180" name="Straight Connector 179">
                <a:extLst>
                  <a:ext uri="{FF2B5EF4-FFF2-40B4-BE49-F238E27FC236}">
                    <a16:creationId xmlns:a16="http://schemas.microsoft.com/office/drawing/2014/main" id="{11DC251A-CEA1-410D-B559-2F78E06F430A}"/>
                  </a:ext>
                </a:extLst>
              </p:cNvPr>
              <p:cNvCxnSpPr>
                <a:cxnSpLocks/>
                <a:endCxn id="176" idx="0"/>
              </p:cNvCxnSpPr>
              <p:nvPr/>
            </p:nvCxnSpPr>
            <p:spPr>
              <a:xfrm flipH="1">
                <a:off x="6218237" y="1082278"/>
                <a:ext cx="896938" cy="2369263"/>
              </a:xfrm>
              <a:prstGeom prst="line">
                <a:avLst/>
              </a:prstGeom>
              <a:noFill/>
              <a:ln w="6350" cap="flat" cmpd="sng" algn="ctr">
                <a:solidFill>
                  <a:srgbClr val="EAEAEA">
                    <a:lumMod val="75000"/>
                  </a:srgbClr>
                </a:solidFill>
                <a:prstDash val="solid"/>
                <a:headEnd type="none"/>
                <a:tailEnd type="none"/>
              </a:ln>
              <a:effectLst/>
            </p:spPr>
          </p:cxnSp>
          <p:cxnSp>
            <p:nvCxnSpPr>
              <p:cNvPr id="181" name="Straight Connector 180">
                <a:extLst>
                  <a:ext uri="{FF2B5EF4-FFF2-40B4-BE49-F238E27FC236}">
                    <a16:creationId xmlns:a16="http://schemas.microsoft.com/office/drawing/2014/main" id="{2D5473DA-A524-489C-A40B-43BFC232E714}"/>
                  </a:ext>
                </a:extLst>
              </p:cNvPr>
              <p:cNvCxnSpPr>
                <a:cxnSpLocks/>
                <a:endCxn id="176" idx="7"/>
              </p:cNvCxnSpPr>
              <p:nvPr/>
            </p:nvCxnSpPr>
            <p:spPr>
              <a:xfrm flipH="1">
                <a:off x="6224703" y="1716881"/>
                <a:ext cx="1303622" cy="1737339"/>
              </a:xfrm>
              <a:prstGeom prst="line">
                <a:avLst/>
              </a:prstGeom>
              <a:noFill/>
              <a:ln w="6350" cap="flat" cmpd="sng" algn="ctr">
                <a:solidFill>
                  <a:srgbClr val="EAEAEA">
                    <a:lumMod val="75000"/>
                  </a:srgbClr>
                </a:solidFill>
                <a:prstDash val="solid"/>
                <a:headEnd type="none"/>
                <a:tailEnd type="none"/>
              </a:ln>
              <a:effectLst/>
            </p:spPr>
          </p:cxnSp>
        </p:grpSp>
        <p:grpSp>
          <p:nvGrpSpPr>
            <p:cNvPr id="21" name="Group 20">
              <a:extLst>
                <a:ext uri="{FF2B5EF4-FFF2-40B4-BE49-F238E27FC236}">
                  <a16:creationId xmlns:a16="http://schemas.microsoft.com/office/drawing/2014/main" id="{747DB07D-6170-4525-A8D3-B5E2BC22805A}"/>
                </a:ext>
              </a:extLst>
            </p:cNvPr>
            <p:cNvGrpSpPr/>
            <p:nvPr/>
          </p:nvGrpSpPr>
          <p:grpSpPr>
            <a:xfrm>
              <a:off x="2485631" y="202022"/>
              <a:ext cx="6170260" cy="5123444"/>
              <a:chOff x="2485631" y="202022"/>
              <a:chExt cx="6170260" cy="5123444"/>
            </a:xfrm>
          </p:grpSpPr>
          <p:grpSp>
            <p:nvGrpSpPr>
              <p:cNvPr id="22" name="Group 21">
                <a:extLst>
                  <a:ext uri="{FF2B5EF4-FFF2-40B4-BE49-F238E27FC236}">
                    <a16:creationId xmlns:a16="http://schemas.microsoft.com/office/drawing/2014/main" id="{7E82F9F1-A933-4120-8552-024C4B026794}"/>
                  </a:ext>
                </a:extLst>
              </p:cNvPr>
              <p:cNvGrpSpPr>
                <a:grpSpLocks noChangeAspect="1"/>
              </p:cNvGrpSpPr>
              <p:nvPr/>
            </p:nvGrpSpPr>
            <p:grpSpPr>
              <a:xfrm>
                <a:off x="3015918" y="3859801"/>
                <a:ext cx="448212" cy="448210"/>
                <a:chOff x="3516708" y="1260621"/>
                <a:chExt cx="643734" cy="643732"/>
              </a:xfrm>
            </p:grpSpPr>
            <p:sp>
              <p:nvSpPr>
                <p:cNvPr id="151" name="Oval 150">
                  <a:extLst>
                    <a:ext uri="{FF2B5EF4-FFF2-40B4-BE49-F238E27FC236}">
                      <a16:creationId xmlns:a16="http://schemas.microsoft.com/office/drawing/2014/main" id="{094B25A9-80B1-4DDE-956F-18D77FE3D20E}"/>
                    </a:ext>
                  </a:extLst>
                </p:cNvPr>
                <p:cNvSpPr/>
                <p:nvPr/>
              </p:nvSpPr>
              <p:spPr bwMode="auto">
                <a:xfrm>
                  <a:off x="3516708" y="1260621"/>
                  <a:ext cx="643734" cy="643732"/>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33616" rIns="0" bIns="33616" numCol="1" spcCol="0" rtlCol="0" fromWordArt="0" anchor="ctr" anchorCtr="0" forceAA="0" compatLnSpc="1">
                  <a:prstTxWarp prst="textNoShape">
                    <a:avLst/>
                  </a:prstTxWarp>
                  <a:noAutofit/>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2" name="Freeform 5">
                  <a:extLst>
                    <a:ext uri="{FF2B5EF4-FFF2-40B4-BE49-F238E27FC236}">
                      <a16:creationId xmlns:a16="http://schemas.microsoft.com/office/drawing/2014/main" id="{9204787E-4D80-4D37-B3CB-7880B984A730}"/>
                    </a:ext>
                  </a:extLst>
                </p:cNvPr>
                <p:cNvSpPr>
                  <a:spLocks noEditPoints="1"/>
                </p:cNvSpPr>
                <p:nvPr/>
              </p:nvSpPr>
              <p:spPr bwMode="auto">
                <a:xfrm>
                  <a:off x="3684588" y="1439863"/>
                  <a:ext cx="307975" cy="26035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4A748F78-D8F5-496A-B79C-E92389B4F2CE}"/>
                  </a:ext>
                </a:extLst>
              </p:cNvPr>
              <p:cNvGrpSpPr/>
              <p:nvPr/>
            </p:nvGrpSpPr>
            <p:grpSpPr>
              <a:xfrm>
                <a:off x="7255683" y="3553842"/>
                <a:ext cx="448212" cy="448212"/>
                <a:chOff x="2597927" y="3378644"/>
                <a:chExt cx="457200" cy="457200"/>
              </a:xfrm>
            </p:grpSpPr>
            <p:sp>
              <p:nvSpPr>
                <p:cNvPr id="149" name="Oval 148">
                  <a:extLst>
                    <a:ext uri="{FF2B5EF4-FFF2-40B4-BE49-F238E27FC236}">
                      <a16:creationId xmlns:a16="http://schemas.microsoft.com/office/drawing/2014/main" id="{9736602B-8AF6-493D-B511-434A75427F27}"/>
                    </a:ext>
                  </a:extLst>
                </p:cNvPr>
                <p:cNvSpPr>
                  <a:spLocks noChangeAspect="1"/>
                </p:cNvSpPr>
                <p:nvPr/>
              </p:nvSpPr>
              <p:spPr bwMode="auto">
                <a:xfrm>
                  <a:off x="2597927" y="3378644"/>
                  <a:ext cx="457200" cy="4572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50" name="Freeform 13">
                  <a:extLst>
                    <a:ext uri="{FF2B5EF4-FFF2-40B4-BE49-F238E27FC236}">
                      <a16:creationId xmlns:a16="http://schemas.microsoft.com/office/drawing/2014/main" id="{8C24A7DB-D815-43C3-B04D-5332C9B6A2A9}"/>
                    </a:ext>
                  </a:extLst>
                </p:cNvPr>
                <p:cNvSpPr>
                  <a:spLocks noChangeAspect="1" noEditPoints="1"/>
                </p:cNvSpPr>
                <p:nvPr/>
              </p:nvSpPr>
              <p:spPr bwMode="auto">
                <a:xfrm>
                  <a:off x="2700087" y="3514640"/>
                  <a:ext cx="252880" cy="185208"/>
                </a:xfrm>
                <a:custGeom>
                  <a:avLst/>
                  <a:gdLst>
                    <a:gd name="T0" fmla="*/ 113 w 284"/>
                    <a:gd name="T1" fmla="*/ 57 h 208"/>
                    <a:gd name="T2" fmla="*/ 0 w 284"/>
                    <a:gd name="T3" fmla="*/ 57 h 208"/>
                    <a:gd name="T4" fmla="*/ 0 w 284"/>
                    <a:gd name="T5" fmla="*/ 208 h 208"/>
                    <a:gd name="T6" fmla="*/ 113 w 284"/>
                    <a:gd name="T7" fmla="*/ 208 h 208"/>
                    <a:gd name="T8" fmla="*/ 113 w 284"/>
                    <a:gd name="T9" fmla="*/ 57 h 208"/>
                    <a:gd name="T10" fmla="*/ 95 w 284"/>
                    <a:gd name="T11" fmla="*/ 189 h 208"/>
                    <a:gd name="T12" fmla="*/ 19 w 284"/>
                    <a:gd name="T13" fmla="*/ 189 h 208"/>
                    <a:gd name="T14" fmla="*/ 19 w 284"/>
                    <a:gd name="T15" fmla="*/ 76 h 208"/>
                    <a:gd name="T16" fmla="*/ 95 w 284"/>
                    <a:gd name="T17" fmla="*/ 76 h 208"/>
                    <a:gd name="T18" fmla="*/ 95 w 284"/>
                    <a:gd name="T19" fmla="*/ 189 h 208"/>
                    <a:gd name="T20" fmla="*/ 19 w 284"/>
                    <a:gd name="T21" fmla="*/ 38 h 208"/>
                    <a:gd name="T22" fmla="*/ 0 w 284"/>
                    <a:gd name="T23" fmla="*/ 38 h 208"/>
                    <a:gd name="T24" fmla="*/ 0 w 284"/>
                    <a:gd name="T25" fmla="*/ 19 h 208"/>
                    <a:gd name="T26" fmla="*/ 0 w 284"/>
                    <a:gd name="T27" fmla="*/ 10 h 208"/>
                    <a:gd name="T28" fmla="*/ 0 w 284"/>
                    <a:gd name="T29" fmla="*/ 0 h 208"/>
                    <a:gd name="T30" fmla="*/ 284 w 284"/>
                    <a:gd name="T31" fmla="*/ 0 h 208"/>
                    <a:gd name="T32" fmla="*/ 284 w 284"/>
                    <a:gd name="T33" fmla="*/ 10 h 208"/>
                    <a:gd name="T34" fmla="*/ 284 w 284"/>
                    <a:gd name="T35" fmla="*/ 19 h 208"/>
                    <a:gd name="T36" fmla="*/ 284 w 284"/>
                    <a:gd name="T37" fmla="*/ 170 h 208"/>
                    <a:gd name="T38" fmla="*/ 274 w 284"/>
                    <a:gd name="T39" fmla="*/ 170 h 208"/>
                    <a:gd name="T40" fmla="*/ 265 w 284"/>
                    <a:gd name="T41" fmla="*/ 170 h 208"/>
                    <a:gd name="T42" fmla="*/ 151 w 284"/>
                    <a:gd name="T43" fmla="*/ 170 h 208"/>
                    <a:gd name="T44" fmla="*/ 151 w 284"/>
                    <a:gd name="T45" fmla="*/ 189 h 208"/>
                    <a:gd name="T46" fmla="*/ 189 w 284"/>
                    <a:gd name="T47" fmla="*/ 189 h 208"/>
                    <a:gd name="T48" fmla="*/ 189 w 284"/>
                    <a:gd name="T49" fmla="*/ 208 h 208"/>
                    <a:gd name="T50" fmla="*/ 132 w 284"/>
                    <a:gd name="T51" fmla="*/ 208 h 208"/>
                    <a:gd name="T52" fmla="*/ 132 w 284"/>
                    <a:gd name="T53" fmla="*/ 189 h 208"/>
                    <a:gd name="T54" fmla="*/ 132 w 284"/>
                    <a:gd name="T55" fmla="*/ 170 h 208"/>
                    <a:gd name="T56" fmla="*/ 132 w 284"/>
                    <a:gd name="T57" fmla="*/ 152 h 208"/>
                    <a:gd name="T58" fmla="*/ 265 w 284"/>
                    <a:gd name="T59" fmla="*/ 152 h 208"/>
                    <a:gd name="T60" fmla="*/ 265 w 284"/>
                    <a:gd name="T61" fmla="*/ 19 h 208"/>
                    <a:gd name="T62" fmla="*/ 19 w 284"/>
                    <a:gd name="T63" fmla="*/ 19 h 208"/>
                    <a:gd name="T64" fmla="*/ 19 w 284"/>
                    <a:gd name="T65" fmla="*/ 3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4" h="208">
                      <a:moveTo>
                        <a:pt x="113" y="57"/>
                      </a:moveTo>
                      <a:lnTo>
                        <a:pt x="0" y="57"/>
                      </a:lnTo>
                      <a:lnTo>
                        <a:pt x="0" y="208"/>
                      </a:lnTo>
                      <a:lnTo>
                        <a:pt x="113" y="208"/>
                      </a:lnTo>
                      <a:lnTo>
                        <a:pt x="113" y="57"/>
                      </a:lnTo>
                      <a:close/>
                      <a:moveTo>
                        <a:pt x="95" y="189"/>
                      </a:moveTo>
                      <a:lnTo>
                        <a:pt x="19" y="189"/>
                      </a:lnTo>
                      <a:lnTo>
                        <a:pt x="19" y="76"/>
                      </a:lnTo>
                      <a:lnTo>
                        <a:pt x="95" y="76"/>
                      </a:lnTo>
                      <a:lnTo>
                        <a:pt x="95" y="189"/>
                      </a:lnTo>
                      <a:close/>
                      <a:moveTo>
                        <a:pt x="19" y="38"/>
                      </a:moveTo>
                      <a:lnTo>
                        <a:pt x="0" y="38"/>
                      </a:lnTo>
                      <a:lnTo>
                        <a:pt x="0" y="19"/>
                      </a:lnTo>
                      <a:lnTo>
                        <a:pt x="0" y="10"/>
                      </a:lnTo>
                      <a:lnTo>
                        <a:pt x="0" y="0"/>
                      </a:lnTo>
                      <a:lnTo>
                        <a:pt x="284" y="0"/>
                      </a:lnTo>
                      <a:lnTo>
                        <a:pt x="284" y="10"/>
                      </a:lnTo>
                      <a:lnTo>
                        <a:pt x="284" y="19"/>
                      </a:lnTo>
                      <a:lnTo>
                        <a:pt x="284" y="170"/>
                      </a:lnTo>
                      <a:lnTo>
                        <a:pt x="274" y="170"/>
                      </a:lnTo>
                      <a:lnTo>
                        <a:pt x="265" y="170"/>
                      </a:lnTo>
                      <a:lnTo>
                        <a:pt x="151" y="170"/>
                      </a:lnTo>
                      <a:lnTo>
                        <a:pt x="151" y="189"/>
                      </a:lnTo>
                      <a:lnTo>
                        <a:pt x="189" y="189"/>
                      </a:lnTo>
                      <a:lnTo>
                        <a:pt x="189" y="208"/>
                      </a:lnTo>
                      <a:lnTo>
                        <a:pt x="132" y="208"/>
                      </a:lnTo>
                      <a:lnTo>
                        <a:pt x="132" y="189"/>
                      </a:lnTo>
                      <a:lnTo>
                        <a:pt x="132" y="170"/>
                      </a:lnTo>
                      <a:lnTo>
                        <a:pt x="132" y="152"/>
                      </a:lnTo>
                      <a:lnTo>
                        <a:pt x="265" y="152"/>
                      </a:lnTo>
                      <a:lnTo>
                        <a:pt x="265" y="19"/>
                      </a:lnTo>
                      <a:lnTo>
                        <a:pt x="19" y="19"/>
                      </a:lnTo>
                      <a:lnTo>
                        <a:pt x="19" y="38"/>
                      </a:lnTo>
                      <a:close/>
                    </a:path>
                  </a:pathLst>
                </a:custGeom>
                <a:solidFill>
                  <a:srgbClr val="353535"/>
                </a:solidFill>
                <a:ln>
                  <a:noFill/>
                </a:ln>
              </p:spPr>
              <p:txBody>
                <a:bodyPr vert="horz" wrap="square" lIns="65910" tIns="32955" rIns="65910" bIns="32955" numCol="1" anchor="t" anchorCtr="0" compatLnSpc="1">
                  <a:prstTxWarp prst="textNoShape">
                    <a:avLst/>
                  </a:prstTxWarp>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94EBEBC2-1809-40C0-B39F-DC788EFC8A33}"/>
                  </a:ext>
                </a:extLst>
              </p:cNvPr>
              <p:cNvGrpSpPr>
                <a:grpSpLocks noChangeAspect="1"/>
              </p:cNvGrpSpPr>
              <p:nvPr/>
            </p:nvGrpSpPr>
            <p:grpSpPr>
              <a:xfrm>
                <a:off x="6544471" y="507246"/>
                <a:ext cx="407465" cy="407465"/>
                <a:chOff x="5932610" y="2325701"/>
                <a:chExt cx="914400" cy="914400"/>
              </a:xfrm>
            </p:grpSpPr>
            <p:sp>
              <p:nvSpPr>
                <p:cNvPr id="141" name="Oval 140">
                  <a:extLst>
                    <a:ext uri="{FF2B5EF4-FFF2-40B4-BE49-F238E27FC236}">
                      <a16:creationId xmlns:a16="http://schemas.microsoft.com/office/drawing/2014/main" id="{57D71116-767B-4FFC-BF65-BDB6610E2639}"/>
                    </a:ext>
                  </a:extLst>
                </p:cNvPr>
                <p:cNvSpPr>
                  <a:spLocks noChangeAspect="1"/>
                </p:cNvSpPr>
                <p:nvPr/>
              </p:nvSpPr>
              <p:spPr bwMode="auto">
                <a:xfrm>
                  <a:off x="5932610" y="2325701"/>
                  <a:ext cx="914400" cy="9144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42" name="Group 141">
                  <a:extLst>
                    <a:ext uri="{FF2B5EF4-FFF2-40B4-BE49-F238E27FC236}">
                      <a16:creationId xmlns:a16="http://schemas.microsoft.com/office/drawing/2014/main" id="{2003A300-DBFC-4326-A704-F4BB423FB875}"/>
                    </a:ext>
                  </a:extLst>
                </p:cNvPr>
                <p:cNvGrpSpPr>
                  <a:grpSpLocks noChangeAspect="1"/>
                </p:cNvGrpSpPr>
                <p:nvPr/>
              </p:nvGrpSpPr>
              <p:grpSpPr>
                <a:xfrm>
                  <a:off x="6222332" y="2484295"/>
                  <a:ext cx="334986" cy="597212"/>
                  <a:chOff x="9756147" y="5515365"/>
                  <a:chExt cx="315631" cy="562708"/>
                </a:xfrm>
              </p:grpSpPr>
              <p:grpSp>
                <p:nvGrpSpPr>
                  <p:cNvPr id="143" name="Group 142">
                    <a:extLst>
                      <a:ext uri="{FF2B5EF4-FFF2-40B4-BE49-F238E27FC236}">
                        <a16:creationId xmlns:a16="http://schemas.microsoft.com/office/drawing/2014/main" id="{08DBF1A7-B942-45F5-B9D2-6160BC2721CF}"/>
                      </a:ext>
                    </a:extLst>
                  </p:cNvPr>
                  <p:cNvGrpSpPr/>
                  <p:nvPr/>
                </p:nvGrpSpPr>
                <p:grpSpPr>
                  <a:xfrm>
                    <a:off x="9775703" y="5561872"/>
                    <a:ext cx="276492" cy="508980"/>
                    <a:chOff x="8817145" y="5862985"/>
                    <a:chExt cx="200848" cy="389795"/>
                  </a:xfrm>
                </p:grpSpPr>
                <p:sp>
                  <p:nvSpPr>
                    <p:cNvPr id="146" name="Rectangle 11">
                      <a:extLst>
                        <a:ext uri="{FF2B5EF4-FFF2-40B4-BE49-F238E27FC236}">
                          <a16:creationId xmlns:a16="http://schemas.microsoft.com/office/drawing/2014/main" id="{2E1F3ABF-7D64-4433-AE7A-521410E561FF}"/>
                        </a:ext>
                      </a:extLst>
                    </p:cNvPr>
                    <p:cNvSpPr>
                      <a:spLocks noChangeArrowheads="1"/>
                    </p:cNvSpPr>
                    <p:nvPr/>
                  </p:nvSpPr>
                  <p:spPr bwMode="auto">
                    <a:xfrm>
                      <a:off x="8817145" y="5869469"/>
                      <a:ext cx="200848" cy="383311"/>
                    </a:xfrm>
                    <a:prstGeom prst="round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153"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47" name="Rectangle 12">
                      <a:extLst>
                        <a:ext uri="{FF2B5EF4-FFF2-40B4-BE49-F238E27FC236}">
                          <a16:creationId xmlns:a16="http://schemas.microsoft.com/office/drawing/2014/main" id="{A16D44FC-946B-4B6E-84ED-C0E77D0EDA5F}"/>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153"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48" name="Freeform 17">
                      <a:extLst>
                        <a:ext uri="{FF2B5EF4-FFF2-40B4-BE49-F238E27FC236}">
                          <a16:creationId xmlns:a16="http://schemas.microsoft.com/office/drawing/2014/main" id="{BB1E538A-D2C7-443B-9DC7-45600625EBC0}"/>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153"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144" name="Freeform 464">
                    <a:extLst>
                      <a:ext uri="{FF2B5EF4-FFF2-40B4-BE49-F238E27FC236}">
                        <a16:creationId xmlns:a16="http://schemas.microsoft.com/office/drawing/2014/main" id="{630BD70F-7021-4083-AF8C-D837D6045BA9}"/>
                      </a:ext>
                    </a:extLst>
                  </p:cNvPr>
                  <p:cNvSpPr>
                    <a:spLocks noChangeAspect="1"/>
                  </p:cNvSpPr>
                  <p:nvPr/>
                </p:nvSpPr>
                <p:spPr bwMode="black">
                  <a:xfrm>
                    <a:off x="9756147" y="5515365"/>
                    <a:ext cx="315631" cy="562708"/>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marL="0" marR="0" lvl="0" indent="0" algn="ctr" defTabSz="672071" rtl="0" eaLnBrk="0" fontAlgn="base" latinLnBrk="0" hangingPunct="0">
                      <a:lnSpc>
                        <a:spcPct val="9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5" name="Picture 144">
                    <a:extLst>
                      <a:ext uri="{FF2B5EF4-FFF2-40B4-BE49-F238E27FC236}">
                        <a16:creationId xmlns:a16="http://schemas.microsoft.com/office/drawing/2014/main" id="{1EA994A9-5454-40D0-AB20-C3968504058F}"/>
                      </a:ext>
                    </a:extLst>
                  </p:cNvPr>
                  <p:cNvPicPr>
                    <a:picLocks noChangeAspect="1"/>
                  </p:cNvPicPr>
                  <p:nvPr/>
                </p:nvPicPr>
                <p:blipFill>
                  <a:blip r:embed="rId3"/>
                  <a:stretch>
                    <a:fillRect/>
                  </a:stretch>
                </p:blipFill>
                <p:spPr>
                  <a:xfrm>
                    <a:off x="9822974" y="5669889"/>
                    <a:ext cx="182012" cy="223394"/>
                  </a:xfrm>
                  <a:prstGeom prst="rect">
                    <a:avLst/>
                  </a:prstGeom>
                </p:spPr>
              </p:pic>
            </p:grpSp>
          </p:grpSp>
          <p:grpSp>
            <p:nvGrpSpPr>
              <p:cNvPr id="25" name="Group 24">
                <a:extLst>
                  <a:ext uri="{FF2B5EF4-FFF2-40B4-BE49-F238E27FC236}">
                    <a16:creationId xmlns:a16="http://schemas.microsoft.com/office/drawing/2014/main" id="{5624A0F4-403C-4EBF-88FA-2F5F66F2D483}"/>
                  </a:ext>
                </a:extLst>
              </p:cNvPr>
              <p:cNvGrpSpPr/>
              <p:nvPr/>
            </p:nvGrpSpPr>
            <p:grpSpPr>
              <a:xfrm>
                <a:off x="5215146" y="625581"/>
                <a:ext cx="448212" cy="448212"/>
                <a:chOff x="4692409" y="1465141"/>
                <a:chExt cx="457200" cy="457200"/>
              </a:xfrm>
            </p:grpSpPr>
            <p:sp>
              <p:nvSpPr>
                <p:cNvPr id="139" name="Oval 138">
                  <a:extLst>
                    <a:ext uri="{FF2B5EF4-FFF2-40B4-BE49-F238E27FC236}">
                      <a16:creationId xmlns:a16="http://schemas.microsoft.com/office/drawing/2014/main" id="{B3E1176B-7DA1-447C-98AC-176C4948C40B}"/>
                    </a:ext>
                  </a:extLst>
                </p:cNvPr>
                <p:cNvSpPr>
                  <a:spLocks noChangeAspect="1"/>
                </p:cNvSpPr>
                <p:nvPr/>
              </p:nvSpPr>
              <p:spPr bwMode="auto">
                <a:xfrm>
                  <a:off x="4692409" y="1465141"/>
                  <a:ext cx="457200" cy="4572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40" name="Freeform 6">
                  <a:extLst>
                    <a:ext uri="{FF2B5EF4-FFF2-40B4-BE49-F238E27FC236}">
                      <a16:creationId xmlns:a16="http://schemas.microsoft.com/office/drawing/2014/main" id="{40297008-1441-4B37-A1DB-7EAB80857EFB}"/>
                    </a:ext>
                  </a:extLst>
                </p:cNvPr>
                <p:cNvSpPr>
                  <a:spLocks noChangeAspect="1" noEditPoints="1"/>
                </p:cNvSpPr>
                <p:nvPr/>
              </p:nvSpPr>
              <p:spPr bwMode="auto">
                <a:xfrm>
                  <a:off x="4805118" y="1606631"/>
                  <a:ext cx="231782" cy="174220"/>
                </a:xfrm>
                <a:custGeom>
                  <a:avLst/>
                  <a:gdLst>
                    <a:gd name="T0" fmla="*/ 302 w 302"/>
                    <a:gd name="T1" fmla="*/ 208 h 227"/>
                    <a:gd name="T2" fmla="*/ 264 w 302"/>
                    <a:gd name="T3" fmla="*/ 142 h 227"/>
                    <a:gd name="T4" fmla="*/ 264 w 302"/>
                    <a:gd name="T5" fmla="*/ 0 h 227"/>
                    <a:gd name="T6" fmla="*/ 37 w 302"/>
                    <a:gd name="T7" fmla="*/ 0 h 227"/>
                    <a:gd name="T8" fmla="*/ 37 w 302"/>
                    <a:gd name="T9" fmla="*/ 142 h 227"/>
                    <a:gd name="T10" fmla="*/ 0 w 302"/>
                    <a:gd name="T11" fmla="*/ 208 h 227"/>
                    <a:gd name="T12" fmla="*/ 0 w 302"/>
                    <a:gd name="T13" fmla="*/ 227 h 227"/>
                    <a:gd name="T14" fmla="*/ 302 w 302"/>
                    <a:gd name="T15" fmla="*/ 227 h 227"/>
                    <a:gd name="T16" fmla="*/ 302 w 302"/>
                    <a:gd name="T17" fmla="*/ 208 h 227"/>
                    <a:gd name="T18" fmla="*/ 56 w 302"/>
                    <a:gd name="T19" fmla="*/ 19 h 227"/>
                    <a:gd name="T20" fmla="*/ 245 w 302"/>
                    <a:gd name="T21" fmla="*/ 19 h 227"/>
                    <a:gd name="T22" fmla="*/ 245 w 302"/>
                    <a:gd name="T23" fmla="*/ 132 h 227"/>
                    <a:gd name="T24" fmla="*/ 56 w 302"/>
                    <a:gd name="T25" fmla="*/ 132 h 227"/>
                    <a:gd name="T26" fmla="*/ 56 w 302"/>
                    <a:gd name="T27" fmla="*/ 19 h 227"/>
                    <a:gd name="T28" fmla="*/ 21 w 302"/>
                    <a:gd name="T29" fmla="*/ 208 h 227"/>
                    <a:gd name="T30" fmla="*/ 54 w 302"/>
                    <a:gd name="T31" fmla="*/ 151 h 227"/>
                    <a:gd name="T32" fmla="*/ 248 w 302"/>
                    <a:gd name="T33" fmla="*/ 151 h 227"/>
                    <a:gd name="T34" fmla="*/ 281 w 302"/>
                    <a:gd name="T35" fmla="*/ 208 h 227"/>
                    <a:gd name="T36" fmla="*/ 21 w 302"/>
                    <a:gd name="T37" fmla="*/ 20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2" h="227">
                      <a:moveTo>
                        <a:pt x="302" y="208"/>
                      </a:moveTo>
                      <a:lnTo>
                        <a:pt x="264" y="142"/>
                      </a:lnTo>
                      <a:lnTo>
                        <a:pt x="264" y="0"/>
                      </a:lnTo>
                      <a:lnTo>
                        <a:pt x="37" y="0"/>
                      </a:lnTo>
                      <a:lnTo>
                        <a:pt x="37" y="142"/>
                      </a:lnTo>
                      <a:lnTo>
                        <a:pt x="0" y="208"/>
                      </a:lnTo>
                      <a:lnTo>
                        <a:pt x="0" y="227"/>
                      </a:lnTo>
                      <a:lnTo>
                        <a:pt x="302" y="227"/>
                      </a:lnTo>
                      <a:lnTo>
                        <a:pt x="302" y="208"/>
                      </a:lnTo>
                      <a:close/>
                      <a:moveTo>
                        <a:pt x="56" y="19"/>
                      </a:moveTo>
                      <a:lnTo>
                        <a:pt x="245" y="19"/>
                      </a:lnTo>
                      <a:lnTo>
                        <a:pt x="245" y="132"/>
                      </a:lnTo>
                      <a:lnTo>
                        <a:pt x="56" y="132"/>
                      </a:lnTo>
                      <a:lnTo>
                        <a:pt x="56" y="19"/>
                      </a:lnTo>
                      <a:close/>
                      <a:moveTo>
                        <a:pt x="21" y="208"/>
                      </a:moveTo>
                      <a:lnTo>
                        <a:pt x="54" y="151"/>
                      </a:lnTo>
                      <a:lnTo>
                        <a:pt x="248" y="151"/>
                      </a:lnTo>
                      <a:lnTo>
                        <a:pt x="281" y="208"/>
                      </a:lnTo>
                      <a:lnTo>
                        <a:pt x="21" y="208"/>
                      </a:lnTo>
                      <a:close/>
                    </a:path>
                  </a:pathLst>
                </a:custGeom>
                <a:solidFill>
                  <a:srgbClr val="353535"/>
                </a:solidFill>
                <a:ln>
                  <a:noFill/>
                </a:ln>
              </p:spPr>
              <p:txBody>
                <a:bodyPr vert="horz" wrap="square" lIns="65910" tIns="32955" rIns="65910" bIns="32955" numCol="1" anchor="t" anchorCtr="0" compatLnSpc="1">
                  <a:prstTxWarp prst="textNoShape">
                    <a:avLst/>
                  </a:prstTxWarp>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D777AB08-AE3B-46AF-A4D5-F222486552EF}"/>
                  </a:ext>
                </a:extLst>
              </p:cNvPr>
              <p:cNvGrpSpPr>
                <a:grpSpLocks noChangeAspect="1"/>
              </p:cNvGrpSpPr>
              <p:nvPr/>
            </p:nvGrpSpPr>
            <p:grpSpPr>
              <a:xfrm>
                <a:off x="7775385" y="639670"/>
                <a:ext cx="448212" cy="448210"/>
                <a:chOff x="6814485" y="4172029"/>
                <a:chExt cx="640083" cy="640080"/>
              </a:xfrm>
            </p:grpSpPr>
            <p:sp>
              <p:nvSpPr>
                <p:cNvPr id="137" name="Oval 136">
                  <a:extLst>
                    <a:ext uri="{FF2B5EF4-FFF2-40B4-BE49-F238E27FC236}">
                      <a16:creationId xmlns:a16="http://schemas.microsoft.com/office/drawing/2014/main" id="{29472DDF-32A1-4951-9677-19D3D74ECCEC}"/>
                    </a:ext>
                  </a:extLst>
                </p:cNvPr>
                <p:cNvSpPr/>
                <p:nvPr/>
              </p:nvSpPr>
              <p:spPr bwMode="auto">
                <a:xfrm>
                  <a:off x="6814485" y="4172029"/>
                  <a:ext cx="640083" cy="640080"/>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33616" rIns="0" bIns="33616" numCol="1" spcCol="0" rtlCol="0" fromWordArt="0" anchor="ctr" anchorCtr="0" forceAA="0" compatLnSpc="1">
                  <a:prstTxWarp prst="textNoShape">
                    <a:avLst/>
                  </a:prstTxWarp>
                  <a:noAutofit/>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8" name="directory_2">
                  <a:extLst>
                    <a:ext uri="{FF2B5EF4-FFF2-40B4-BE49-F238E27FC236}">
                      <a16:creationId xmlns:a16="http://schemas.microsoft.com/office/drawing/2014/main" id="{5CD23749-9A11-4B26-BCCA-47CC1B5C6846}"/>
                    </a:ext>
                  </a:extLst>
                </p:cNvPr>
                <p:cNvSpPr>
                  <a:spLocks noChangeAspect="1" noEditPoints="1"/>
                </p:cNvSpPr>
                <p:nvPr/>
              </p:nvSpPr>
              <p:spPr bwMode="auto">
                <a:xfrm>
                  <a:off x="6999573" y="4356530"/>
                  <a:ext cx="269908" cy="271080"/>
                </a:xfrm>
                <a:custGeom>
                  <a:avLst/>
                  <a:gdLst>
                    <a:gd name="T0" fmla="*/ 91 w 317"/>
                    <a:gd name="T1" fmla="*/ 135 h 318"/>
                    <a:gd name="T2" fmla="*/ 126 w 317"/>
                    <a:gd name="T3" fmla="*/ 100 h 318"/>
                    <a:gd name="T4" fmla="*/ 162 w 317"/>
                    <a:gd name="T5" fmla="*/ 135 h 318"/>
                    <a:gd name="T6" fmla="*/ 126 w 317"/>
                    <a:gd name="T7" fmla="*/ 170 h 318"/>
                    <a:gd name="T8" fmla="*/ 91 w 317"/>
                    <a:gd name="T9" fmla="*/ 135 h 318"/>
                    <a:gd name="T10" fmla="*/ 190 w 317"/>
                    <a:gd name="T11" fmla="*/ 234 h 318"/>
                    <a:gd name="T12" fmla="*/ 126 w 317"/>
                    <a:gd name="T13" fmla="*/ 170 h 318"/>
                    <a:gd name="T14" fmla="*/ 63 w 317"/>
                    <a:gd name="T15" fmla="*/ 234 h 318"/>
                    <a:gd name="T16" fmla="*/ 0 w 317"/>
                    <a:gd name="T17" fmla="*/ 284 h 318"/>
                    <a:gd name="T18" fmla="*/ 34 w 317"/>
                    <a:gd name="T19" fmla="*/ 318 h 318"/>
                    <a:gd name="T20" fmla="*/ 283 w 317"/>
                    <a:gd name="T21" fmla="*/ 318 h 318"/>
                    <a:gd name="T22" fmla="*/ 317 w 317"/>
                    <a:gd name="T23" fmla="*/ 284 h 318"/>
                    <a:gd name="T24" fmla="*/ 317 w 317"/>
                    <a:gd name="T25" fmla="*/ 35 h 318"/>
                    <a:gd name="T26" fmla="*/ 283 w 317"/>
                    <a:gd name="T27" fmla="*/ 1 h 318"/>
                    <a:gd name="T28" fmla="*/ 34 w 317"/>
                    <a:gd name="T29" fmla="*/ 1 h 318"/>
                    <a:gd name="T30" fmla="*/ 0 w 317"/>
                    <a:gd name="T31" fmla="*/ 35 h 318"/>
                    <a:gd name="T32" fmla="*/ 0 w 317"/>
                    <a:gd name="T33" fmla="*/ 284 h 318"/>
                    <a:gd name="T34" fmla="*/ 239 w 317"/>
                    <a:gd name="T35" fmla="*/ 318 h 318"/>
                    <a:gd name="T36" fmla="*/ 239 w 317"/>
                    <a:gd name="T37" fmla="*/ 0 h 318"/>
                    <a:gd name="T38" fmla="*/ 239 w 317"/>
                    <a:gd name="T39" fmla="*/ 107 h 318"/>
                    <a:gd name="T40" fmla="*/ 317 w 317"/>
                    <a:gd name="T41" fmla="*/ 107 h 318"/>
                    <a:gd name="T42" fmla="*/ 239 w 317"/>
                    <a:gd name="T43" fmla="*/ 212 h 318"/>
                    <a:gd name="T44" fmla="*/ 317 w 317"/>
                    <a:gd name="T45" fmla="*/ 21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18">
                      <a:moveTo>
                        <a:pt x="91" y="135"/>
                      </a:moveTo>
                      <a:cubicBezTo>
                        <a:pt x="91" y="115"/>
                        <a:pt x="107" y="100"/>
                        <a:pt x="126" y="100"/>
                      </a:cubicBezTo>
                      <a:cubicBezTo>
                        <a:pt x="146" y="100"/>
                        <a:pt x="162" y="115"/>
                        <a:pt x="162" y="135"/>
                      </a:cubicBezTo>
                      <a:cubicBezTo>
                        <a:pt x="162" y="154"/>
                        <a:pt x="146" y="170"/>
                        <a:pt x="126" y="170"/>
                      </a:cubicBezTo>
                      <a:cubicBezTo>
                        <a:pt x="107" y="170"/>
                        <a:pt x="91" y="154"/>
                        <a:pt x="91" y="135"/>
                      </a:cubicBezTo>
                      <a:close/>
                      <a:moveTo>
                        <a:pt x="190" y="234"/>
                      </a:moveTo>
                      <a:cubicBezTo>
                        <a:pt x="190" y="198"/>
                        <a:pt x="161" y="170"/>
                        <a:pt x="126" y="170"/>
                      </a:cubicBezTo>
                      <a:cubicBezTo>
                        <a:pt x="92" y="170"/>
                        <a:pt x="63" y="198"/>
                        <a:pt x="63" y="234"/>
                      </a:cubicBezTo>
                      <a:moveTo>
                        <a:pt x="0" y="284"/>
                      </a:moveTo>
                      <a:cubicBezTo>
                        <a:pt x="0" y="303"/>
                        <a:pt x="15" y="318"/>
                        <a:pt x="34" y="318"/>
                      </a:cubicBezTo>
                      <a:cubicBezTo>
                        <a:pt x="283" y="318"/>
                        <a:pt x="283" y="318"/>
                        <a:pt x="283" y="318"/>
                      </a:cubicBezTo>
                      <a:cubicBezTo>
                        <a:pt x="301" y="318"/>
                        <a:pt x="317" y="303"/>
                        <a:pt x="317" y="284"/>
                      </a:cubicBezTo>
                      <a:cubicBezTo>
                        <a:pt x="317" y="35"/>
                        <a:pt x="317" y="35"/>
                        <a:pt x="317" y="35"/>
                      </a:cubicBezTo>
                      <a:cubicBezTo>
                        <a:pt x="317" y="16"/>
                        <a:pt x="301" y="1"/>
                        <a:pt x="283" y="1"/>
                      </a:cubicBezTo>
                      <a:cubicBezTo>
                        <a:pt x="34" y="1"/>
                        <a:pt x="34" y="1"/>
                        <a:pt x="34" y="1"/>
                      </a:cubicBezTo>
                      <a:cubicBezTo>
                        <a:pt x="15" y="1"/>
                        <a:pt x="0" y="16"/>
                        <a:pt x="0" y="35"/>
                      </a:cubicBezTo>
                      <a:lnTo>
                        <a:pt x="0" y="284"/>
                      </a:lnTo>
                      <a:close/>
                      <a:moveTo>
                        <a:pt x="239" y="318"/>
                      </a:moveTo>
                      <a:cubicBezTo>
                        <a:pt x="239" y="0"/>
                        <a:pt x="239" y="0"/>
                        <a:pt x="239" y="0"/>
                      </a:cubicBezTo>
                      <a:moveTo>
                        <a:pt x="239" y="107"/>
                      </a:moveTo>
                      <a:cubicBezTo>
                        <a:pt x="317" y="107"/>
                        <a:pt x="317" y="107"/>
                        <a:pt x="317" y="107"/>
                      </a:cubicBezTo>
                      <a:moveTo>
                        <a:pt x="239" y="212"/>
                      </a:moveTo>
                      <a:cubicBezTo>
                        <a:pt x="317" y="212"/>
                        <a:pt x="317" y="212"/>
                        <a:pt x="317" y="212"/>
                      </a:cubicBezTo>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31898628-52F6-458D-A239-DC8BCBDBDE6B}"/>
                  </a:ext>
                </a:extLst>
              </p:cNvPr>
              <p:cNvGrpSpPr>
                <a:grpSpLocks noChangeAspect="1"/>
              </p:cNvGrpSpPr>
              <p:nvPr/>
            </p:nvGrpSpPr>
            <p:grpSpPr>
              <a:xfrm>
                <a:off x="3334710" y="1149950"/>
                <a:ext cx="448212" cy="448210"/>
                <a:chOff x="2279917" y="4046934"/>
                <a:chExt cx="643734" cy="643732"/>
              </a:xfrm>
            </p:grpSpPr>
            <p:sp>
              <p:nvSpPr>
                <p:cNvPr id="135" name="Oval 134">
                  <a:extLst>
                    <a:ext uri="{FF2B5EF4-FFF2-40B4-BE49-F238E27FC236}">
                      <a16:creationId xmlns:a16="http://schemas.microsoft.com/office/drawing/2014/main" id="{DEEEEC97-4CD9-4EE2-9ECD-B9D2B943BD64}"/>
                    </a:ext>
                  </a:extLst>
                </p:cNvPr>
                <p:cNvSpPr/>
                <p:nvPr/>
              </p:nvSpPr>
              <p:spPr bwMode="auto">
                <a:xfrm>
                  <a:off x="2279917" y="4046934"/>
                  <a:ext cx="643734" cy="643732"/>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33616" rIns="0" bIns="33616" numCol="1" spcCol="0" rtlCol="0" fromWordArt="0" anchor="ctr" anchorCtr="0" forceAA="0" compatLnSpc="1">
                  <a:prstTxWarp prst="textNoShape">
                    <a:avLst/>
                  </a:prstTxWarp>
                  <a:noAutofit/>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6" name="Freeform 16">
                  <a:extLst>
                    <a:ext uri="{FF2B5EF4-FFF2-40B4-BE49-F238E27FC236}">
                      <a16:creationId xmlns:a16="http://schemas.microsoft.com/office/drawing/2014/main" id="{ADF1A22D-3AD2-414A-8241-1828E4721570}"/>
                    </a:ext>
                  </a:extLst>
                </p:cNvPr>
                <p:cNvSpPr>
                  <a:spLocks noEditPoints="1"/>
                </p:cNvSpPr>
                <p:nvPr/>
              </p:nvSpPr>
              <p:spPr bwMode="auto">
                <a:xfrm>
                  <a:off x="2462924" y="4235451"/>
                  <a:ext cx="277720" cy="26669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2C19A9BC-95B8-4B64-BBA6-37867D6DEC53}"/>
                  </a:ext>
                </a:extLst>
              </p:cNvPr>
              <p:cNvGrpSpPr>
                <a:grpSpLocks noChangeAspect="1"/>
              </p:cNvGrpSpPr>
              <p:nvPr/>
            </p:nvGrpSpPr>
            <p:grpSpPr>
              <a:xfrm>
                <a:off x="4480094" y="1442452"/>
                <a:ext cx="448212" cy="448210"/>
                <a:chOff x="7467226" y="1443514"/>
                <a:chExt cx="640083" cy="640080"/>
              </a:xfrm>
            </p:grpSpPr>
            <p:sp>
              <p:nvSpPr>
                <p:cNvPr id="133" name="Oval 132">
                  <a:extLst>
                    <a:ext uri="{FF2B5EF4-FFF2-40B4-BE49-F238E27FC236}">
                      <a16:creationId xmlns:a16="http://schemas.microsoft.com/office/drawing/2014/main" id="{29D96AC9-AE45-434C-99F0-2902B1EBF5AF}"/>
                    </a:ext>
                  </a:extLst>
                </p:cNvPr>
                <p:cNvSpPr/>
                <p:nvPr/>
              </p:nvSpPr>
              <p:spPr bwMode="auto">
                <a:xfrm>
                  <a:off x="7467226" y="1443514"/>
                  <a:ext cx="640083" cy="640080"/>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33616" rIns="0" bIns="33616" numCol="1" spcCol="0" rtlCol="0" fromWordArt="0" anchor="ctr" anchorCtr="0" forceAA="0" compatLnSpc="1">
                  <a:prstTxWarp prst="textNoShape">
                    <a:avLst/>
                  </a:prstTxWarp>
                  <a:noAutofit/>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4" name="mail">
                  <a:extLst>
                    <a:ext uri="{FF2B5EF4-FFF2-40B4-BE49-F238E27FC236}">
                      <a16:creationId xmlns:a16="http://schemas.microsoft.com/office/drawing/2014/main" id="{E8453296-8361-4294-BE05-E25CE5DBCDBC}"/>
                    </a:ext>
                  </a:extLst>
                </p:cNvPr>
                <p:cNvSpPr>
                  <a:spLocks noChangeAspect="1" noEditPoints="1"/>
                </p:cNvSpPr>
                <p:nvPr/>
              </p:nvSpPr>
              <p:spPr bwMode="auto">
                <a:xfrm>
                  <a:off x="7633543" y="1671320"/>
                  <a:ext cx="307448" cy="184470"/>
                </a:xfrm>
                <a:custGeom>
                  <a:avLst/>
                  <a:gdLst>
                    <a:gd name="T0" fmla="*/ 245 w 245"/>
                    <a:gd name="T1" fmla="*/ 75 h 147"/>
                    <a:gd name="T2" fmla="*/ 245 w 245"/>
                    <a:gd name="T3" fmla="*/ 147 h 147"/>
                    <a:gd name="T4" fmla="*/ 0 w 245"/>
                    <a:gd name="T5" fmla="*/ 147 h 147"/>
                    <a:gd name="T6" fmla="*/ 0 w 245"/>
                    <a:gd name="T7" fmla="*/ 0 h 147"/>
                    <a:gd name="T8" fmla="*/ 245 w 245"/>
                    <a:gd name="T9" fmla="*/ 0 h 147"/>
                    <a:gd name="T10" fmla="*/ 245 w 245"/>
                    <a:gd name="T11" fmla="*/ 75 h 147"/>
                    <a:gd name="T12" fmla="*/ 0 w 245"/>
                    <a:gd name="T13" fmla="*/ 0 h 147"/>
                    <a:gd name="T14" fmla="*/ 123 w 245"/>
                    <a:gd name="T15" fmla="*/ 73 h 147"/>
                    <a:gd name="T16" fmla="*/ 245 w 245"/>
                    <a:gd name="T17"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47">
                      <a:moveTo>
                        <a:pt x="245" y="75"/>
                      </a:moveTo>
                      <a:lnTo>
                        <a:pt x="245" y="147"/>
                      </a:lnTo>
                      <a:lnTo>
                        <a:pt x="0" y="147"/>
                      </a:lnTo>
                      <a:lnTo>
                        <a:pt x="0" y="0"/>
                      </a:lnTo>
                      <a:lnTo>
                        <a:pt x="245" y="0"/>
                      </a:lnTo>
                      <a:lnTo>
                        <a:pt x="245" y="75"/>
                      </a:lnTo>
                      <a:moveTo>
                        <a:pt x="0" y="0"/>
                      </a:moveTo>
                      <a:lnTo>
                        <a:pt x="123" y="73"/>
                      </a:lnTo>
                      <a:lnTo>
                        <a:pt x="245" y="0"/>
                      </a:lnTo>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B8B9D447-43B1-4907-8855-96DF22B775CE}"/>
                  </a:ext>
                </a:extLst>
              </p:cNvPr>
              <p:cNvGrpSpPr>
                <a:grpSpLocks noChangeAspect="1"/>
              </p:cNvGrpSpPr>
              <p:nvPr/>
            </p:nvGrpSpPr>
            <p:grpSpPr>
              <a:xfrm>
                <a:off x="7832269" y="3122350"/>
                <a:ext cx="448212" cy="448210"/>
                <a:chOff x="8796626" y="1570646"/>
                <a:chExt cx="640083" cy="640080"/>
              </a:xfrm>
            </p:grpSpPr>
            <p:sp>
              <p:nvSpPr>
                <p:cNvPr id="131" name="Oval 130">
                  <a:extLst>
                    <a:ext uri="{FF2B5EF4-FFF2-40B4-BE49-F238E27FC236}">
                      <a16:creationId xmlns:a16="http://schemas.microsoft.com/office/drawing/2014/main" id="{37B0EE12-389A-4705-893E-D7A1A4C705DF}"/>
                    </a:ext>
                  </a:extLst>
                </p:cNvPr>
                <p:cNvSpPr/>
                <p:nvPr/>
              </p:nvSpPr>
              <p:spPr bwMode="auto">
                <a:xfrm>
                  <a:off x="8796626" y="1570646"/>
                  <a:ext cx="640083" cy="640080"/>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33616" rIns="0" bIns="33616" numCol="1" spcCol="0" rtlCol="0" fromWordArt="0" anchor="ctr" anchorCtr="0" forceAA="0" compatLnSpc="1">
                  <a:prstTxWarp prst="textNoShape">
                    <a:avLst/>
                  </a:prstTxWarp>
                  <a:noAutofit/>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32" name="graph_2">
                  <a:extLst>
                    <a:ext uri="{FF2B5EF4-FFF2-40B4-BE49-F238E27FC236}">
                      <a16:creationId xmlns:a16="http://schemas.microsoft.com/office/drawing/2014/main" id="{EFFA6F9D-4377-4043-A859-CFB307B52E90}"/>
                    </a:ext>
                  </a:extLst>
                </p:cNvPr>
                <p:cNvSpPr>
                  <a:spLocks noChangeAspect="1" noEditPoints="1"/>
                </p:cNvSpPr>
                <p:nvPr/>
              </p:nvSpPr>
              <p:spPr bwMode="auto">
                <a:xfrm>
                  <a:off x="8953363" y="1794933"/>
                  <a:ext cx="326610" cy="191506"/>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0" name="Group 29">
                <a:extLst>
                  <a:ext uri="{FF2B5EF4-FFF2-40B4-BE49-F238E27FC236}">
                    <a16:creationId xmlns:a16="http://schemas.microsoft.com/office/drawing/2014/main" id="{1408859A-3F25-40B3-9C52-A24043954FEF}"/>
                  </a:ext>
                </a:extLst>
              </p:cNvPr>
              <p:cNvGrpSpPr/>
              <p:nvPr/>
            </p:nvGrpSpPr>
            <p:grpSpPr>
              <a:xfrm>
                <a:off x="4154843" y="3378098"/>
                <a:ext cx="922635" cy="448212"/>
                <a:chOff x="7730202" y="4721551"/>
                <a:chExt cx="941137" cy="457200"/>
              </a:xfrm>
            </p:grpSpPr>
            <p:sp>
              <p:nvSpPr>
                <p:cNvPr id="126" name="Oval 125">
                  <a:extLst>
                    <a:ext uri="{FF2B5EF4-FFF2-40B4-BE49-F238E27FC236}">
                      <a16:creationId xmlns:a16="http://schemas.microsoft.com/office/drawing/2014/main" id="{9D102DE6-7A25-447B-961D-342E00D5A423}"/>
                    </a:ext>
                  </a:extLst>
                </p:cNvPr>
                <p:cNvSpPr>
                  <a:spLocks noChangeAspect="1"/>
                </p:cNvSpPr>
                <p:nvPr/>
              </p:nvSpPr>
              <p:spPr bwMode="auto">
                <a:xfrm>
                  <a:off x="7730202" y="4721551"/>
                  <a:ext cx="457200" cy="4572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127" name="Group 74">
                  <a:extLst>
                    <a:ext uri="{FF2B5EF4-FFF2-40B4-BE49-F238E27FC236}">
                      <a16:creationId xmlns:a16="http://schemas.microsoft.com/office/drawing/2014/main" id="{500C660D-C85C-4BDE-BCEE-092D227767CF}"/>
                    </a:ext>
                  </a:extLst>
                </p:cNvPr>
                <p:cNvGrpSpPr>
                  <a:grpSpLocks noChangeAspect="1"/>
                </p:cNvGrpSpPr>
                <p:nvPr/>
              </p:nvGrpSpPr>
              <p:grpSpPr bwMode="auto">
                <a:xfrm>
                  <a:off x="7811019" y="4871587"/>
                  <a:ext cx="860320" cy="237545"/>
                  <a:chOff x="3141" y="2035"/>
                  <a:chExt cx="833" cy="230"/>
                </a:xfrm>
              </p:grpSpPr>
              <p:sp>
                <p:nvSpPr>
                  <p:cNvPr id="128" name="Line 75">
                    <a:extLst>
                      <a:ext uri="{FF2B5EF4-FFF2-40B4-BE49-F238E27FC236}">
                        <a16:creationId xmlns:a16="http://schemas.microsoft.com/office/drawing/2014/main" id="{BF88BE5E-AC0C-403D-A320-5BAC572CBEF2}"/>
                      </a:ext>
                    </a:extLst>
                  </p:cNvPr>
                  <p:cNvSpPr>
                    <a:spLocks noChangeShapeType="1"/>
                  </p:cNvSpPr>
                  <p:nvPr/>
                </p:nvSpPr>
                <p:spPr bwMode="auto">
                  <a:xfrm>
                    <a:off x="3788" y="2265"/>
                    <a:ext cx="0" cy="0"/>
                  </a:xfrm>
                  <a:prstGeom prst="line">
                    <a:avLst/>
                  </a:prstGeom>
                  <a:noFill/>
                  <a:ln w="15875" cap="flat" cmpd="sng" algn="ctr">
                    <a:solidFill>
                      <a:srgbClr val="353535"/>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marL="0" marR="0" lvl="0" indent="0" algn="l" defTabSz="659045"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9" name="Line 76">
                    <a:extLst>
                      <a:ext uri="{FF2B5EF4-FFF2-40B4-BE49-F238E27FC236}">
                        <a16:creationId xmlns:a16="http://schemas.microsoft.com/office/drawing/2014/main" id="{F081BD61-CD2C-4500-9DD6-41531CB8A711}"/>
                      </a:ext>
                    </a:extLst>
                  </p:cNvPr>
                  <p:cNvSpPr>
                    <a:spLocks noChangeShapeType="1"/>
                  </p:cNvSpPr>
                  <p:nvPr/>
                </p:nvSpPr>
                <p:spPr bwMode="auto">
                  <a:xfrm>
                    <a:off x="3974" y="2110"/>
                    <a:ext cx="0" cy="0"/>
                  </a:xfrm>
                  <a:prstGeom prst="line">
                    <a:avLst/>
                  </a:prstGeom>
                  <a:noFill/>
                  <a:ln w="15875" cap="flat" cmpd="sng" algn="ctr">
                    <a:solidFill>
                      <a:srgbClr val="353535"/>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marL="0" marR="0" lvl="0" indent="0" algn="l" defTabSz="659045"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0" name="Freeform 77">
                    <a:extLst>
                      <a:ext uri="{FF2B5EF4-FFF2-40B4-BE49-F238E27FC236}">
                        <a16:creationId xmlns:a16="http://schemas.microsoft.com/office/drawing/2014/main" id="{54CFF27C-DFED-4193-9882-F2B7F9683440}"/>
                      </a:ext>
                    </a:extLst>
                  </p:cNvPr>
                  <p:cNvSpPr>
                    <a:spLocks/>
                  </p:cNvSpPr>
                  <p:nvPr/>
                </p:nvSpPr>
                <p:spPr bwMode="auto">
                  <a:xfrm>
                    <a:off x="3141" y="2035"/>
                    <a:ext cx="286" cy="167"/>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5875" cap="flat" cmpd="sng" algn="ctr">
                    <a:solidFill>
                      <a:srgbClr val="353535"/>
                    </a:solidFill>
                    <a:prstDash val="solid"/>
                    <a:headEnd type="none"/>
                    <a:tailEnd type="none"/>
                  </a:ln>
                  <a:effectLst/>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marL="0" marR="0" lvl="0" indent="0" algn="l" defTabSz="659045"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31" name="Group 30">
                <a:extLst>
                  <a:ext uri="{FF2B5EF4-FFF2-40B4-BE49-F238E27FC236}">
                    <a16:creationId xmlns:a16="http://schemas.microsoft.com/office/drawing/2014/main" id="{37411D1F-607E-4954-8478-C668AF26CA04}"/>
                  </a:ext>
                </a:extLst>
              </p:cNvPr>
              <p:cNvGrpSpPr>
                <a:grpSpLocks noChangeAspect="1"/>
              </p:cNvGrpSpPr>
              <p:nvPr/>
            </p:nvGrpSpPr>
            <p:grpSpPr>
              <a:xfrm>
                <a:off x="7905627" y="3789494"/>
                <a:ext cx="448212" cy="448210"/>
                <a:chOff x="10111201" y="2411203"/>
                <a:chExt cx="640083" cy="640080"/>
              </a:xfrm>
            </p:grpSpPr>
            <p:sp>
              <p:nvSpPr>
                <p:cNvPr id="124" name="Oval 123">
                  <a:extLst>
                    <a:ext uri="{FF2B5EF4-FFF2-40B4-BE49-F238E27FC236}">
                      <a16:creationId xmlns:a16="http://schemas.microsoft.com/office/drawing/2014/main" id="{8BFCB4F7-B265-4C22-9671-3E971BC30C2D}"/>
                    </a:ext>
                  </a:extLst>
                </p:cNvPr>
                <p:cNvSpPr/>
                <p:nvPr/>
              </p:nvSpPr>
              <p:spPr bwMode="auto">
                <a:xfrm>
                  <a:off x="10111201" y="2411203"/>
                  <a:ext cx="640083" cy="640080"/>
                </a:xfrm>
                <a:prstGeom prst="ellipse">
                  <a:avLst/>
                </a:prstGeom>
                <a:solidFill>
                  <a:srgbClr val="FFFFFF"/>
                </a:solidFill>
                <a:ln w="12700" cap="flat" cmpd="sng" algn="ctr">
                  <a:noFill/>
                  <a:prstDash val="solid"/>
                  <a:headEnd type="none" w="med" len="med"/>
                  <a:tailEnd type="none" w="med" len="med"/>
                </a:ln>
                <a:effectLst/>
              </p:spPr>
              <p:txBody>
                <a:bodyPr rot="0" spcFirstLastPara="0" vertOverflow="overflow" horzOverflow="overflow" vert="horz" wrap="square" lIns="0" tIns="33616" rIns="0" bIns="33616" numCol="1" spcCol="0" rtlCol="0" fromWordArt="0" anchor="ctr" anchorCtr="0" forceAA="0" compatLnSpc="1">
                  <a:prstTxWarp prst="textNoShape">
                    <a:avLst/>
                  </a:prstTxWarp>
                  <a:noAutofit/>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25" name="calendar_4">
                  <a:extLst>
                    <a:ext uri="{FF2B5EF4-FFF2-40B4-BE49-F238E27FC236}">
                      <a16:creationId xmlns:a16="http://schemas.microsoft.com/office/drawing/2014/main" id="{3BA2A106-0A99-4227-B36B-139C68DC6723}"/>
                    </a:ext>
                  </a:extLst>
                </p:cNvPr>
                <p:cNvSpPr>
                  <a:spLocks noChangeAspect="1" noEditPoints="1"/>
                </p:cNvSpPr>
                <p:nvPr/>
              </p:nvSpPr>
              <p:spPr bwMode="auto">
                <a:xfrm>
                  <a:off x="10289753" y="2595563"/>
                  <a:ext cx="282960" cy="271362"/>
                </a:xfrm>
                <a:custGeom>
                  <a:avLst/>
                  <a:gdLst>
                    <a:gd name="T0" fmla="*/ 244 w 244"/>
                    <a:gd name="T1" fmla="*/ 135 h 234"/>
                    <a:gd name="T2" fmla="*/ 244 w 244"/>
                    <a:gd name="T3" fmla="*/ 234 h 234"/>
                    <a:gd name="T4" fmla="*/ 0 w 244"/>
                    <a:gd name="T5" fmla="*/ 234 h 234"/>
                    <a:gd name="T6" fmla="*/ 0 w 244"/>
                    <a:gd name="T7" fmla="*/ 24 h 234"/>
                    <a:gd name="T8" fmla="*/ 244 w 244"/>
                    <a:gd name="T9" fmla="*/ 24 h 234"/>
                    <a:gd name="T10" fmla="*/ 244 w 244"/>
                    <a:gd name="T11" fmla="*/ 135 h 234"/>
                    <a:gd name="T12" fmla="*/ 0 w 244"/>
                    <a:gd name="T13" fmla="*/ 72 h 234"/>
                    <a:gd name="T14" fmla="*/ 244 w 244"/>
                    <a:gd name="T15" fmla="*/ 72 h 234"/>
                    <a:gd name="T16" fmla="*/ 50 w 244"/>
                    <a:gd name="T17" fmla="*/ 0 h 234"/>
                    <a:gd name="T18" fmla="*/ 50 w 244"/>
                    <a:gd name="T19" fmla="*/ 50 h 234"/>
                    <a:gd name="T20" fmla="*/ 195 w 244"/>
                    <a:gd name="T21" fmla="*/ 0 h 234"/>
                    <a:gd name="T22" fmla="*/ 195 w 244"/>
                    <a:gd name="T23" fmla="*/ 5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234">
                      <a:moveTo>
                        <a:pt x="244" y="135"/>
                      </a:moveTo>
                      <a:lnTo>
                        <a:pt x="244" y="234"/>
                      </a:lnTo>
                      <a:lnTo>
                        <a:pt x="0" y="234"/>
                      </a:lnTo>
                      <a:lnTo>
                        <a:pt x="0" y="24"/>
                      </a:lnTo>
                      <a:lnTo>
                        <a:pt x="244" y="24"/>
                      </a:lnTo>
                      <a:lnTo>
                        <a:pt x="244" y="135"/>
                      </a:lnTo>
                      <a:moveTo>
                        <a:pt x="0" y="72"/>
                      </a:moveTo>
                      <a:lnTo>
                        <a:pt x="244" y="72"/>
                      </a:lnTo>
                      <a:moveTo>
                        <a:pt x="50" y="0"/>
                      </a:moveTo>
                      <a:lnTo>
                        <a:pt x="50" y="50"/>
                      </a:lnTo>
                      <a:moveTo>
                        <a:pt x="195" y="0"/>
                      </a:moveTo>
                      <a:lnTo>
                        <a:pt x="195" y="50"/>
                      </a:lnTo>
                    </a:path>
                  </a:pathLst>
                </a:custGeom>
                <a:noFill/>
                <a:ln w="12700" cap="flat">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10" tIns="32955" rIns="65910" bIns="32955" numCol="1" anchor="t" anchorCtr="0" compatLnSpc="1">
                  <a:prstTxWarp prst="textNoShape">
                    <a:avLst/>
                  </a:prstTxWarp>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32" name="Group 31">
                <a:extLst>
                  <a:ext uri="{FF2B5EF4-FFF2-40B4-BE49-F238E27FC236}">
                    <a16:creationId xmlns:a16="http://schemas.microsoft.com/office/drawing/2014/main" id="{AF4695FE-8A33-4C4E-AF33-ED354A074284}"/>
                  </a:ext>
                </a:extLst>
              </p:cNvPr>
              <p:cNvGrpSpPr/>
              <p:nvPr/>
            </p:nvGrpSpPr>
            <p:grpSpPr>
              <a:xfrm>
                <a:off x="5688625" y="4744211"/>
                <a:ext cx="475216" cy="475216"/>
                <a:chOff x="8590198" y="7712749"/>
                <a:chExt cx="1143000" cy="1143000"/>
              </a:xfrm>
            </p:grpSpPr>
            <p:sp>
              <p:nvSpPr>
                <p:cNvPr id="122" name="Oval 121">
                  <a:extLst>
                    <a:ext uri="{FF2B5EF4-FFF2-40B4-BE49-F238E27FC236}">
                      <a16:creationId xmlns:a16="http://schemas.microsoft.com/office/drawing/2014/main" id="{F8672996-5763-48C2-BED6-7FEF792BD497}"/>
                    </a:ext>
                  </a:extLst>
                </p:cNvPr>
                <p:cNvSpPr/>
                <p:nvPr/>
              </p:nvSpPr>
              <p:spPr bwMode="auto">
                <a:xfrm>
                  <a:off x="8590198" y="7712749"/>
                  <a:ext cx="1143000" cy="1143000"/>
                </a:xfrm>
                <a:prstGeom prst="ellipse">
                  <a:avLst/>
                </a:prstGeom>
                <a:solidFill>
                  <a:srgbClr val="0078D7"/>
                </a:solidFill>
                <a:ln w="12700" cap="flat" cmpd="sng" algn="ctr">
                  <a:solidFill>
                    <a:srgbClr val="EAEAEA"/>
                  </a:solidFill>
                  <a:prstDash val="solid"/>
                  <a:headEnd type="none" w="med" len="med"/>
                  <a:tailEnd type="none" w="med" len="med"/>
                </a:ln>
                <a:effectLst/>
              </p:spPr>
              <p:txBody>
                <a:bodyPr rot="0" spcFirstLastPara="0" vertOverflow="overflow" horzOverflow="overflow" vert="horz" wrap="square" lIns="0" tIns="33616" rIns="0" bIns="33616" numCol="1" spcCol="0" rtlCol="0" fromWordArt="0" anchor="ctr" anchorCtr="0" forceAA="0" compatLnSpc="1">
                  <a:prstTxWarp prst="textNoShape">
                    <a:avLst/>
                  </a:prstTxWarp>
                  <a:noAutofit/>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pic>
              <p:nvPicPr>
                <p:cNvPr id="123" name="Picture 122">
                  <a:extLst>
                    <a:ext uri="{FF2B5EF4-FFF2-40B4-BE49-F238E27FC236}">
                      <a16:creationId xmlns:a16="http://schemas.microsoft.com/office/drawing/2014/main" id="{6EC12800-D345-48AE-BC4C-26250BEE5B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89113" y="7817465"/>
                  <a:ext cx="945175" cy="945175"/>
                </a:xfrm>
                <a:prstGeom prst="rect">
                  <a:avLst/>
                </a:prstGeom>
              </p:spPr>
            </p:pic>
          </p:grpSp>
          <p:grpSp>
            <p:nvGrpSpPr>
              <p:cNvPr id="33" name="Group 32">
                <a:extLst>
                  <a:ext uri="{FF2B5EF4-FFF2-40B4-BE49-F238E27FC236}">
                    <a16:creationId xmlns:a16="http://schemas.microsoft.com/office/drawing/2014/main" id="{63FEEE56-1BBA-4DDE-B323-96C800711B6A}"/>
                  </a:ext>
                </a:extLst>
              </p:cNvPr>
              <p:cNvGrpSpPr>
                <a:grpSpLocks noChangeAspect="1"/>
              </p:cNvGrpSpPr>
              <p:nvPr/>
            </p:nvGrpSpPr>
            <p:grpSpPr>
              <a:xfrm>
                <a:off x="7751047" y="4287350"/>
                <a:ext cx="432015" cy="432015"/>
                <a:chOff x="5800549" y="3375773"/>
                <a:chExt cx="914400" cy="914400"/>
              </a:xfrm>
            </p:grpSpPr>
            <p:sp>
              <p:nvSpPr>
                <p:cNvPr id="120" name="Freeform 5">
                  <a:extLst>
                    <a:ext uri="{FF2B5EF4-FFF2-40B4-BE49-F238E27FC236}">
                      <a16:creationId xmlns:a16="http://schemas.microsoft.com/office/drawing/2014/main" id="{7A9224C7-AA13-4063-A36B-4F2B3E020FE8}"/>
                    </a:ext>
                  </a:extLst>
                </p:cNvPr>
                <p:cNvSpPr>
                  <a:spLocks/>
                </p:cNvSpPr>
                <p:nvPr/>
              </p:nvSpPr>
              <p:spPr bwMode="auto">
                <a:xfrm>
                  <a:off x="5800549" y="3375773"/>
                  <a:ext cx="914400" cy="914400"/>
                </a:xfrm>
                <a:prstGeom prst="ellipse">
                  <a:avLst/>
                </a:prstGeom>
                <a:solidFill>
                  <a:srgbClr val="0078D7"/>
                </a:solidFill>
                <a:ln w="15875">
                  <a:noFill/>
                </a:ln>
              </p:spPr>
              <p:txBody>
                <a:bodyPr vert="horz" wrap="square" lIns="65910" tIns="32955" rIns="65910" bIns="32955" numCol="1" anchor="t" anchorCtr="0" compatLnSpc="1">
                  <a:prstTxWarp prst="textNoShape">
                    <a:avLst/>
                  </a:prstTxWarp>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121" name="Freeform 131">
                  <a:extLst>
                    <a:ext uri="{FF2B5EF4-FFF2-40B4-BE49-F238E27FC236}">
                      <a16:creationId xmlns:a16="http://schemas.microsoft.com/office/drawing/2014/main" id="{5DC396C8-D72B-40A7-8F47-BA0408A60798}"/>
                    </a:ext>
                  </a:extLst>
                </p:cNvPr>
                <p:cNvSpPr>
                  <a:spLocks noChangeAspect="1"/>
                </p:cNvSpPr>
                <p:nvPr/>
              </p:nvSpPr>
              <p:spPr bwMode="black">
                <a:xfrm>
                  <a:off x="6024627" y="3579791"/>
                  <a:ext cx="422178" cy="506366"/>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FFFFFF"/>
                </a:solidFill>
                <a:ln>
                  <a:noFill/>
                </a:ln>
              </p:spPr>
              <p:txBody>
                <a:bodyPr vert="horz" wrap="square" lIns="65910" tIns="32955" rIns="65910" bIns="32955" numCol="1" anchor="t" anchorCtr="0" compatLnSpc="1">
                  <a:prstTxWarp prst="textNoShape">
                    <a:avLst/>
                  </a:prstTxWarp>
                </a:bodyPr>
                <a:lstStyle/>
                <a:p>
                  <a:pPr marL="0" marR="0" lvl="0" indent="0" algn="ctr"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EA4E9AA8-2C2F-4FF5-9917-5385D4D9023F}"/>
                  </a:ext>
                </a:extLst>
              </p:cNvPr>
              <p:cNvGrpSpPr/>
              <p:nvPr/>
            </p:nvGrpSpPr>
            <p:grpSpPr>
              <a:xfrm>
                <a:off x="5785356" y="202022"/>
                <a:ext cx="432014" cy="432014"/>
                <a:chOff x="3221255" y="1462391"/>
                <a:chExt cx="1143000" cy="1143000"/>
              </a:xfrm>
            </p:grpSpPr>
            <p:sp>
              <p:nvSpPr>
                <p:cNvPr id="118" name="Freeform 5">
                  <a:extLst>
                    <a:ext uri="{FF2B5EF4-FFF2-40B4-BE49-F238E27FC236}">
                      <a16:creationId xmlns:a16="http://schemas.microsoft.com/office/drawing/2014/main" id="{0C072B16-1E24-4C4A-BC13-7F85C5BD8E64}"/>
                    </a:ext>
                  </a:extLst>
                </p:cNvPr>
                <p:cNvSpPr>
                  <a:spLocks/>
                </p:cNvSpPr>
                <p:nvPr/>
              </p:nvSpPr>
              <p:spPr bwMode="auto">
                <a:xfrm>
                  <a:off x="3221255" y="1462391"/>
                  <a:ext cx="1143000" cy="1143000"/>
                </a:xfrm>
                <a:prstGeom prst="ellipse">
                  <a:avLst/>
                </a:prstGeom>
                <a:solidFill>
                  <a:srgbClr val="0078D7"/>
                </a:solidFill>
                <a:ln w="15875">
                  <a:noFill/>
                </a:ln>
              </p:spPr>
              <p:txBody>
                <a:bodyPr vert="horz" wrap="square" lIns="65910" tIns="32955" rIns="65910" bIns="32955" numCol="1" anchor="t" anchorCtr="0" compatLnSpc="1">
                  <a:prstTxWarp prst="textNoShape">
                    <a:avLst/>
                  </a:prstTxWarp>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pic>
              <p:nvPicPr>
                <p:cNvPr id="119" name="Picture 118">
                  <a:extLst>
                    <a:ext uri="{FF2B5EF4-FFF2-40B4-BE49-F238E27FC236}">
                      <a16:creationId xmlns:a16="http://schemas.microsoft.com/office/drawing/2014/main" id="{83CF92C7-1124-4311-AF09-4D3A7A7C7EFF}"/>
                    </a:ext>
                  </a:extLst>
                </p:cNvPr>
                <p:cNvPicPr>
                  <a:picLocks noChangeAspect="1"/>
                </p:cNvPicPr>
                <p:nvPr/>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Lst>
                </a:blip>
                <a:srcRect l="8291" r="57762"/>
                <a:stretch/>
              </p:blipFill>
              <p:spPr>
                <a:xfrm>
                  <a:off x="3375124" y="1826233"/>
                  <a:ext cx="835261" cy="415207"/>
                </a:xfrm>
                <a:prstGeom prst="rect">
                  <a:avLst/>
                </a:prstGeom>
              </p:spPr>
            </p:pic>
          </p:grpSp>
          <p:grpSp>
            <p:nvGrpSpPr>
              <p:cNvPr id="35" name="Group 34">
                <a:extLst>
                  <a:ext uri="{FF2B5EF4-FFF2-40B4-BE49-F238E27FC236}">
                    <a16:creationId xmlns:a16="http://schemas.microsoft.com/office/drawing/2014/main" id="{218DF86D-8190-4AE5-A48D-F8F536F2D0B1}"/>
                  </a:ext>
                </a:extLst>
              </p:cNvPr>
              <p:cNvGrpSpPr/>
              <p:nvPr/>
            </p:nvGrpSpPr>
            <p:grpSpPr>
              <a:xfrm>
                <a:off x="3036299" y="2364064"/>
                <a:ext cx="432014" cy="432014"/>
                <a:chOff x="283909" y="-1853764"/>
                <a:chExt cx="1143000" cy="1143000"/>
              </a:xfrm>
            </p:grpSpPr>
            <p:sp>
              <p:nvSpPr>
                <p:cNvPr id="116" name="Freeform 5">
                  <a:extLst>
                    <a:ext uri="{FF2B5EF4-FFF2-40B4-BE49-F238E27FC236}">
                      <a16:creationId xmlns:a16="http://schemas.microsoft.com/office/drawing/2014/main" id="{1731B936-E6BF-4D29-B173-A945A446AC62}"/>
                    </a:ext>
                  </a:extLst>
                </p:cNvPr>
                <p:cNvSpPr>
                  <a:spLocks/>
                </p:cNvSpPr>
                <p:nvPr/>
              </p:nvSpPr>
              <p:spPr bwMode="auto">
                <a:xfrm>
                  <a:off x="283909" y="-1853764"/>
                  <a:ext cx="1143000" cy="1143000"/>
                </a:xfrm>
                <a:prstGeom prst="ellipse">
                  <a:avLst/>
                </a:prstGeom>
                <a:solidFill>
                  <a:srgbClr val="0078D7"/>
                </a:solidFill>
                <a:ln w="15875">
                  <a:noFill/>
                </a:ln>
              </p:spPr>
              <p:txBody>
                <a:bodyPr vert="horz" wrap="square" lIns="65910" tIns="32955" rIns="65910" bIns="32955" numCol="1" anchor="t" anchorCtr="0" compatLnSpc="1">
                  <a:prstTxWarp prst="textNoShape">
                    <a:avLst/>
                  </a:prstTxWarp>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pic>
              <p:nvPicPr>
                <p:cNvPr id="117" name="Picture 116">
                  <a:extLst>
                    <a:ext uri="{FF2B5EF4-FFF2-40B4-BE49-F238E27FC236}">
                      <a16:creationId xmlns:a16="http://schemas.microsoft.com/office/drawing/2014/main" id="{EA199B63-4680-4786-B4AB-24CBC9877C3C}"/>
                    </a:ext>
                  </a:extLst>
                </p:cNvPr>
                <p:cNvPicPr>
                  <a:picLocks noChangeAspect="1"/>
                </p:cNvPicPr>
                <p:nvPr/>
              </p:nvPicPr>
              <p:blipFill>
                <a:blip r:embed="rId7"/>
                <a:stretch>
                  <a:fillRect/>
                </a:stretch>
              </p:blipFill>
              <p:spPr>
                <a:xfrm>
                  <a:off x="578362" y="-1548270"/>
                  <a:ext cx="541370" cy="532010"/>
                </a:xfrm>
                <a:prstGeom prst="rect">
                  <a:avLst/>
                </a:prstGeom>
              </p:spPr>
            </p:pic>
          </p:grpSp>
          <p:grpSp>
            <p:nvGrpSpPr>
              <p:cNvPr id="36" name="Group 35">
                <a:extLst>
                  <a:ext uri="{FF2B5EF4-FFF2-40B4-BE49-F238E27FC236}">
                    <a16:creationId xmlns:a16="http://schemas.microsoft.com/office/drawing/2014/main" id="{A797E1D3-325B-49CE-8EAD-ECE13F140A61}"/>
                  </a:ext>
                </a:extLst>
              </p:cNvPr>
              <p:cNvGrpSpPr/>
              <p:nvPr/>
            </p:nvGrpSpPr>
            <p:grpSpPr>
              <a:xfrm>
                <a:off x="7226226" y="4893452"/>
                <a:ext cx="432014" cy="432014"/>
                <a:chOff x="14380251" y="3298177"/>
                <a:chExt cx="1143000" cy="1143000"/>
              </a:xfrm>
            </p:grpSpPr>
            <p:sp>
              <p:nvSpPr>
                <p:cNvPr id="113" name="Oval 112">
                  <a:extLst>
                    <a:ext uri="{FF2B5EF4-FFF2-40B4-BE49-F238E27FC236}">
                      <a16:creationId xmlns:a16="http://schemas.microsoft.com/office/drawing/2014/main" id="{39AC249B-A561-46B8-BBF1-EDE59D1AD53F}"/>
                    </a:ext>
                  </a:extLst>
                </p:cNvPr>
                <p:cNvSpPr/>
                <p:nvPr/>
              </p:nvSpPr>
              <p:spPr bwMode="auto">
                <a:xfrm>
                  <a:off x="14380251" y="3298177"/>
                  <a:ext cx="1143000" cy="1143000"/>
                </a:xfrm>
                <a:prstGeom prst="ellipse">
                  <a:avLst/>
                </a:prstGeom>
                <a:solidFill>
                  <a:srgbClr val="0078D7"/>
                </a:solidFill>
                <a:ln w="12700" cap="flat" cmpd="sng" algn="ctr">
                  <a:solidFill>
                    <a:srgbClr val="EAEAEA"/>
                  </a:solidFill>
                  <a:prstDash val="solid"/>
                  <a:headEnd type="none" w="med" len="med"/>
                  <a:tailEnd type="none" w="med" len="med"/>
                </a:ln>
                <a:effectLst/>
              </p:spPr>
              <p:txBody>
                <a:bodyPr rot="0" spcFirstLastPara="0" vertOverflow="overflow" horzOverflow="overflow" vert="horz" wrap="square" lIns="0" tIns="33616" rIns="0" bIns="33616" numCol="1" spcCol="0" rtlCol="0" fromWordArt="0" anchor="ctr" anchorCtr="0" forceAA="0" compatLnSpc="1">
                  <a:prstTxWarp prst="textNoShape">
                    <a:avLst/>
                  </a:prstTxWarp>
                  <a:noAutofit/>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solidFill>
                        <a:sysClr val="windowText" lastClr="000000"/>
                      </a:solidFill>
                    </a:ln>
                    <a:gradFill>
                      <a:gsLst>
                        <a:gs pos="5439">
                          <a:srgbClr val="F8F8F8"/>
                        </a:gs>
                        <a:gs pos="10000">
                          <a:srgbClr val="F8F8F8"/>
                        </a:gs>
                      </a:gsLst>
                      <a:lin ang="5400000" scaled="0"/>
                    </a:gradFill>
                    <a:effectLst/>
                    <a:uLnTx/>
                    <a:uFillTx/>
                    <a:latin typeface="Segoe UI"/>
                    <a:ea typeface="+mn-ea"/>
                    <a:cs typeface="+mn-cs"/>
                  </a:endParaRPr>
                </a:p>
              </p:txBody>
            </p:sp>
            <p:pic>
              <p:nvPicPr>
                <p:cNvPr id="114" name="Picture 113">
                  <a:extLst>
                    <a:ext uri="{FF2B5EF4-FFF2-40B4-BE49-F238E27FC236}">
                      <a16:creationId xmlns:a16="http://schemas.microsoft.com/office/drawing/2014/main" id="{2B08BA25-5126-4375-A65B-6CFF052F5012}"/>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14458192" y="3570334"/>
                  <a:ext cx="974154" cy="649436"/>
                </a:xfrm>
                <a:prstGeom prst="rect">
                  <a:avLst/>
                </a:prstGeom>
              </p:spPr>
            </p:pic>
            <p:pic>
              <p:nvPicPr>
                <p:cNvPr id="115" name="Picture 114">
                  <a:extLst>
                    <a:ext uri="{FF2B5EF4-FFF2-40B4-BE49-F238E27FC236}">
                      <a16:creationId xmlns:a16="http://schemas.microsoft.com/office/drawing/2014/main" id="{7B77B022-C503-44F6-B43A-94461C596E19}"/>
                    </a:ext>
                  </a:extLst>
                </p:cNvPr>
                <p:cNvPicPr>
                  <a:picLocks noChangeAspect="1"/>
                </p:cNvPicPr>
                <p:nvPr/>
              </p:nvPicPr>
              <p:blipFill>
                <a:blip r:embed="rId10" cstate="print">
                  <a:duotone>
                    <a:prstClr val="black"/>
                    <a:srgbClr val="002050">
                      <a:tint val="45000"/>
                      <a:satMod val="400000"/>
                    </a:srgbClr>
                  </a:duotone>
                  <a:extLst>
                    <a:ext uri="{BEBA8EAE-BF5A-486C-A8C5-ECC9F3942E4B}">
                      <a14:imgProps xmlns:a14="http://schemas.microsoft.com/office/drawing/2010/main">
                        <a14:imgLayer r:embed="rId11">
                          <a14:imgEffect>
                            <a14:brightnessContrast bright="28000" contrast="11000"/>
                          </a14:imgEffect>
                        </a14:imgLayer>
                      </a14:imgProps>
                    </a:ext>
                    <a:ext uri="{28A0092B-C50C-407E-A947-70E740481C1C}">
                      <a14:useLocalDpi xmlns:a14="http://schemas.microsoft.com/office/drawing/2010/main" val="0"/>
                    </a:ext>
                  </a:extLst>
                </a:blip>
                <a:stretch>
                  <a:fillRect/>
                </a:stretch>
              </p:blipFill>
              <p:spPr>
                <a:xfrm>
                  <a:off x="14583767" y="3775957"/>
                  <a:ext cx="767233" cy="186308"/>
                </a:xfrm>
                <a:prstGeom prst="rect">
                  <a:avLst/>
                </a:prstGeom>
              </p:spPr>
            </p:pic>
          </p:grpSp>
          <p:grpSp>
            <p:nvGrpSpPr>
              <p:cNvPr id="37" name="Group 36">
                <a:extLst>
                  <a:ext uri="{FF2B5EF4-FFF2-40B4-BE49-F238E27FC236}">
                    <a16:creationId xmlns:a16="http://schemas.microsoft.com/office/drawing/2014/main" id="{F99EC91D-FC5D-423A-8B74-F0BE13A57571}"/>
                  </a:ext>
                </a:extLst>
              </p:cNvPr>
              <p:cNvGrpSpPr/>
              <p:nvPr/>
            </p:nvGrpSpPr>
            <p:grpSpPr>
              <a:xfrm>
                <a:off x="8223877" y="1765137"/>
                <a:ext cx="432014" cy="432014"/>
                <a:chOff x="20278377" y="-5569320"/>
                <a:chExt cx="1143000" cy="1143000"/>
              </a:xfrm>
            </p:grpSpPr>
            <p:sp>
              <p:nvSpPr>
                <p:cNvPr id="111" name="Oval 110">
                  <a:extLst>
                    <a:ext uri="{FF2B5EF4-FFF2-40B4-BE49-F238E27FC236}">
                      <a16:creationId xmlns:a16="http://schemas.microsoft.com/office/drawing/2014/main" id="{84DD8BA4-CE91-4480-9D38-F450D635D2EF}"/>
                    </a:ext>
                  </a:extLst>
                </p:cNvPr>
                <p:cNvSpPr/>
                <p:nvPr/>
              </p:nvSpPr>
              <p:spPr bwMode="auto">
                <a:xfrm>
                  <a:off x="20278377" y="-5569320"/>
                  <a:ext cx="1143000" cy="1143000"/>
                </a:xfrm>
                <a:prstGeom prst="ellipse">
                  <a:avLst/>
                </a:prstGeom>
                <a:solidFill>
                  <a:srgbClr val="0078D7"/>
                </a:solidFill>
                <a:ln w="12700" cap="flat" cmpd="sng" algn="ctr">
                  <a:solidFill>
                    <a:srgbClr val="EAEAEA"/>
                  </a:solidFill>
                  <a:prstDash val="solid"/>
                  <a:headEnd type="none" w="med" len="med"/>
                  <a:tailEnd type="none" w="med" len="med"/>
                </a:ln>
                <a:effectLst/>
              </p:spPr>
              <p:txBody>
                <a:bodyPr rot="0" spcFirstLastPara="0" vertOverflow="overflow" horzOverflow="overflow" vert="horz" wrap="square" lIns="0" tIns="33616" rIns="0" bIns="33616" numCol="1" spcCol="0" rtlCol="0" fromWordArt="0" anchor="ctr" anchorCtr="0" forceAA="0" compatLnSpc="1">
                  <a:prstTxWarp prst="textNoShape">
                    <a:avLst/>
                  </a:prstTxWarp>
                  <a:noAutofit/>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pic>
              <p:nvPicPr>
                <p:cNvPr id="112" name="Picture 111">
                  <a:extLst>
                    <a:ext uri="{FF2B5EF4-FFF2-40B4-BE49-F238E27FC236}">
                      <a16:creationId xmlns:a16="http://schemas.microsoft.com/office/drawing/2014/main" id="{0E35BDF8-8760-4C6F-94C3-EF593BFFA2C4}"/>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20360120" y="-5478383"/>
                  <a:ext cx="966542" cy="966542"/>
                </a:xfrm>
                <a:prstGeom prst="rect">
                  <a:avLst/>
                </a:prstGeom>
              </p:spPr>
            </p:pic>
          </p:grpSp>
          <p:grpSp>
            <p:nvGrpSpPr>
              <p:cNvPr id="38" name="Group 37">
                <a:extLst>
                  <a:ext uri="{FF2B5EF4-FFF2-40B4-BE49-F238E27FC236}">
                    <a16:creationId xmlns:a16="http://schemas.microsoft.com/office/drawing/2014/main" id="{2AB7F8A6-F7B0-4510-81C3-3E866B643D90}"/>
                  </a:ext>
                </a:extLst>
              </p:cNvPr>
              <p:cNvGrpSpPr/>
              <p:nvPr/>
            </p:nvGrpSpPr>
            <p:grpSpPr>
              <a:xfrm>
                <a:off x="7279115" y="271583"/>
                <a:ext cx="475216" cy="475216"/>
                <a:chOff x="3461159" y="1980788"/>
                <a:chExt cx="1143000" cy="1143000"/>
              </a:xfrm>
            </p:grpSpPr>
            <p:sp>
              <p:nvSpPr>
                <p:cNvPr id="107" name="Oval 106">
                  <a:extLst>
                    <a:ext uri="{FF2B5EF4-FFF2-40B4-BE49-F238E27FC236}">
                      <a16:creationId xmlns:a16="http://schemas.microsoft.com/office/drawing/2014/main" id="{17A1E724-BDBA-4EE2-9012-64F5D334B8B2}"/>
                    </a:ext>
                  </a:extLst>
                </p:cNvPr>
                <p:cNvSpPr>
                  <a:spLocks noChangeAspect="1"/>
                </p:cNvSpPr>
                <p:nvPr/>
              </p:nvSpPr>
              <p:spPr bwMode="auto">
                <a:xfrm>
                  <a:off x="3461159" y="1980788"/>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8" name="Oval 107">
                  <a:extLst>
                    <a:ext uri="{FF2B5EF4-FFF2-40B4-BE49-F238E27FC236}">
                      <a16:creationId xmlns:a16="http://schemas.microsoft.com/office/drawing/2014/main" id="{3686890A-6650-4A59-87F6-6AAAFF47D828}"/>
                    </a:ext>
                  </a:extLst>
                </p:cNvPr>
                <p:cNvSpPr/>
                <p:nvPr/>
              </p:nvSpPr>
              <p:spPr bwMode="auto">
                <a:xfrm>
                  <a:off x="3761142" y="2484626"/>
                  <a:ext cx="543033" cy="543033"/>
                </a:xfrm>
                <a:prstGeom prst="ellipse">
                  <a:avLst/>
                </a:prstGeom>
                <a:noFill/>
                <a:ln w="19050" cap="flat" cmpd="sng" algn="ctr">
                  <a:noFill/>
                  <a:prstDash val="solid"/>
                  <a:headEnd type="none" w="med" len="med"/>
                  <a:tailEnd type="none" w="med" len="med"/>
                </a:ln>
                <a:effectLst/>
              </p:spPr>
              <p:txBody>
                <a:bodyPr vert="horz" wrap="square" lIns="0" tIns="33616" rIns="0" bIns="33616" numCol="1" rtlCol="0" anchor="ctr" anchorCtr="0" compatLnSpc="1">
                  <a:prstTxWarp prst="textNoShape">
                    <a:avLst/>
                  </a:prstTxWarp>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9" name="Freeform: Shape 311">
                  <a:extLst>
                    <a:ext uri="{FF2B5EF4-FFF2-40B4-BE49-F238E27FC236}">
                      <a16:creationId xmlns:a16="http://schemas.microsoft.com/office/drawing/2014/main" id="{73EF4B69-E317-4B27-8673-FF8CFA800E17}"/>
                    </a:ext>
                  </a:extLst>
                </p:cNvPr>
                <p:cNvSpPr>
                  <a:spLocks noChangeAspect="1"/>
                </p:cNvSpPr>
                <p:nvPr/>
              </p:nvSpPr>
              <p:spPr bwMode="auto">
                <a:xfrm>
                  <a:off x="3729182" y="2076917"/>
                  <a:ext cx="606954" cy="678792"/>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33616" rIns="0" bIns="33616" numCol="1" rtlCol="0" anchor="ctr" anchorCtr="0" compatLnSpc="1">
                  <a:prstTxWarp prst="textNoShape">
                    <a:avLst/>
                  </a:prstTxWarp>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10" name="Picture 109">
                  <a:extLst>
                    <a:ext uri="{FF2B5EF4-FFF2-40B4-BE49-F238E27FC236}">
                      <a16:creationId xmlns:a16="http://schemas.microsoft.com/office/drawing/2014/main" id="{FFD3C01E-D933-4936-80AC-01351A660EF1}"/>
                    </a:ext>
                  </a:extLst>
                </p:cNvPr>
                <p:cNvPicPr>
                  <a:picLocks noChangeAspect="1"/>
                </p:cNvPicPr>
                <p:nvPr/>
              </p:nvPicPr>
              <p:blipFill>
                <a:blip r:embed="rId14"/>
                <a:stretch>
                  <a:fillRect/>
                </a:stretch>
              </p:blipFill>
              <p:spPr>
                <a:xfrm>
                  <a:off x="3903360" y="2667425"/>
                  <a:ext cx="258148" cy="260258"/>
                </a:xfrm>
                <a:prstGeom prst="rect">
                  <a:avLst/>
                </a:prstGeom>
              </p:spPr>
            </p:pic>
          </p:grpSp>
          <p:grpSp>
            <p:nvGrpSpPr>
              <p:cNvPr id="39" name="Group 38">
                <a:extLst>
                  <a:ext uri="{FF2B5EF4-FFF2-40B4-BE49-F238E27FC236}">
                    <a16:creationId xmlns:a16="http://schemas.microsoft.com/office/drawing/2014/main" id="{B69357A5-E93E-4F4A-8CC8-36F2FC0E063F}"/>
                  </a:ext>
                </a:extLst>
              </p:cNvPr>
              <p:cNvGrpSpPr/>
              <p:nvPr/>
            </p:nvGrpSpPr>
            <p:grpSpPr>
              <a:xfrm>
                <a:off x="7331829" y="1430602"/>
                <a:ext cx="475216" cy="475216"/>
                <a:chOff x="6343142" y="3846574"/>
                <a:chExt cx="1143000" cy="1143000"/>
              </a:xfrm>
            </p:grpSpPr>
            <p:sp>
              <p:nvSpPr>
                <p:cNvPr id="103" name="Oval 102">
                  <a:extLst>
                    <a:ext uri="{FF2B5EF4-FFF2-40B4-BE49-F238E27FC236}">
                      <a16:creationId xmlns:a16="http://schemas.microsoft.com/office/drawing/2014/main" id="{71575D9C-14FA-4145-87C1-4A6D3300A916}"/>
                    </a:ext>
                  </a:extLst>
                </p:cNvPr>
                <p:cNvSpPr>
                  <a:spLocks noChangeAspect="1"/>
                </p:cNvSpPr>
                <p:nvPr/>
              </p:nvSpPr>
              <p:spPr bwMode="auto">
                <a:xfrm>
                  <a:off x="6343142" y="3846574"/>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104" name="Oval 103">
                  <a:extLst>
                    <a:ext uri="{FF2B5EF4-FFF2-40B4-BE49-F238E27FC236}">
                      <a16:creationId xmlns:a16="http://schemas.microsoft.com/office/drawing/2014/main" id="{C1E36B4C-4D50-4251-B25C-D66A51BF1D26}"/>
                    </a:ext>
                  </a:extLst>
                </p:cNvPr>
                <p:cNvSpPr>
                  <a:spLocks noChangeAspect="1"/>
                </p:cNvSpPr>
                <p:nvPr/>
              </p:nvSpPr>
              <p:spPr bwMode="auto">
                <a:xfrm>
                  <a:off x="6651955" y="4352181"/>
                  <a:ext cx="539496" cy="539496"/>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marL="0" marR="0" lvl="0" indent="0" algn="ctr" defTabSz="672071" rtl="0" eaLnBrk="0" fontAlgn="base" latinLnBrk="0" hangingPunct="0">
                    <a:lnSpc>
                      <a:spcPct val="90000"/>
                    </a:lnSpc>
                    <a:spcBef>
                      <a:spcPct val="0"/>
                    </a:spcBef>
                    <a:spcAft>
                      <a:spcPct val="0"/>
                    </a:spcAft>
                    <a:buClrTx/>
                    <a:buSzTx/>
                    <a:buFontTx/>
                    <a:buNone/>
                    <a:tabLst/>
                    <a:defRPr/>
                  </a:pPr>
                  <a:endParaRPr kumimoji="0" lang="en-US" sz="173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Freeform: Shape 325">
                  <a:extLst>
                    <a:ext uri="{FF2B5EF4-FFF2-40B4-BE49-F238E27FC236}">
                      <a16:creationId xmlns:a16="http://schemas.microsoft.com/office/drawing/2014/main" id="{4922792A-7802-42D5-BAAB-47AB8EF28540}"/>
                    </a:ext>
                  </a:extLst>
                </p:cNvPr>
                <p:cNvSpPr>
                  <a:spLocks noChangeAspect="1"/>
                </p:cNvSpPr>
                <p:nvPr/>
              </p:nvSpPr>
              <p:spPr bwMode="auto">
                <a:xfrm>
                  <a:off x="6611165" y="3944472"/>
                  <a:ext cx="606954" cy="678792"/>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33616" rIns="0" bIns="33616" numCol="1" rtlCol="0" anchor="ctr" anchorCtr="0" compatLnSpc="1">
                  <a:prstTxWarp prst="textNoShape">
                    <a:avLst/>
                  </a:prstTxWarp>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06" name="Picture 105">
                  <a:extLst>
                    <a:ext uri="{FF2B5EF4-FFF2-40B4-BE49-F238E27FC236}">
                      <a16:creationId xmlns:a16="http://schemas.microsoft.com/office/drawing/2014/main" id="{D06D3929-D363-4D32-8FD2-7EC69F71C80B}"/>
                    </a:ext>
                  </a:extLst>
                </p:cNvPr>
                <p:cNvPicPr>
                  <a:picLocks noChangeAspect="1"/>
                </p:cNvPicPr>
                <p:nvPr/>
              </p:nvPicPr>
              <p:blipFill>
                <a:blip r:embed="rId15"/>
                <a:stretch>
                  <a:fillRect/>
                </a:stretch>
              </p:blipFill>
              <p:spPr>
                <a:xfrm>
                  <a:off x="6724445" y="4550692"/>
                  <a:ext cx="380395" cy="263822"/>
                </a:xfrm>
                <a:prstGeom prst="rect">
                  <a:avLst/>
                </a:prstGeom>
              </p:spPr>
            </p:pic>
          </p:grpSp>
          <p:grpSp>
            <p:nvGrpSpPr>
              <p:cNvPr id="40" name="Group 39">
                <a:extLst>
                  <a:ext uri="{FF2B5EF4-FFF2-40B4-BE49-F238E27FC236}">
                    <a16:creationId xmlns:a16="http://schemas.microsoft.com/office/drawing/2014/main" id="{B841DDDB-007A-44EC-94A3-900D7F934573}"/>
                  </a:ext>
                </a:extLst>
              </p:cNvPr>
              <p:cNvGrpSpPr/>
              <p:nvPr/>
            </p:nvGrpSpPr>
            <p:grpSpPr>
              <a:xfrm>
                <a:off x="4458990" y="588089"/>
                <a:ext cx="475216" cy="475216"/>
                <a:chOff x="4421820" y="3837665"/>
                <a:chExt cx="1143000" cy="1143000"/>
              </a:xfrm>
            </p:grpSpPr>
            <p:sp>
              <p:nvSpPr>
                <p:cNvPr id="98" name="Oval 97">
                  <a:extLst>
                    <a:ext uri="{FF2B5EF4-FFF2-40B4-BE49-F238E27FC236}">
                      <a16:creationId xmlns:a16="http://schemas.microsoft.com/office/drawing/2014/main" id="{04A23AF3-2271-4D93-ADAA-82DC68DF3CC9}"/>
                    </a:ext>
                  </a:extLst>
                </p:cNvPr>
                <p:cNvSpPr>
                  <a:spLocks noChangeAspect="1"/>
                </p:cNvSpPr>
                <p:nvPr/>
              </p:nvSpPr>
              <p:spPr bwMode="auto">
                <a:xfrm>
                  <a:off x="4421820" y="3837665"/>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99" name="Group 98">
                  <a:extLst>
                    <a:ext uri="{FF2B5EF4-FFF2-40B4-BE49-F238E27FC236}">
                      <a16:creationId xmlns:a16="http://schemas.microsoft.com/office/drawing/2014/main" id="{A86812A4-0AC3-42AF-B74E-EE08E5313742}"/>
                    </a:ext>
                  </a:extLst>
                </p:cNvPr>
                <p:cNvGrpSpPr/>
                <p:nvPr/>
              </p:nvGrpSpPr>
              <p:grpSpPr>
                <a:xfrm>
                  <a:off x="4695928" y="3929384"/>
                  <a:ext cx="606954" cy="950742"/>
                  <a:chOff x="923401" y="1750320"/>
                  <a:chExt cx="606954" cy="950742"/>
                </a:xfrm>
              </p:grpSpPr>
              <p:sp>
                <p:nvSpPr>
                  <p:cNvPr id="101" name="Oval 100">
                    <a:extLst>
                      <a:ext uri="{FF2B5EF4-FFF2-40B4-BE49-F238E27FC236}">
                        <a16:creationId xmlns:a16="http://schemas.microsoft.com/office/drawing/2014/main" id="{1267A9C9-7D67-4B74-984D-F016AADF2600}"/>
                      </a:ext>
                    </a:extLst>
                  </p:cNvPr>
                  <p:cNvSpPr/>
                  <p:nvPr/>
                </p:nvSpPr>
                <p:spPr bwMode="auto">
                  <a:xfrm>
                    <a:off x="960654" y="2158029"/>
                    <a:ext cx="543033" cy="543033"/>
                  </a:xfrm>
                  <a:prstGeom prst="ellipse">
                    <a:avLst/>
                  </a:prstGeom>
                  <a:noFill/>
                  <a:ln w="19050" cap="flat" cmpd="sng" algn="ctr">
                    <a:noFill/>
                    <a:prstDash val="solid"/>
                    <a:headEnd type="none" w="med" len="med"/>
                    <a:tailEnd type="none" w="med" len="med"/>
                  </a:ln>
                  <a:effectLst/>
                </p:spPr>
                <p:txBody>
                  <a:bodyPr vert="horz" wrap="square" lIns="0" tIns="33616" rIns="0" bIns="33616" numCol="1" rtlCol="0" anchor="ctr" anchorCtr="0" compatLnSpc="1">
                    <a:prstTxWarp prst="textNoShape">
                      <a:avLst/>
                    </a:prstTxWarp>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2" name="Freeform: Shape 320">
                    <a:extLst>
                      <a:ext uri="{FF2B5EF4-FFF2-40B4-BE49-F238E27FC236}">
                        <a16:creationId xmlns:a16="http://schemas.microsoft.com/office/drawing/2014/main" id="{AD768A1A-EE88-4C88-AF09-463CF58EEBE8}"/>
                      </a:ext>
                    </a:extLst>
                  </p:cNvPr>
                  <p:cNvSpPr>
                    <a:spLocks noChangeAspect="1"/>
                  </p:cNvSpPr>
                  <p:nvPr/>
                </p:nvSpPr>
                <p:spPr bwMode="auto">
                  <a:xfrm>
                    <a:off x="923401" y="1750320"/>
                    <a:ext cx="606954" cy="678792"/>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33616" rIns="0" bIns="33616" numCol="1" rtlCol="0" anchor="ctr" anchorCtr="0" compatLnSpc="1">
                    <a:prstTxWarp prst="textNoShape">
                      <a:avLst/>
                    </a:prstTxWarp>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pic>
              <p:nvPicPr>
                <p:cNvPr id="100" name="Picture 99">
                  <a:extLst>
                    <a:ext uri="{FF2B5EF4-FFF2-40B4-BE49-F238E27FC236}">
                      <a16:creationId xmlns:a16="http://schemas.microsoft.com/office/drawing/2014/main" id="{E2656DE1-2FF6-4797-A12A-241A5796ACD3}"/>
                    </a:ext>
                  </a:extLst>
                </p:cNvPr>
                <p:cNvPicPr>
                  <a:picLocks noChangeAspect="1"/>
                </p:cNvPicPr>
                <p:nvPr/>
              </p:nvPicPr>
              <p:blipFill>
                <a:blip r:embed="rId16"/>
                <a:stretch>
                  <a:fillRect/>
                </a:stretch>
              </p:blipFill>
              <p:spPr>
                <a:xfrm>
                  <a:off x="4812541" y="4496652"/>
                  <a:ext cx="384311" cy="331277"/>
                </a:xfrm>
                <a:prstGeom prst="rect">
                  <a:avLst/>
                </a:prstGeom>
              </p:spPr>
            </p:pic>
          </p:grpSp>
          <p:grpSp>
            <p:nvGrpSpPr>
              <p:cNvPr id="41" name="Group 40">
                <a:extLst>
                  <a:ext uri="{FF2B5EF4-FFF2-40B4-BE49-F238E27FC236}">
                    <a16:creationId xmlns:a16="http://schemas.microsoft.com/office/drawing/2014/main" id="{F85750FD-F9C6-46A4-BA4F-AAC1430DBD95}"/>
                  </a:ext>
                </a:extLst>
              </p:cNvPr>
              <p:cNvGrpSpPr/>
              <p:nvPr/>
            </p:nvGrpSpPr>
            <p:grpSpPr>
              <a:xfrm>
                <a:off x="6421781" y="3764793"/>
                <a:ext cx="475216" cy="475216"/>
                <a:chOff x="8264466" y="3846864"/>
                <a:chExt cx="1143000" cy="1143000"/>
              </a:xfrm>
            </p:grpSpPr>
            <p:sp>
              <p:nvSpPr>
                <p:cNvPr id="93" name="Oval 92">
                  <a:extLst>
                    <a:ext uri="{FF2B5EF4-FFF2-40B4-BE49-F238E27FC236}">
                      <a16:creationId xmlns:a16="http://schemas.microsoft.com/office/drawing/2014/main" id="{89FE079D-8BFE-40C0-96B3-E923A0D94892}"/>
                    </a:ext>
                  </a:extLst>
                </p:cNvPr>
                <p:cNvSpPr>
                  <a:spLocks noChangeAspect="1"/>
                </p:cNvSpPr>
                <p:nvPr/>
              </p:nvSpPr>
              <p:spPr bwMode="auto">
                <a:xfrm>
                  <a:off x="8264466" y="3846864"/>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94" name="Group 93">
                  <a:extLst>
                    <a:ext uri="{FF2B5EF4-FFF2-40B4-BE49-F238E27FC236}">
                      <a16:creationId xmlns:a16="http://schemas.microsoft.com/office/drawing/2014/main" id="{AE74C0F0-0196-40D4-B5B2-8CCD2C165117}"/>
                    </a:ext>
                  </a:extLst>
                </p:cNvPr>
                <p:cNvGrpSpPr/>
                <p:nvPr/>
              </p:nvGrpSpPr>
              <p:grpSpPr>
                <a:xfrm>
                  <a:off x="8532489" y="3955366"/>
                  <a:ext cx="606954" cy="950742"/>
                  <a:chOff x="9233375" y="2727900"/>
                  <a:chExt cx="408814" cy="640372"/>
                </a:xfrm>
              </p:grpSpPr>
              <p:sp>
                <p:nvSpPr>
                  <p:cNvPr id="96" name="Oval 95">
                    <a:extLst>
                      <a:ext uri="{FF2B5EF4-FFF2-40B4-BE49-F238E27FC236}">
                        <a16:creationId xmlns:a16="http://schemas.microsoft.com/office/drawing/2014/main" id="{BE306DEF-BF0E-4A46-A917-1198A66699D2}"/>
                      </a:ext>
                    </a:extLst>
                  </p:cNvPr>
                  <p:cNvSpPr/>
                  <p:nvPr/>
                </p:nvSpPr>
                <p:spPr bwMode="auto">
                  <a:xfrm>
                    <a:off x="9258467" y="3002512"/>
                    <a:ext cx="365760" cy="365760"/>
                  </a:xfrm>
                  <a:prstGeom prst="ellipse">
                    <a:avLst/>
                  </a:prstGeom>
                  <a:noFill/>
                  <a:ln w="19050" cap="flat" cmpd="sng" algn="ctr">
                    <a:noFill/>
                    <a:prstDash val="solid"/>
                    <a:headEnd type="none" w="med" len="med"/>
                    <a:tailEnd type="none" w="med" len="med"/>
                  </a:ln>
                  <a:effectLst/>
                </p:spPr>
                <p:txBody>
                  <a:bodyPr vert="horz" wrap="square" lIns="0" tIns="33616" rIns="0" bIns="33616" numCol="1" rtlCol="0" anchor="ctr" anchorCtr="0" compatLnSpc="1">
                    <a:prstTxWarp prst="textNoShape">
                      <a:avLst/>
                    </a:prstTxWarp>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97" name="Freeform: Shape 341">
                    <a:extLst>
                      <a:ext uri="{FF2B5EF4-FFF2-40B4-BE49-F238E27FC236}">
                        <a16:creationId xmlns:a16="http://schemas.microsoft.com/office/drawing/2014/main" id="{E29516D6-2743-415B-B0BD-62DD4B41C20F}"/>
                      </a:ext>
                    </a:extLst>
                  </p:cNvPr>
                  <p:cNvSpPr>
                    <a:spLocks noChangeAspect="1"/>
                  </p:cNvSpPr>
                  <p:nvPr/>
                </p:nvSpPr>
                <p:spPr bwMode="auto">
                  <a:xfrm>
                    <a:off x="9233375" y="2727900"/>
                    <a:ext cx="408814" cy="457200"/>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33616" rIns="0" bIns="33616" numCol="1" rtlCol="0" anchor="ctr" anchorCtr="0" compatLnSpc="1">
                    <a:prstTxWarp prst="textNoShape">
                      <a:avLst/>
                    </a:prstTxWarp>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pic>
              <p:nvPicPr>
                <p:cNvPr id="95" name="Picture 94">
                  <a:extLst>
                    <a:ext uri="{FF2B5EF4-FFF2-40B4-BE49-F238E27FC236}">
                      <a16:creationId xmlns:a16="http://schemas.microsoft.com/office/drawing/2014/main" id="{E388D403-F8C8-4478-8D9C-C2BB65F8FFBA}"/>
                    </a:ext>
                  </a:extLst>
                </p:cNvPr>
                <p:cNvPicPr>
                  <a:picLocks noChangeAspect="1"/>
                </p:cNvPicPr>
                <p:nvPr/>
              </p:nvPicPr>
              <p:blipFill>
                <a:blip r:embed="rId17"/>
                <a:stretch>
                  <a:fillRect/>
                </a:stretch>
              </p:blipFill>
              <p:spPr>
                <a:xfrm>
                  <a:off x="8657452" y="4574175"/>
                  <a:ext cx="382588" cy="242796"/>
                </a:xfrm>
                <a:prstGeom prst="rect">
                  <a:avLst/>
                </a:prstGeom>
              </p:spPr>
            </p:pic>
          </p:grpSp>
          <p:grpSp>
            <p:nvGrpSpPr>
              <p:cNvPr id="42" name="Group 41">
                <a:extLst>
                  <a:ext uri="{FF2B5EF4-FFF2-40B4-BE49-F238E27FC236}">
                    <a16:creationId xmlns:a16="http://schemas.microsoft.com/office/drawing/2014/main" id="{5ADABC95-5B8A-436B-BF0F-21B20828BF67}"/>
                  </a:ext>
                </a:extLst>
              </p:cNvPr>
              <p:cNvGrpSpPr/>
              <p:nvPr/>
            </p:nvGrpSpPr>
            <p:grpSpPr>
              <a:xfrm>
                <a:off x="5620628" y="1374614"/>
                <a:ext cx="475216" cy="475216"/>
                <a:chOff x="7303803" y="1980788"/>
                <a:chExt cx="1143000" cy="1143000"/>
              </a:xfrm>
            </p:grpSpPr>
            <p:sp>
              <p:nvSpPr>
                <p:cNvPr id="89" name="Oval 88">
                  <a:extLst>
                    <a:ext uri="{FF2B5EF4-FFF2-40B4-BE49-F238E27FC236}">
                      <a16:creationId xmlns:a16="http://schemas.microsoft.com/office/drawing/2014/main" id="{9F1AA693-DDC7-48FB-8390-9504A96BAA71}"/>
                    </a:ext>
                  </a:extLst>
                </p:cNvPr>
                <p:cNvSpPr>
                  <a:spLocks noChangeAspect="1"/>
                </p:cNvSpPr>
                <p:nvPr/>
              </p:nvSpPr>
              <p:spPr bwMode="auto">
                <a:xfrm>
                  <a:off x="7303803" y="1980788"/>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90" name="Oval 89">
                  <a:extLst>
                    <a:ext uri="{FF2B5EF4-FFF2-40B4-BE49-F238E27FC236}">
                      <a16:creationId xmlns:a16="http://schemas.microsoft.com/office/drawing/2014/main" id="{B9D80287-56A9-4943-A00E-0BA2CF279147}"/>
                    </a:ext>
                  </a:extLst>
                </p:cNvPr>
                <p:cNvSpPr/>
                <p:nvPr/>
              </p:nvSpPr>
              <p:spPr bwMode="auto">
                <a:xfrm>
                  <a:off x="7610847" y="2486395"/>
                  <a:ext cx="539496" cy="539496"/>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marL="0" marR="0" lvl="0" indent="0" algn="ctr" defTabSz="672071" rtl="0" eaLnBrk="0" fontAlgn="base" latinLnBrk="0" hangingPunct="0">
                    <a:lnSpc>
                      <a:spcPct val="90000"/>
                    </a:lnSpc>
                    <a:spcBef>
                      <a:spcPct val="0"/>
                    </a:spcBef>
                    <a:spcAft>
                      <a:spcPct val="0"/>
                    </a:spcAft>
                    <a:buClrTx/>
                    <a:buSzTx/>
                    <a:buFontTx/>
                    <a:buNone/>
                    <a:tabLst/>
                    <a:defRPr/>
                  </a:pPr>
                  <a:endParaRPr kumimoji="0" lang="en-US" sz="173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Freeform: Shape 332">
                  <a:extLst>
                    <a:ext uri="{FF2B5EF4-FFF2-40B4-BE49-F238E27FC236}">
                      <a16:creationId xmlns:a16="http://schemas.microsoft.com/office/drawing/2014/main" id="{AFC450FB-0B56-4FB1-BE99-A6D02E549CAA}"/>
                    </a:ext>
                  </a:extLst>
                </p:cNvPr>
                <p:cNvSpPr>
                  <a:spLocks noChangeAspect="1"/>
                </p:cNvSpPr>
                <p:nvPr/>
              </p:nvSpPr>
              <p:spPr bwMode="auto">
                <a:xfrm>
                  <a:off x="7571826" y="2078686"/>
                  <a:ext cx="606954" cy="678792"/>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33616" rIns="0" bIns="33616" numCol="1" rtlCol="0" anchor="ctr" anchorCtr="0" compatLnSpc="1">
                  <a:prstTxWarp prst="textNoShape">
                    <a:avLst/>
                  </a:prstTxWarp>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92" name="Picture 91">
                  <a:extLst>
                    <a:ext uri="{FF2B5EF4-FFF2-40B4-BE49-F238E27FC236}">
                      <a16:creationId xmlns:a16="http://schemas.microsoft.com/office/drawing/2014/main" id="{F90E27BD-608F-42E0-BDDE-AE0499EF7D32}"/>
                    </a:ext>
                  </a:extLst>
                </p:cNvPr>
                <p:cNvPicPr>
                  <a:picLocks noChangeAspect="1"/>
                </p:cNvPicPr>
                <p:nvPr/>
              </p:nvPicPr>
              <p:blipFill>
                <a:blip r:embed="rId18"/>
                <a:stretch>
                  <a:fillRect/>
                </a:stretch>
              </p:blipFill>
              <p:spPr>
                <a:xfrm>
                  <a:off x="7787636" y="2622747"/>
                  <a:ext cx="154454" cy="329191"/>
                </a:xfrm>
                <a:prstGeom prst="rect">
                  <a:avLst/>
                </a:prstGeom>
              </p:spPr>
            </p:pic>
          </p:grpSp>
          <p:grpSp>
            <p:nvGrpSpPr>
              <p:cNvPr id="43" name="Group 42">
                <a:extLst>
                  <a:ext uri="{FF2B5EF4-FFF2-40B4-BE49-F238E27FC236}">
                    <a16:creationId xmlns:a16="http://schemas.microsoft.com/office/drawing/2014/main" id="{C2F34FCA-01B9-4FE1-BE30-939CD70DA528}"/>
                  </a:ext>
                </a:extLst>
              </p:cNvPr>
              <p:cNvGrpSpPr/>
              <p:nvPr/>
            </p:nvGrpSpPr>
            <p:grpSpPr>
              <a:xfrm>
                <a:off x="2485631" y="2921729"/>
                <a:ext cx="475216" cy="475216"/>
                <a:chOff x="5382481" y="1937866"/>
                <a:chExt cx="1143000" cy="1143000"/>
              </a:xfrm>
            </p:grpSpPr>
            <p:sp>
              <p:nvSpPr>
                <p:cNvPr id="85" name="Oval 84">
                  <a:extLst>
                    <a:ext uri="{FF2B5EF4-FFF2-40B4-BE49-F238E27FC236}">
                      <a16:creationId xmlns:a16="http://schemas.microsoft.com/office/drawing/2014/main" id="{96349A48-3729-400E-92E2-96D9B65792CA}"/>
                    </a:ext>
                  </a:extLst>
                </p:cNvPr>
                <p:cNvSpPr>
                  <a:spLocks noChangeAspect="1"/>
                </p:cNvSpPr>
                <p:nvPr/>
              </p:nvSpPr>
              <p:spPr bwMode="auto">
                <a:xfrm>
                  <a:off x="5382481" y="1937866"/>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86" name="Oval 85">
                  <a:extLst>
                    <a:ext uri="{FF2B5EF4-FFF2-40B4-BE49-F238E27FC236}">
                      <a16:creationId xmlns:a16="http://schemas.microsoft.com/office/drawing/2014/main" id="{4113A337-7A19-49DB-9B33-70394226319A}"/>
                    </a:ext>
                  </a:extLst>
                </p:cNvPr>
                <p:cNvSpPr/>
                <p:nvPr/>
              </p:nvSpPr>
              <p:spPr bwMode="auto">
                <a:xfrm>
                  <a:off x="5682464" y="2447426"/>
                  <a:ext cx="543033" cy="543032"/>
                </a:xfrm>
                <a:prstGeom prst="ellipse">
                  <a:avLst/>
                </a:prstGeom>
                <a:noFill/>
                <a:ln w="19050" cap="flat" cmpd="sng" algn="ctr">
                  <a:noFill/>
                  <a:prstDash val="solid"/>
                  <a:headEnd type="none" w="med" len="med"/>
                  <a:tailEnd type="none" w="med" len="med"/>
                </a:ln>
                <a:effectLst/>
              </p:spPr>
              <p:txBody>
                <a:bodyPr vert="horz" wrap="square" lIns="0" tIns="33616" rIns="0" bIns="33616" numCol="1" rtlCol="0" anchor="ctr" anchorCtr="0" compatLnSpc="1">
                  <a:prstTxWarp prst="textNoShape">
                    <a:avLst/>
                  </a:prstTxWarp>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87" name="Freeform: Shape 306">
                  <a:extLst>
                    <a:ext uri="{FF2B5EF4-FFF2-40B4-BE49-F238E27FC236}">
                      <a16:creationId xmlns:a16="http://schemas.microsoft.com/office/drawing/2014/main" id="{48EC6388-9685-4815-8D41-BFC62469F0F9}"/>
                    </a:ext>
                  </a:extLst>
                </p:cNvPr>
                <p:cNvSpPr>
                  <a:spLocks noChangeAspect="1"/>
                </p:cNvSpPr>
                <p:nvPr/>
              </p:nvSpPr>
              <p:spPr bwMode="auto">
                <a:xfrm flipH="1">
                  <a:off x="5738236" y="2536283"/>
                  <a:ext cx="418765" cy="361003"/>
                </a:xfrm>
                <a:custGeom>
                  <a:avLst/>
                  <a:gdLst>
                    <a:gd name="connsiteX0" fmla="*/ 3585965 w 7177436"/>
                    <a:gd name="connsiteY0" fmla="*/ 4180339 h 6187444"/>
                    <a:gd name="connsiteX1" fmla="*/ 3209692 w 7177436"/>
                    <a:gd name="connsiteY1" fmla="*/ 4556612 h 6187444"/>
                    <a:gd name="connsiteX2" fmla="*/ 3585965 w 7177436"/>
                    <a:gd name="connsiteY2" fmla="*/ 4932885 h 6187444"/>
                    <a:gd name="connsiteX3" fmla="*/ 3962238 w 7177436"/>
                    <a:gd name="connsiteY3" fmla="*/ 4556612 h 6187444"/>
                    <a:gd name="connsiteX4" fmla="*/ 3585965 w 7177436"/>
                    <a:gd name="connsiteY4" fmla="*/ 4180339 h 6187444"/>
                    <a:gd name="connsiteX5" fmla="*/ 4566363 w 7177436"/>
                    <a:gd name="connsiteY5" fmla="*/ 3386311 h 6187444"/>
                    <a:gd name="connsiteX6" fmla="*/ 4274662 w 7177436"/>
                    <a:gd name="connsiteY6" fmla="*/ 3678012 h 6187444"/>
                    <a:gd name="connsiteX7" fmla="*/ 4566363 w 7177436"/>
                    <a:gd name="connsiteY7" fmla="*/ 3969713 h 6187444"/>
                    <a:gd name="connsiteX8" fmla="*/ 4858064 w 7177436"/>
                    <a:gd name="connsiteY8" fmla="*/ 3678012 h 6187444"/>
                    <a:gd name="connsiteX9" fmla="*/ 4566363 w 7177436"/>
                    <a:gd name="connsiteY9" fmla="*/ 3386311 h 6187444"/>
                    <a:gd name="connsiteX10" fmla="*/ 2611073 w 7177436"/>
                    <a:gd name="connsiteY10" fmla="*/ 3386164 h 6187444"/>
                    <a:gd name="connsiteX11" fmla="*/ 2319225 w 7177436"/>
                    <a:gd name="connsiteY11" fmla="*/ 3678012 h 6187444"/>
                    <a:gd name="connsiteX12" fmla="*/ 2611073 w 7177436"/>
                    <a:gd name="connsiteY12" fmla="*/ 3969860 h 6187444"/>
                    <a:gd name="connsiteX13" fmla="*/ 2902921 w 7177436"/>
                    <a:gd name="connsiteY13" fmla="*/ 3678012 h 6187444"/>
                    <a:gd name="connsiteX14" fmla="*/ 2611073 w 7177436"/>
                    <a:gd name="connsiteY14" fmla="*/ 3386164 h 6187444"/>
                    <a:gd name="connsiteX15" fmla="*/ 2611073 w 7177436"/>
                    <a:gd name="connsiteY15" fmla="*/ 3188400 h 6187444"/>
                    <a:gd name="connsiteX16" fmla="*/ 3100685 w 7177436"/>
                    <a:gd name="connsiteY16" fmla="*/ 3678012 h 6187444"/>
                    <a:gd name="connsiteX17" fmla="*/ 2957281 w 7177436"/>
                    <a:gd name="connsiteY17" fmla="*/ 4024220 h 6187444"/>
                    <a:gd name="connsiteX18" fmla="*/ 2911722 w 7177436"/>
                    <a:gd name="connsiteY18" fmla="*/ 4061809 h 6187444"/>
                    <a:gd name="connsiteX19" fmla="*/ 3002153 w 7177436"/>
                    <a:gd name="connsiteY19" fmla="*/ 4126074 h 6187444"/>
                    <a:gd name="connsiteX20" fmla="*/ 3093376 w 7177436"/>
                    <a:gd name="connsiteY20" fmla="*/ 4231413 h 6187444"/>
                    <a:gd name="connsiteX21" fmla="*/ 3098519 w 7177436"/>
                    <a:gd name="connsiteY21" fmla="*/ 4240889 h 6187444"/>
                    <a:gd name="connsiteX22" fmla="*/ 3103663 w 7177436"/>
                    <a:gd name="connsiteY22" fmla="*/ 4231413 h 6187444"/>
                    <a:gd name="connsiteX23" fmla="*/ 3585965 w 7177436"/>
                    <a:gd name="connsiteY23" fmla="*/ 3974975 h 6187444"/>
                    <a:gd name="connsiteX24" fmla="*/ 4068268 w 7177436"/>
                    <a:gd name="connsiteY24" fmla="*/ 4231413 h 6187444"/>
                    <a:gd name="connsiteX25" fmla="*/ 4076164 w 7177436"/>
                    <a:gd name="connsiteY25" fmla="*/ 4245961 h 6187444"/>
                    <a:gd name="connsiteX26" fmla="*/ 4084061 w 7177436"/>
                    <a:gd name="connsiteY26" fmla="*/ 4231413 h 6187444"/>
                    <a:gd name="connsiteX27" fmla="*/ 4241165 w 7177436"/>
                    <a:gd name="connsiteY27" fmla="*/ 4074309 h 6187444"/>
                    <a:gd name="connsiteX28" fmla="*/ 4265111 w 7177436"/>
                    <a:gd name="connsiteY28" fmla="*/ 4061312 h 6187444"/>
                    <a:gd name="connsiteX29" fmla="*/ 4220155 w 7177436"/>
                    <a:gd name="connsiteY29" fmla="*/ 4024220 h 6187444"/>
                    <a:gd name="connsiteX30" fmla="*/ 4076751 w 7177436"/>
                    <a:gd name="connsiteY30" fmla="*/ 3678012 h 6187444"/>
                    <a:gd name="connsiteX31" fmla="*/ 4566363 w 7177436"/>
                    <a:gd name="connsiteY31" fmla="*/ 3188400 h 6187444"/>
                    <a:gd name="connsiteX32" fmla="*/ 5055975 w 7177436"/>
                    <a:gd name="connsiteY32" fmla="*/ 3678012 h 6187444"/>
                    <a:gd name="connsiteX33" fmla="*/ 4912571 w 7177436"/>
                    <a:gd name="connsiteY33" fmla="*/ 4024220 h 6187444"/>
                    <a:gd name="connsiteX34" fmla="*/ 4867615 w 7177436"/>
                    <a:gd name="connsiteY34" fmla="*/ 4061312 h 6187444"/>
                    <a:gd name="connsiteX35" fmla="*/ 4891562 w 7177436"/>
                    <a:gd name="connsiteY35" fmla="*/ 4074309 h 6187444"/>
                    <a:gd name="connsiteX36" fmla="*/ 5148000 w 7177436"/>
                    <a:gd name="connsiteY36" fmla="*/ 4556612 h 6187444"/>
                    <a:gd name="connsiteX37" fmla="*/ 5146625 w 7177436"/>
                    <a:gd name="connsiteY37" fmla="*/ 4570249 h 6187444"/>
                    <a:gd name="connsiteX38" fmla="*/ 4958600 w 7177436"/>
                    <a:gd name="connsiteY38" fmla="*/ 4570249 h 6187444"/>
                    <a:gd name="connsiteX39" fmla="*/ 4961353 w 7177436"/>
                    <a:gd name="connsiteY39" fmla="*/ 4556612 h 6187444"/>
                    <a:gd name="connsiteX40" fmla="*/ 4645968 w 7177436"/>
                    <a:gd name="connsiteY40" fmla="*/ 4169647 h 6187444"/>
                    <a:gd name="connsiteX41" fmla="*/ 4596132 w 7177436"/>
                    <a:gd name="connsiteY41" fmla="*/ 4164623 h 6187444"/>
                    <a:gd name="connsiteX42" fmla="*/ 4566363 w 7177436"/>
                    <a:gd name="connsiteY42" fmla="*/ 4167624 h 6187444"/>
                    <a:gd name="connsiteX43" fmla="*/ 4536594 w 7177436"/>
                    <a:gd name="connsiteY43" fmla="*/ 4164623 h 6187444"/>
                    <a:gd name="connsiteX44" fmla="*/ 4486759 w 7177436"/>
                    <a:gd name="connsiteY44" fmla="*/ 4169647 h 6187444"/>
                    <a:gd name="connsiteX45" fmla="*/ 4171373 w 7177436"/>
                    <a:gd name="connsiteY45" fmla="*/ 4556612 h 6187444"/>
                    <a:gd name="connsiteX46" fmla="*/ 4174126 w 7177436"/>
                    <a:gd name="connsiteY46" fmla="*/ 4570249 h 6187444"/>
                    <a:gd name="connsiteX47" fmla="*/ 4166742 w 7177436"/>
                    <a:gd name="connsiteY47" fmla="*/ 4570249 h 6187444"/>
                    <a:gd name="connsiteX48" fmla="*/ 4162929 w 7177436"/>
                    <a:gd name="connsiteY48" fmla="*/ 4630691 h 6187444"/>
                    <a:gd name="connsiteX49" fmla="*/ 3911164 w 7177436"/>
                    <a:gd name="connsiteY49" fmla="*/ 5038915 h 6187444"/>
                    <a:gd name="connsiteX50" fmla="*/ 3906556 w 7177436"/>
                    <a:gd name="connsiteY50" fmla="*/ 5041416 h 6187444"/>
                    <a:gd name="connsiteX51" fmla="*/ 3975245 w 7177436"/>
                    <a:gd name="connsiteY51" fmla="*/ 5074305 h 6187444"/>
                    <a:gd name="connsiteX52" fmla="*/ 4352143 w 7177436"/>
                    <a:gd name="connsiteY52" fmla="*/ 5608871 h 6187444"/>
                    <a:gd name="connsiteX53" fmla="*/ 4365798 w 7177436"/>
                    <a:gd name="connsiteY53" fmla="*/ 5747903 h 6187444"/>
                    <a:gd name="connsiteX54" fmla="*/ 4173601 w 7177436"/>
                    <a:gd name="connsiteY54" fmla="*/ 5747903 h 6187444"/>
                    <a:gd name="connsiteX55" fmla="*/ 4163832 w 7177436"/>
                    <a:gd name="connsiteY55" fmla="*/ 5647609 h 6187444"/>
                    <a:gd name="connsiteX56" fmla="*/ 3585966 w 7177436"/>
                    <a:gd name="connsiteY56" fmla="*/ 5160175 h 6187444"/>
                    <a:gd name="connsiteX57" fmla="*/ 3008101 w 7177436"/>
                    <a:gd name="connsiteY57" fmla="*/ 5647609 h 6187444"/>
                    <a:gd name="connsiteX58" fmla="*/ 2998332 w 7177436"/>
                    <a:gd name="connsiteY58" fmla="*/ 5747903 h 6187444"/>
                    <a:gd name="connsiteX59" fmla="*/ 2806135 w 7177436"/>
                    <a:gd name="connsiteY59" fmla="*/ 5747903 h 6187444"/>
                    <a:gd name="connsiteX60" fmla="*/ 2819790 w 7177436"/>
                    <a:gd name="connsiteY60" fmla="*/ 5608871 h 6187444"/>
                    <a:gd name="connsiteX61" fmla="*/ 3196688 w 7177436"/>
                    <a:gd name="connsiteY61" fmla="*/ 5074305 h 6187444"/>
                    <a:gd name="connsiteX62" fmla="*/ 3265375 w 7177436"/>
                    <a:gd name="connsiteY62" fmla="*/ 5041416 h 6187444"/>
                    <a:gd name="connsiteX63" fmla="*/ 3260767 w 7177436"/>
                    <a:gd name="connsiteY63" fmla="*/ 5038915 h 6187444"/>
                    <a:gd name="connsiteX64" fmla="*/ 3022640 w 7177436"/>
                    <a:gd name="connsiteY64" fmla="*/ 4701972 h 6187444"/>
                    <a:gd name="connsiteX65" fmla="*/ 3006046 w 7177436"/>
                    <a:gd name="connsiteY65" fmla="*/ 4570249 h 6187444"/>
                    <a:gd name="connsiteX66" fmla="*/ 3002751 w 7177436"/>
                    <a:gd name="connsiteY66" fmla="*/ 4570249 h 6187444"/>
                    <a:gd name="connsiteX67" fmla="*/ 3004780 w 7177436"/>
                    <a:gd name="connsiteY67" fmla="*/ 4560199 h 6187444"/>
                    <a:gd name="connsiteX68" fmla="*/ 3004328 w 7177436"/>
                    <a:gd name="connsiteY68" fmla="*/ 4556612 h 6187444"/>
                    <a:gd name="connsiteX69" fmla="*/ 3004916 w 7177436"/>
                    <a:gd name="connsiteY69" fmla="*/ 4550779 h 6187444"/>
                    <a:gd name="connsiteX70" fmla="*/ 2997491 w 7177436"/>
                    <a:gd name="connsiteY70" fmla="*/ 4477120 h 6187444"/>
                    <a:gd name="connsiteX71" fmla="*/ 2680894 w 7177436"/>
                    <a:gd name="connsiteY71" fmla="*/ 4168341 h 6187444"/>
                    <a:gd name="connsiteX72" fmla="*/ 2639865 w 7177436"/>
                    <a:gd name="connsiteY72" fmla="*/ 4164721 h 6187444"/>
                    <a:gd name="connsiteX73" fmla="*/ 2611073 w 7177436"/>
                    <a:gd name="connsiteY73" fmla="*/ 4167624 h 6187444"/>
                    <a:gd name="connsiteX74" fmla="*/ 2584076 w 7177436"/>
                    <a:gd name="connsiteY74" fmla="*/ 4164902 h 6187444"/>
                    <a:gd name="connsiteX75" fmla="*/ 2531581 w 7177436"/>
                    <a:gd name="connsiteY75" fmla="*/ 4170194 h 6187444"/>
                    <a:gd name="connsiteX76" fmla="*/ 2216642 w 7177436"/>
                    <a:gd name="connsiteY76" fmla="*/ 4556612 h 6187444"/>
                    <a:gd name="connsiteX77" fmla="*/ 2219396 w 7177436"/>
                    <a:gd name="connsiteY77" fmla="*/ 4570249 h 6187444"/>
                    <a:gd name="connsiteX78" fmla="*/ 2030811 w 7177436"/>
                    <a:gd name="connsiteY78" fmla="*/ 4570249 h 6187444"/>
                    <a:gd name="connsiteX79" fmla="*/ 2029436 w 7177436"/>
                    <a:gd name="connsiteY79" fmla="*/ 4556612 h 6187444"/>
                    <a:gd name="connsiteX80" fmla="*/ 2285874 w 7177436"/>
                    <a:gd name="connsiteY80" fmla="*/ 4074309 h 6187444"/>
                    <a:gd name="connsiteX81" fmla="*/ 2309821 w 7177436"/>
                    <a:gd name="connsiteY81" fmla="*/ 4061312 h 6187444"/>
                    <a:gd name="connsiteX82" fmla="*/ 2264865 w 7177436"/>
                    <a:gd name="connsiteY82" fmla="*/ 4024220 h 6187444"/>
                    <a:gd name="connsiteX83" fmla="*/ 2121461 w 7177436"/>
                    <a:gd name="connsiteY83" fmla="*/ 3678012 h 6187444"/>
                    <a:gd name="connsiteX84" fmla="*/ 2611073 w 7177436"/>
                    <a:gd name="connsiteY84" fmla="*/ 3188400 h 6187444"/>
                    <a:gd name="connsiteX85" fmla="*/ 3588718 w 7177436"/>
                    <a:gd name="connsiteY85" fmla="*/ 267928 h 6187444"/>
                    <a:gd name="connsiteX86" fmla="*/ 234386 w 7177436"/>
                    <a:gd name="connsiteY86" fmla="*/ 6051259 h 6187444"/>
                    <a:gd name="connsiteX87" fmla="*/ 6943050 w 7177436"/>
                    <a:gd name="connsiteY87" fmla="*/ 6051259 h 6187444"/>
                    <a:gd name="connsiteX88" fmla="*/ 3588718 w 7177436"/>
                    <a:gd name="connsiteY88" fmla="*/ 0 h 6187444"/>
                    <a:gd name="connsiteX89" fmla="*/ 7177436 w 7177436"/>
                    <a:gd name="connsiteY89" fmla="*/ 6187444 h 6187444"/>
                    <a:gd name="connsiteX90" fmla="*/ 0 w 7177436"/>
                    <a:gd name="connsiteY90" fmla="*/ 6187444 h 61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177436" h="6187444">
                      <a:moveTo>
                        <a:pt x="3585965" y="4180339"/>
                      </a:moveTo>
                      <a:cubicBezTo>
                        <a:pt x="3378155" y="4180339"/>
                        <a:pt x="3209692" y="4348802"/>
                        <a:pt x="3209692" y="4556612"/>
                      </a:cubicBezTo>
                      <a:cubicBezTo>
                        <a:pt x="3209692" y="4764422"/>
                        <a:pt x="3378155" y="4932885"/>
                        <a:pt x="3585965" y="4932885"/>
                      </a:cubicBezTo>
                      <a:cubicBezTo>
                        <a:pt x="3793775" y="4932885"/>
                        <a:pt x="3962238" y="4764422"/>
                        <a:pt x="3962238" y="4556612"/>
                      </a:cubicBezTo>
                      <a:cubicBezTo>
                        <a:pt x="3962238" y="4348802"/>
                        <a:pt x="3793775" y="4180339"/>
                        <a:pt x="3585965" y="4180339"/>
                      </a:cubicBezTo>
                      <a:close/>
                      <a:moveTo>
                        <a:pt x="4566363" y="3386311"/>
                      </a:moveTo>
                      <a:cubicBezTo>
                        <a:pt x="4405261" y="3386311"/>
                        <a:pt x="4274662" y="3516910"/>
                        <a:pt x="4274662" y="3678012"/>
                      </a:cubicBezTo>
                      <a:cubicBezTo>
                        <a:pt x="4274662" y="3839114"/>
                        <a:pt x="4405261" y="3969713"/>
                        <a:pt x="4566363" y="3969713"/>
                      </a:cubicBezTo>
                      <a:cubicBezTo>
                        <a:pt x="4727465" y="3969713"/>
                        <a:pt x="4858064" y="3839114"/>
                        <a:pt x="4858064" y="3678012"/>
                      </a:cubicBezTo>
                      <a:cubicBezTo>
                        <a:pt x="4858064" y="3516910"/>
                        <a:pt x="4727465" y="3386311"/>
                        <a:pt x="4566363" y="3386311"/>
                      </a:cubicBezTo>
                      <a:close/>
                      <a:moveTo>
                        <a:pt x="2611073" y="3386164"/>
                      </a:moveTo>
                      <a:cubicBezTo>
                        <a:pt x="2449890" y="3386164"/>
                        <a:pt x="2319225" y="3516829"/>
                        <a:pt x="2319225" y="3678012"/>
                      </a:cubicBezTo>
                      <a:cubicBezTo>
                        <a:pt x="2319225" y="3839195"/>
                        <a:pt x="2449890" y="3969860"/>
                        <a:pt x="2611073" y="3969860"/>
                      </a:cubicBezTo>
                      <a:cubicBezTo>
                        <a:pt x="2772256" y="3969860"/>
                        <a:pt x="2902921" y="3839195"/>
                        <a:pt x="2902921" y="3678012"/>
                      </a:cubicBezTo>
                      <a:cubicBezTo>
                        <a:pt x="2902921" y="3516829"/>
                        <a:pt x="2772256" y="3386164"/>
                        <a:pt x="2611073" y="3386164"/>
                      </a:cubicBezTo>
                      <a:close/>
                      <a:moveTo>
                        <a:pt x="2611073" y="3188400"/>
                      </a:moveTo>
                      <a:cubicBezTo>
                        <a:pt x="2881478" y="3188400"/>
                        <a:pt x="3100685" y="3407607"/>
                        <a:pt x="3100685" y="3678012"/>
                      </a:cubicBezTo>
                      <a:cubicBezTo>
                        <a:pt x="3100685" y="3813214"/>
                        <a:pt x="3045884" y="3935617"/>
                        <a:pt x="2957281" y="4024220"/>
                      </a:cubicBezTo>
                      <a:lnTo>
                        <a:pt x="2911722" y="4061809"/>
                      </a:lnTo>
                      <a:lnTo>
                        <a:pt x="3002153" y="4126074"/>
                      </a:lnTo>
                      <a:cubicBezTo>
                        <a:pt x="3036583" y="4157367"/>
                        <a:pt x="3067245" y="4192734"/>
                        <a:pt x="3093376" y="4231413"/>
                      </a:cubicBezTo>
                      <a:lnTo>
                        <a:pt x="3098519" y="4240889"/>
                      </a:lnTo>
                      <a:lnTo>
                        <a:pt x="3103663" y="4231413"/>
                      </a:lnTo>
                      <a:cubicBezTo>
                        <a:pt x="3208187" y="4076697"/>
                        <a:pt x="3385197" y="3974975"/>
                        <a:pt x="3585965" y="3974975"/>
                      </a:cubicBezTo>
                      <a:cubicBezTo>
                        <a:pt x="3786733" y="3974975"/>
                        <a:pt x="3963743" y="4076697"/>
                        <a:pt x="4068268" y="4231413"/>
                      </a:cubicBezTo>
                      <a:lnTo>
                        <a:pt x="4076164" y="4245961"/>
                      </a:lnTo>
                      <a:lnTo>
                        <a:pt x="4084061" y="4231413"/>
                      </a:lnTo>
                      <a:cubicBezTo>
                        <a:pt x="4125871" y="4169527"/>
                        <a:pt x="4179278" y="4116119"/>
                        <a:pt x="4241165" y="4074309"/>
                      </a:cubicBezTo>
                      <a:lnTo>
                        <a:pt x="4265111" y="4061312"/>
                      </a:lnTo>
                      <a:lnTo>
                        <a:pt x="4220155" y="4024220"/>
                      </a:lnTo>
                      <a:cubicBezTo>
                        <a:pt x="4131553" y="3935617"/>
                        <a:pt x="4076751" y="3813214"/>
                        <a:pt x="4076751" y="3678012"/>
                      </a:cubicBezTo>
                      <a:cubicBezTo>
                        <a:pt x="4076751" y="3407607"/>
                        <a:pt x="4295958" y="3188400"/>
                        <a:pt x="4566363" y="3188400"/>
                      </a:cubicBezTo>
                      <a:cubicBezTo>
                        <a:pt x="4836768" y="3188400"/>
                        <a:pt x="5055975" y="3407607"/>
                        <a:pt x="5055975" y="3678012"/>
                      </a:cubicBezTo>
                      <a:cubicBezTo>
                        <a:pt x="5055975" y="3813214"/>
                        <a:pt x="5001173" y="3935617"/>
                        <a:pt x="4912571" y="4024220"/>
                      </a:cubicBezTo>
                      <a:lnTo>
                        <a:pt x="4867615" y="4061312"/>
                      </a:lnTo>
                      <a:lnTo>
                        <a:pt x="4891562" y="4074309"/>
                      </a:lnTo>
                      <a:cubicBezTo>
                        <a:pt x="5046278" y="4178834"/>
                        <a:pt x="5148000" y="4355844"/>
                        <a:pt x="5148000" y="4556612"/>
                      </a:cubicBezTo>
                      <a:lnTo>
                        <a:pt x="5146625" y="4570249"/>
                      </a:lnTo>
                      <a:lnTo>
                        <a:pt x="4958600" y="4570249"/>
                      </a:lnTo>
                      <a:lnTo>
                        <a:pt x="4961353" y="4556612"/>
                      </a:lnTo>
                      <a:cubicBezTo>
                        <a:pt x="4961353" y="4365733"/>
                        <a:pt x="4825958" y="4206478"/>
                        <a:pt x="4645968" y="4169647"/>
                      </a:cubicBezTo>
                      <a:lnTo>
                        <a:pt x="4596132" y="4164623"/>
                      </a:lnTo>
                      <a:lnTo>
                        <a:pt x="4566363" y="4167624"/>
                      </a:lnTo>
                      <a:lnTo>
                        <a:pt x="4536594" y="4164623"/>
                      </a:lnTo>
                      <a:lnTo>
                        <a:pt x="4486759" y="4169647"/>
                      </a:lnTo>
                      <a:cubicBezTo>
                        <a:pt x="4306769" y="4206478"/>
                        <a:pt x="4171373" y="4365733"/>
                        <a:pt x="4171373" y="4556612"/>
                      </a:cubicBezTo>
                      <a:lnTo>
                        <a:pt x="4174126" y="4570249"/>
                      </a:lnTo>
                      <a:lnTo>
                        <a:pt x="4166742" y="4570249"/>
                      </a:lnTo>
                      <a:lnTo>
                        <a:pt x="4162929" y="4630691"/>
                      </a:lnTo>
                      <a:cubicBezTo>
                        <a:pt x="4141344" y="4800500"/>
                        <a:pt x="4046541" y="4947455"/>
                        <a:pt x="3911164" y="5038915"/>
                      </a:cubicBezTo>
                      <a:lnTo>
                        <a:pt x="3906556" y="5041416"/>
                      </a:lnTo>
                      <a:lnTo>
                        <a:pt x="3975245" y="5074305"/>
                      </a:lnTo>
                      <a:cubicBezTo>
                        <a:pt x="4166302" y="5187061"/>
                        <a:pt x="4306565" y="5380266"/>
                        <a:pt x="4352143" y="5608871"/>
                      </a:cubicBezTo>
                      <a:lnTo>
                        <a:pt x="4365798" y="5747903"/>
                      </a:lnTo>
                      <a:lnTo>
                        <a:pt x="4173601" y="5747903"/>
                      </a:lnTo>
                      <a:lnTo>
                        <a:pt x="4163832" y="5647609"/>
                      </a:lnTo>
                      <a:cubicBezTo>
                        <a:pt x="4108830" y="5369431"/>
                        <a:pt x="3871011" y="5160175"/>
                        <a:pt x="3585966" y="5160175"/>
                      </a:cubicBezTo>
                      <a:cubicBezTo>
                        <a:pt x="3300922" y="5160175"/>
                        <a:pt x="3063102" y="5369431"/>
                        <a:pt x="3008101" y="5647609"/>
                      </a:cubicBezTo>
                      <a:lnTo>
                        <a:pt x="2998332" y="5747903"/>
                      </a:lnTo>
                      <a:lnTo>
                        <a:pt x="2806135" y="5747903"/>
                      </a:lnTo>
                      <a:lnTo>
                        <a:pt x="2819790" y="5608871"/>
                      </a:lnTo>
                      <a:cubicBezTo>
                        <a:pt x="2865368" y="5380266"/>
                        <a:pt x="3005632" y="5187061"/>
                        <a:pt x="3196688" y="5074305"/>
                      </a:cubicBezTo>
                      <a:lnTo>
                        <a:pt x="3265375" y="5041416"/>
                      </a:lnTo>
                      <a:lnTo>
                        <a:pt x="3260767" y="5038915"/>
                      </a:lnTo>
                      <a:cubicBezTo>
                        <a:pt x="3144729" y="4960521"/>
                        <a:pt x="3058501" y="4841354"/>
                        <a:pt x="3022640" y="4701972"/>
                      </a:cubicBezTo>
                      <a:lnTo>
                        <a:pt x="3006046" y="4570249"/>
                      </a:lnTo>
                      <a:lnTo>
                        <a:pt x="3002751" y="4570249"/>
                      </a:lnTo>
                      <a:lnTo>
                        <a:pt x="3004780" y="4560199"/>
                      </a:lnTo>
                      <a:lnTo>
                        <a:pt x="3004328" y="4556612"/>
                      </a:lnTo>
                      <a:lnTo>
                        <a:pt x="3004916" y="4550779"/>
                      </a:lnTo>
                      <a:lnTo>
                        <a:pt x="2997491" y="4477120"/>
                      </a:lnTo>
                      <a:cubicBezTo>
                        <a:pt x="2965309" y="4319852"/>
                        <a:pt x="2839529" y="4196678"/>
                        <a:pt x="2680894" y="4168341"/>
                      </a:cubicBezTo>
                      <a:lnTo>
                        <a:pt x="2639865" y="4164721"/>
                      </a:lnTo>
                      <a:lnTo>
                        <a:pt x="2611073" y="4167624"/>
                      </a:lnTo>
                      <a:lnTo>
                        <a:pt x="2584076" y="4164902"/>
                      </a:lnTo>
                      <a:lnTo>
                        <a:pt x="2531581" y="4170194"/>
                      </a:lnTo>
                      <a:cubicBezTo>
                        <a:pt x="2351846" y="4206973"/>
                        <a:pt x="2216642" y="4366004"/>
                        <a:pt x="2216642" y="4556612"/>
                      </a:cubicBezTo>
                      <a:lnTo>
                        <a:pt x="2219396" y="4570249"/>
                      </a:lnTo>
                      <a:lnTo>
                        <a:pt x="2030811" y="4570249"/>
                      </a:lnTo>
                      <a:lnTo>
                        <a:pt x="2029436" y="4556612"/>
                      </a:lnTo>
                      <a:cubicBezTo>
                        <a:pt x="2029436" y="4355844"/>
                        <a:pt x="2131158" y="4178834"/>
                        <a:pt x="2285874" y="4074309"/>
                      </a:cubicBezTo>
                      <a:lnTo>
                        <a:pt x="2309821" y="4061312"/>
                      </a:lnTo>
                      <a:lnTo>
                        <a:pt x="2264865" y="4024220"/>
                      </a:lnTo>
                      <a:cubicBezTo>
                        <a:pt x="2176263" y="3935617"/>
                        <a:pt x="2121461" y="3813214"/>
                        <a:pt x="2121461" y="3678012"/>
                      </a:cubicBezTo>
                      <a:cubicBezTo>
                        <a:pt x="2121461" y="3407607"/>
                        <a:pt x="2340668" y="3188400"/>
                        <a:pt x="2611073" y="3188400"/>
                      </a:cubicBezTo>
                      <a:close/>
                      <a:moveTo>
                        <a:pt x="3588718" y="267928"/>
                      </a:moveTo>
                      <a:lnTo>
                        <a:pt x="234386" y="6051259"/>
                      </a:lnTo>
                      <a:lnTo>
                        <a:pt x="6943050" y="6051259"/>
                      </a:lnTo>
                      <a:close/>
                      <a:moveTo>
                        <a:pt x="3588718" y="0"/>
                      </a:moveTo>
                      <a:lnTo>
                        <a:pt x="7177436" y="6187444"/>
                      </a:lnTo>
                      <a:lnTo>
                        <a:pt x="0" y="6187444"/>
                      </a:lnTo>
                      <a:close/>
                    </a:path>
                  </a:pathLst>
                </a:custGeom>
                <a:solidFill>
                  <a:srgbClr val="757575"/>
                </a:solidFill>
                <a:ln w="152400"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marL="0" marR="0" lvl="0" indent="0" algn="ctr" defTabSz="672071" rtl="0" eaLnBrk="0" fontAlgn="base" latinLnBrk="0" hangingPunct="0">
                    <a:lnSpc>
                      <a:spcPct val="90000"/>
                    </a:lnSpc>
                    <a:spcBef>
                      <a:spcPct val="0"/>
                    </a:spcBef>
                    <a:spcAft>
                      <a:spcPct val="0"/>
                    </a:spcAft>
                    <a:buClrTx/>
                    <a:buSzTx/>
                    <a:buFontTx/>
                    <a:buNone/>
                    <a:tabLst/>
                    <a:defRPr/>
                  </a:pPr>
                  <a:endParaRPr kumimoji="0" lang="en-US" sz="173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Freeform: Shape 87">
                  <a:extLst>
                    <a:ext uri="{FF2B5EF4-FFF2-40B4-BE49-F238E27FC236}">
                      <a16:creationId xmlns:a16="http://schemas.microsoft.com/office/drawing/2014/main" id="{74A57EC6-3B2D-4B5A-9801-C84CDD7892DB}"/>
                    </a:ext>
                  </a:extLst>
                </p:cNvPr>
                <p:cNvSpPr>
                  <a:spLocks noChangeAspect="1"/>
                </p:cNvSpPr>
                <p:nvPr/>
              </p:nvSpPr>
              <p:spPr bwMode="auto">
                <a:xfrm>
                  <a:off x="5650504" y="2028276"/>
                  <a:ext cx="606954" cy="678790"/>
                </a:xfrm>
                <a:custGeom>
                  <a:avLst/>
                  <a:gdLst>
                    <a:gd name="connsiteX0" fmla="*/ 785941 w 1571882"/>
                    <a:gd name="connsiteY0" fmla="*/ 159127 h 1757927"/>
                    <a:gd name="connsiteX1" fmla="*/ 388173 w 1571882"/>
                    <a:gd name="connsiteY1" fmla="*/ 556895 h 1757927"/>
                    <a:gd name="connsiteX2" fmla="*/ 785941 w 1571882"/>
                    <a:gd name="connsiteY2" fmla="*/ 954663 h 1757927"/>
                    <a:gd name="connsiteX3" fmla="*/ 1183709 w 1571882"/>
                    <a:gd name="connsiteY3" fmla="*/ 556895 h 1757927"/>
                    <a:gd name="connsiteX4" fmla="*/ 785941 w 1571882"/>
                    <a:gd name="connsiteY4" fmla="*/ 159127 h 1757927"/>
                    <a:gd name="connsiteX5" fmla="*/ 785941 w 1571882"/>
                    <a:gd name="connsiteY5" fmla="*/ 0 h 1757927"/>
                    <a:gd name="connsiteX6" fmla="*/ 1342836 w 1571882"/>
                    <a:gd name="connsiteY6" fmla="*/ 556895 h 1757927"/>
                    <a:gd name="connsiteX7" fmla="*/ 1097306 w 1571882"/>
                    <a:gd name="connsiteY7" fmla="*/ 1018681 h 1757927"/>
                    <a:gd name="connsiteX8" fmla="*/ 1094968 w 1571882"/>
                    <a:gd name="connsiteY8" fmla="*/ 1019951 h 1757927"/>
                    <a:gd name="connsiteX9" fmla="*/ 1225368 w 1571882"/>
                    <a:gd name="connsiteY9" fmla="*/ 1090729 h 1757927"/>
                    <a:gd name="connsiteX10" fmla="*/ 1571882 w 1571882"/>
                    <a:gd name="connsiteY10" fmla="*/ 1742444 h 1757927"/>
                    <a:gd name="connsiteX11" fmla="*/ 1570321 w 1571882"/>
                    <a:gd name="connsiteY11" fmla="*/ 1757927 h 1757927"/>
                    <a:gd name="connsiteX12" fmla="*/ 1414642 w 1571882"/>
                    <a:gd name="connsiteY12" fmla="*/ 1757927 h 1757927"/>
                    <a:gd name="connsiteX13" fmla="*/ 1416203 w 1571882"/>
                    <a:gd name="connsiteY13" fmla="*/ 1742444 h 1757927"/>
                    <a:gd name="connsiteX14" fmla="*/ 912961 w 1571882"/>
                    <a:gd name="connsiteY14" fmla="*/ 1124987 h 1757927"/>
                    <a:gd name="connsiteX15" fmla="*/ 793917 w 1571882"/>
                    <a:gd name="connsiteY15" fmla="*/ 1112986 h 1757927"/>
                    <a:gd name="connsiteX16" fmla="*/ 785941 w 1571882"/>
                    <a:gd name="connsiteY16" fmla="*/ 1113790 h 1757927"/>
                    <a:gd name="connsiteX17" fmla="*/ 777966 w 1571882"/>
                    <a:gd name="connsiteY17" fmla="*/ 1112986 h 1757927"/>
                    <a:gd name="connsiteX18" fmla="*/ 658921 w 1571882"/>
                    <a:gd name="connsiteY18" fmla="*/ 1124987 h 1757927"/>
                    <a:gd name="connsiteX19" fmla="*/ 155679 w 1571882"/>
                    <a:gd name="connsiteY19" fmla="*/ 1742444 h 1757927"/>
                    <a:gd name="connsiteX20" fmla="*/ 157240 w 1571882"/>
                    <a:gd name="connsiteY20" fmla="*/ 1757927 h 1757927"/>
                    <a:gd name="connsiteX21" fmla="*/ 1561 w 1571882"/>
                    <a:gd name="connsiteY21" fmla="*/ 1757927 h 1757927"/>
                    <a:gd name="connsiteX22" fmla="*/ 0 w 1571882"/>
                    <a:gd name="connsiteY22" fmla="*/ 1742444 h 1757927"/>
                    <a:gd name="connsiteX23" fmla="*/ 346514 w 1571882"/>
                    <a:gd name="connsiteY23" fmla="*/ 1090729 h 1757927"/>
                    <a:gd name="connsiteX24" fmla="*/ 476914 w 1571882"/>
                    <a:gd name="connsiteY24" fmla="*/ 1019951 h 1757927"/>
                    <a:gd name="connsiteX25" fmla="*/ 474576 w 1571882"/>
                    <a:gd name="connsiteY25" fmla="*/ 1018681 h 1757927"/>
                    <a:gd name="connsiteX26" fmla="*/ 229046 w 1571882"/>
                    <a:gd name="connsiteY26" fmla="*/ 556895 h 1757927"/>
                    <a:gd name="connsiteX27" fmla="*/ 785941 w 1571882"/>
                    <a:gd name="connsiteY27" fmla="*/ 0 h 175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1882" h="1757927">
                      <a:moveTo>
                        <a:pt x="785941" y="159127"/>
                      </a:moveTo>
                      <a:cubicBezTo>
                        <a:pt x="566260" y="159127"/>
                        <a:pt x="388173" y="337214"/>
                        <a:pt x="388173" y="556895"/>
                      </a:cubicBezTo>
                      <a:cubicBezTo>
                        <a:pt x="388173" y="776576"/>
                        <a:pt x="566260" y="954663"/>
                        <a:pt x="785941" y="954663"/>
                      </a:cubicBezTo>
                      <a:cubicBezTo>
                        <a:pt x="1005622" y="954663"/>
                        <a:pt x="1183709" y="776576"/>
                        <a:pt x="1183709" y="556895"/>
                      </a:cubicBezTo>
                      <a:cubicBezTo>
                        <a:pt x="1183709" y="337214"/>
                        <a:pt x="1005622" y="159127"/>
                        <a:pt x="785941" y="159127"/>
                      </a:cubicBezTo>
                      <a:close/>
                      <a:moveTo>
                        <a:pt x="785941" y="0"/>
                      </a:moveTo>
                      <a:cubicBezTo>
                        <a:pt x="1093506" y="0"/>
                        <a:pt x="1342836" y="249330"/>
                        <a:pt x="1342836" y="556895"/>
                      </a:cubicBezTo>
                      <a:cubicBezTo>
                        <a:pt x="1342836" y="749123"/>
                        <a:pt x="1245442" y="918603"/>
                        <a:pt x="1097306" y="1018681"/>
                      </a:cubicBezTo>
                      <a:lnTo>
                        <a:pt x="1094968" y="1019951"/>
                      </a:lnTo>
                      <a:lnTo>
                        <a:pt x="1225368" y="1090729"/>
                      </a:lnTo>
                      <a:cubicBezTo>
                        <a:pt x="1434430" y="1231969"/>
                        <a:pt x="1571882" y="1471155"/>
                        <a:pt x="1571882" y="1742444"/>
                      </a:cubicBezTo>
                      <a:lnTo>
                        <a:pt x="1570321" y="1757927"/>
                      </a:lnTo>
                      <a:lnTo>
                        <a:pt x="1414642" y="1757927"/>
                      </a:lnTo>
                      <a:lnTo>
                        <a:pt x="1416203" y="1742444"/>
                      </a:lnTo>
                      <a:cubicBezTo>
                        <a:pt x="1416203" y="1437871"/>
                        <a:pt x="1200160" y="1183756"/>
                        <a:pt x="912961" y="1124987"/>
                      </a:cubicBezTo>
                      <a:lnTo>
                        <a:pt x="793917" y="1112986"/>
                      </a:lnTo>
                      <a:lnTo>
                        <a:pt x="785941" y="1113790"/>
                      </a:lnTo>
                      <a:lnTo>
                        <a:pt x="777966" y="1112986"/>
                      </a:lnTo>
                      <a:lnTo>
                        <a:pt x="658921" y="1124987"/>
                      </a:lnTo>
                      <a:cubicBezTo>
                        <a:pt x="371722" y="1183756"/>
                        <a:pt x="155679" y="1437871"/>
                        <a:pt x="155679" y="1742444"/>
                      </a:cubicBezTo>
                      <a:lnTo>
                        <a:pt x="157240" y="1757927"/>
                      </a:lnTo>
                      <a:lnTo>
                        <a:pt x="1561" y="1757927"/>
                      </a:lnTo>
                      <a:lnTo>
                        <a:pt x="0" y="1742444"/>
                      </a:lnTo>
                      <a:cubicBezTo>
                        <a:pt x="0" y="1471155"/>
                        <a:pt x="137452" y="1231969"/>
                        <a:pt x="346514" y="1090729"/>
                      </a:cubicBezTo>
                      <a:lnTo>
                        <a:pt x="476914" y="1019951"/>
                      </a:lnTo>
                      <a:lnTo>
                        <a:pt x="474576" y="1018681"/>
                      </a:lnTo>
                      <a:cubicBezTo>
                        <a:pt x="326441" y="918603"/>
                        <a:pt x="229046" y="749123"/>
                        <a:pt x="229046" y="556895"/>
                      </a:cubicBezTo>
                      <a:cubicBezTo>
                        <a:pt x="229046" y="249330"/>
                        <a:pt x="478376" y="0"/>
                        <a:pt x="785941" y="0"/>
                      </a:cubicBezTo>
                      <a:close/>
                    </a:path>
                  </a:pathLst>
                </a:custGeom>
                <a:solidFill>
                  <a:srgbClr val="EAEAEA">
                    <a:lumMod val="50000"/>
                  </a:srgbClr>
                </a:solidFill>
                <a:ln w="10795" cap="flat" cmpd="sng" algn="ctr">
                  <a:noFill/>
                  <a:prstDash val="solid"/>
                  <a:headEnd type="none" w="med" len="med"/>
                  <a:tailEnd type="none" w="med" len="med"/>
                </a:ln>
                <a:effectLst/>
              </p:spPr>
              <p:txBody>
                <a:bodyPr vert="horz" wrap="square" lIns="0" tIns="33616" rIns="0" bIns="33616" numCol="1" rtlCol="0" anchor="ctr" anchorCtr="0" compatLnSpc="1">
                  <a:prstTxWarp prst="textNoShape">
                    <a:avLst/>
                  </a:prstTxWarp>
                </a:bodyPr>
                <a:lstStyle/>
                <a:p>
                  <a:pPr marL="0" marR="0" lvl="0" indent="0" algn="ctr" defTabSz="672071"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86E27299-64B7-419C-BBB1-77C62DD7170C}"/>
                  </a:ext>
                </a:extLst>
              </p:cNvPr>
              <p:cNvGrpSpPr>
                <a:grpSpLocks noChangeAspect="1"/>
              </p:cNvGrpSpPr>
              <p:nvPr/>
            </p:nvGrpSpPr>
            <p:grpSpPr>
              <a:xfrm>
                <a:off x="3931539" y="980261"/>
                <a:ext cx="469781" cy="469781"/>
                <a:chOff x="4611866" y="1684871"/>
                <a:chExt cx="914400" cy="914400"/>
              </a:xfrm>
            </p:grpSpPr>
            <p:sp>
              <p:nvSpPr>
                <p:cNvPr id="74" name="Oval 73">
                  <a:extLst>
                    <a:ext uri="{FF2B5EF4-FFF2-40B4-BE49-F238E27FC236}">
                      <a16:creationId xmlns:a16="http://schemas.microsoft.com/office/drawing/2014/main" id="{32972D17-CC9D-44EA-8642-16D89E6CE4F6}"/>
                    </a:ext>
                  </a:extLst>
                </p:cNvPr>
                <p:cNvSpPr>
                  <a:spLocks noChangeAspect="1"/>
                </p:cNvSpPr>
                <p:nvPr/>
              </p:nvSpPr>
              <p:spPr bwMode="auto">
                <a:xfrm>
                  <a:off x="4611866" y="1684871"/>
                  <a:ext cx="914400" cy="9144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75" name="Group 74">
                  <a:extLst>
                    <a:ext uri="{FF2B5EF4-FFF2-40B4-BE49-F238E27FC236}">
                      <a16:creationId xmlns:a16="http://schemas.microsoft.com/office/drawing/2014/main" id="{882620CB-2461-41EC-9372-5849096DF752}"/>
                    </a:ext>
                  </a:extLst>
                </p:cNvPr>
                <p:cNvGrpSpPr>
                  <a:grpSpLocks noChangeAspect="1"/>
                </p:cNvGrpSpPr>
                <p:nvPr/>
              </p:nvGrpSpPr>
              <p:grpSpPr>
                <a:xfrm>
                  <a:off x="4883530" y="1836335"/>
                  <a:ext cx="355944" cy="611472"/>
                  <a:chOff x="9002225" y="4856834"/>
                  <a:chExt cx="250199" cy="429814"/>
                </a:xfrm>
              </p:grpSpPr>
              <p:grpSp>
                <p:nvGrpSpPr>
                  <p:cNvPr id="76" name="Group 75">
                    <a:extLst>
                      <a:ext uri="{FF2B5EF4-FFF2-40B4-BE49-F238E27FC236}">
                        <a16:creationId xmlns:a16="http://schemas.microsoft.com/office/drawing/2014/main" id="{EF2A72C3-3CE0-4DC6-8758-D70916B512EE}"/>
                      </a:ext>
                    </a:extLst>
                  </p:cNvPr>
                  <p:cNvGrpSpPr>
                    <a:grpSpLocks noChangeAspect="1"/>
                  </p:cNvGrpSpPr>
                  <p:nvPr/>
                </p:nvGrpSpPr>
                <p:grpSpPr>
                  <a:xfrm>
                    <a:off x="9002225" y="4856834"/>
                    <a:ext cx="250199" cy="429814"/>
                    <a:chOff x="7170738" y="7689850"/>
                    <a:chExt cx="692150" cy="1189038"/>
                  </a:xfrm>
                </p:grpSpPr>
                <p:sp>
                  <p:nvSpPr>
                    <p:cNvPr id="78" name="Freeform 10">
                      <a:extLst>
                        <a:ext uri="{FF2B5EF4-FFF2-40B4-BE49-F238E27FC236}">
                          <a16:creationId xmlns:a16="http://schemas.microsoft.com/office/drawing/2014/main" id="{5E7A722F-E7A9-4441-A3CA-00B81BB01FD9}"/>
                        </a:ext>
                      </a:extLst>
                    </p:cNvPr>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rgbClr val="35353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79" name="Rectangle 11">
                      <a:extLst>
                        <a:ext uri="{FF2B5EF4-FFF2-40B4-BE49-F238E27FC236}">
                          <a16:creationId xmlns:a16="http://schemas.microsoft.com/office/drawing/2014/main" id="{E3105863-D867-43FE-9D68-9D9C2AAE531D}"/>
                        </a:ext>
                      </a:extLst>
                    </p:cNvPr>
                    <p:cNvSpPr>
                      <a:spLocks noChangeArrowheads="1"/>
                    </p:cNvSpPr>
                    <p:nvPr/>
                  </p:nvSpPr>
                  <p:spPr bwMode="auto">
                    <a:xfrm>
                      <a:off x="7239000" y="7758113"/>
                      <a:ext cx="555625" cy="93503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80" name="Rectangle 12">
                      <a:extLst>
                        <a:ext uri="{FF2B5EF4-FFF2-40B4-BE49-F238E27FC236}">
                          <a16:creationId xmlns:a16="http://schemas.microsoft.com/office/drawing/2014/main" id="{2A4998C3-6EAD-4F78-AC7D-E65BD7DDE403}"/>
                        </a:ext>
                      </a:extLst>
                    </p:cNvPr>
                    <p:cNvSpPr>
                      <a:spLocks noChangeArrowheads="1"/>
                    </p:cNvSpPr>
                    <p:nvPr/>
                  </p:nvSpPr>
                  <p:spPr bwMode="auto">
                    <a:xfrm>
                      <a:off x="7239000" y="7758113"/>
                      <a:ext cx="555625" cy="935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81" name="Freeform 13">
                      <a:extLst>
                        <a:ext uri="{FF2B5EF4-FFF2-40B4-BE49-F238E27FC236}">
                          <a16:creationId xmlns:a16="http://schemas.microsoft.com/office/drawing/2014/main" id="{59FBC28F-0E93-489B-9E24-D4703E738876}"/>
                        </a:ext>
                      </a:extLst>
                    </p:cNvPr>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82" name="Rectangle 14">
                      <a:extLst>
                        <a:ext uri="{FF2B5EF4-FFF2-40B4-BE49-F238E27FC236}">
                          <a16:creationId xmlns:a16="http://schemas.microsoft.com/office/drawing/2014/main" id="{954EBC29-0698-4C9C-8B42-BD205C34986C}"/>
                        </a:ext>
                      </a:extLst>
                    </p:cNvPr>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83" name="Freeform 15">
                      <a:extLst>
                        <a:ext uri="{FF2B5EF4-FFF2-40B4-BE49-F238E27FC236}">
                          <a16:creationId xmlns:a16="http://schemas.microsoft.com/office/drawing/2014/main" id="{64432F79-A187-4E11-85D0-C902358CBD0B}"/>
                        </a:ext>
                      </a:extLst>
                    </p:cNvPr>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84" name="Freeform 17">
                      <a:extLst>
                        <a:ext uri="{FF2B5EF4-FFF2-40B4-BE49-F238E27FC236}">
                          <a16:creationId xmlns:a16="http://schemas.microsoft.com/office/drawing/2014/main" id="{CCB62187-AECA-4D1A-97BF-DD93C95C69AD}"/>
                        </a:ext>
                      </a:extLst>
                    </p:cNvPr>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pic>
                <p:nvPicPr>
                  <p:cNvPr id="77" name="Picture 76">
                    <a:extLst>
                      <a:ext uri="{FF2B5EF4-FFF2-40B4-BE49-F238E27FC236}">
                        <a16:creationId xmlns:a16="http://schemas.microsoft.com/office/drawing/2014/main" id="{D31C9473-8E51-4215-B587-0FD2834D5369}"/>
                      </a:ext>
                    </a:extLst>
                  </p:cNvPr>
                  <p:cNvPicPr>
                    <a:picLocks noChangeAspect="1"/>
                  </p:cNvPicPr>
                  <p:nvPr/>
                </p:nvPicPr>
                <p:blipFill rotWithShape="1">
                  <a:blip r:embed="rId19">
                    <a:grayscl/>
                  </a:blip>
                  <a:srcRect b="18759"/>
                  <a:stretch/>
                </p:blipFill>
                <p:spPr>
                  <a:xfrm>
                    <a:off x="9005068" y="4972141"/>
                    <a:ext cx="243413" cy="184157"/>
                  </a:xfrm>
                  <a:prstGeom prst="rect">
                    <a:avLst/>
                  </a:prstGeom>
                </p:spPr>
              </p:pic>
            </p:grpSp>
          </p:grpSp>
          <p:grpSp>
            <p:nvGrpSpPr>
              <p:cNvPr id="45" name="Group 44">
                <a:extLst>
                  <a:ext uri="{FF2B5EF4-FFF2-40B4-BE49-F238E27FC236}">
                    <a16:creationId xmlns:a16="http://schemas.microsoft.com/office/drawing/2014/main" id="{846CF075-F6CE-4BB8-AC6D-15F77A561458}"/>
                  </a:ext>
                </a:extLst>
              </p:cNvPr>
              <p:cNvGrpSpPr/>
              <p:nvPr/>
            </p:nvGrpSpPr>
            <p:grpSpPr>
              <a:xfrm>
                <a:off x="3396948" y="1709364"/>
                <a:ext cx="469781" cy="469781"/>
                <a:chOff x="2696645" y="3621430"/>
                <a:chExt cx="1143000" cy="1143000"/>
              </a:xfrm>
            </p:grpSpPr>
            <p:sp>
              <p:nvSpPr>
                <p:cNvPr id="72" name="Oval 71">
                  <a:extLst>
                    <a:ext uri="{FF2B5EF4-FFF2-40B4-BE49-F238E27FC236}">
                      <a16:creationId xmlns:a16="http://schemas.microsoft.com/office/drawing/2014/main" id="{1D73F5DF-F413-47B3-ABFE-1F3E0B2D8D04}"/>
                    </a:ext>
                  </a:extLst>
                </p:cNvPr>
                <p:cNvSpPr>
                  <a:spLocks noChangeAspect="1"/>
                </p:cNvSpPr>
                <p:nvPr/>
              </p:nvSpPr>
              <p:spPr bwMode="auto">
                <a:xfrm>
                  <a:off x="2696645" y="3621430"/>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pic>
              <p:nvPicPr>
                <p:cNvPr id="73" name="Picture 72">
                  <a:extLst>
                    <a:ext uri="{FF2B5EF4-FFF2-40B4-BE49-F238E27FC236}">
                      <a16:creationId xmlns:a16="http://schemas.microsoft.com/office/drawing/2014/main" id="{1D4F7170-D00A-4A0C-89D4-A3F8C78D3FA1}"/>
                    </a:ext>
                  </a:extLst>
                </p:cNvPr>
                <p:cNvPicPr>
                  <a:picLocks noChangeAspect="1"/>
                </p:cNvPicPr>
                <p:nvPr/>
              </p:nvPicPr>
              <p:blipFill>
                <a:blip r:embed="rId20"/>
                <a:stretch>
                  <a:fillRect/>
                </a:stretch>
              </p:blipFill>
              <p:spPr>
                <a:xfrm>
                  <a:off x="3121593" y="3834621"/>
                  <a:ext cx="289876" cy="717599"/>
                </a:xfrm>
                <a:prstGeom prst="rect">
                  <a:avLst/>
                </a:prstGeom>
              </p:spPr>
            </p:pic>
          </p:grpSp>
          <p:grpSp>
            <p:nvGrpSpPr>
              <p:cNvPr id="46" name="Group 45">
                <a:extLst>
                  <a:ext uri="{FF2B5EF4-FFF2-40B4-BE49-F238E27FC236}">
                    <a16:creationId xmlns:a16="http://schemas.microsoft.com/office/drawing/2014/main" id="{62BE7278-5F16-4453-82AD-DF11E03815A2}"/>
                  </a:ext>
                </a:extLst>
              </p:cNvPr>
              <p:cNvGrpSpPr>
                <a:grpSpLocks noChangeAspect="1"/>
              </p:cNvGrpSpPr>
              <p:nvPr/>
            </p:nvGrpSpPr>
            <p:grpSpPr>
              <a:xfrm>
                <a:off x="3421708" y="3237972"/>
                <a:ext cx="469781" cy="469781"/>
                <a:chOff x="7488915" y="4160672"/>
                <a:chExt cx="914400" cy="914400"/>
              </a:xfrm>
            </p:grpSpPr>
            <p:sp>
              <p:nvSpPr>
                <p:cNvPr id="63" name="Oval 62">
                  <a:extLst>
                    <a:ext uri="{FF2B5EF4-FFF2-40B4-BE49-F238E27FC236}">
                      <a16:creationId xmlns:a16="http://schemas.microsoft.com/office/drawing/2014/main" id="{BE69233C-79D5-4715-BC0E-5C13DB0D6F39}"/>
                    </a:ext>
                  </a:extLst>
                </p:cNvPr>
                <p:cNvSpPr>
                  <a:spLocks noChangeAspect="1"/>
                </p:cNvSpPr>
                <p:nvPr/>
              </p:nvSpPr>
              <p:spPr bwMode="auto">
                <a:xfrm>
                  <a:off x="7488915" y="4160672"/>
                  <a:ext cx="914400" cy="9144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64" name="Group 63">
                  <a:extLst>
                    <a:ext uri="{FF2B5EF4-FFF2-40B4-BE49-F238E27FC236}">
                      <a16:creationId xmlns:a16="http://schemas.microsoft.com/office/drawing/2014/main" id="{2830E48B-1345-455A-98BD-E6E5872882BB}"/>
                    </a:ext>
                  </a:extLst>
                </p:cNvPr>
                <p:cNvGrpSpPr>
                  <a:grpSpLocks noChangeAspect="1"/>
                </p:cNvGrpSpPr>
                <p:nvPr/>
              </p:nvGrpSpPr>
              <p:grpSpPr>
                <a:xfrm>
                  <a:off x="7725213" y="4317830"/>
                  <a:ext cx="441804" cy="600084"/>
                  <a:chOff x="11395930" y="2227184"/>
                  <a:chExt cx="416827" cy="566158"/>
                </a:xfrm>
              </p:grpSpPr>
              <p:grpSp>
                <p:nvGrpSpPr>
                  <p:cNvPr id="65" name="Group 64">
                    <a:extLst>
                      <a:ext uri="{FF2B5EF4-FFF2-40B4-BE49-F238E27FC236}">
                        <a16:creationId xmlns:a16="http://schemas.microsoft.com/office/drawing/2014/main" id="{1E62E057-04EE-438B-851E-B45E37865871}"/>
                      </a:ext>
                    </a:extLst>
                  </p:cNvPr>
                  <p:cNvGrpSpPr/>
                  <p:nvPr/>
                </p:nvGrpSpPr>
                <p:grpSpPr>
                  <a:xfrm>
                    <a:off x="11403418" y="2232104"/>
                    <a:ext cx="401275" cy="530028"/>
                    <a:chOff x="8817145" y="5862982"/>
                    <a:chExt cx="200853" cy="338001"/>
                  </a:xfrm>
                </p:grpSpPr>
                <p:sp>
                  <p:nvSpPr>
                    <p:cNvPr id="69" name="Rectangle 11">
                      <a:extLst>
                        <a:ext uri="{FF2B5EF4-FFF2-40B4-BE49-F238E27FC236}">
                          <a16:creationId xmlns:a16="http://schemas.microsoft.com/office/drawing/2014/main" id="{0FDAB31C-1768-4AA1-9D52-97BD21A4DD2A}"/>
                        </a:ext>
                      </a:extLst>
                    </p:cNvPr>
                    <p:cNvSpPr>
                      <a:spLocks noChangeArrowheads="1"/>
                    </p:cNvSpPr>
                    <p:nvPr/>
                  </p:nvSpPr>
                  <p:spPr bwMode="auto">
                    <a:xfrm>
                      <a:off x="8817150" y="5862982"/>
                      <a:ext cx="200848" cy="33799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70" name="Rectangle 12">
                      <a:extLst>
                        <a:ext uri="{FF2B5EF4-FFF2-40B4-BE49-F238E27FC236}">
                          <a16:creationId xmlns:a16="http://schemas.microsoft.com/office/drawing/2014/main" id="{D1EB6B0B-8CB3-4717-85F4-4C8010B38CD1}"/>
                        </a:ext>
                      </a:extLst>
                    </p:cNvPr>
                    <p:cNvSpPr>
                      <a:spLocks noChangeArrowheads="1"/>
                    </p:cNvSpPr>
                    <p:nvPr/>
                  </p:nvSpPr>
                  <p:spPr bwMode="auto">
                    <a:xfrm>
                      <a:off x="8817145" y="5862985"/>
                      <a:ext cx="200848" cy="337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71" name="Freeform 17">
                      <a:extLst>
                        <a:ext uri="{FF2B5EF4-FFF2-40B4-BE49-F238E27FC236}">
                          <a16:creationId xmlns:a16="http://schemas.microsoft.com/office/drawing/2014/main" id="{DCD50DBD-20F6-49E5-9CF8-9D6E8D4C1848}"/>
                        </a:ext>
                      </a:extLst>
                    </p:cNvPr>
                    <p:cNvSpPr>
                      <a:spLocks/>
                    </p:cNvSpPr>
                    <p:nvPr/>
                  </p:nvSpPr>
                  <p:spPr bwMode="auto">
                    <a:xfrm>
                      <a:off x="8817145" y="5862985"/>
                      <a:ext cx="118213" cy="33799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sp>
                <p:nvSpPr>
                  <p:cNvPr id="66" name="Freeform 9">
                    <a:extLst>
                      <a:ext uri="{FF2B5EF4-FFF2-40B4-BE49-F238E27FC236}">
                        <a16:creationId xmlns:a16="http://schemas.microsoft.com/office/drawing/2014/main" id="{F3D6302C-E950-4F92-821F-1DCC050EA49D}"/>
                      </a:ext>
                    </a:extLst>
                  </p:cNvPr>
                  <p:cNvSpPr>
                    <a:spLocks noChangeAspect="1" noEditPoints="1"/>
                  </p:cNvSpPr>
                  <p:nvPr/>
                </p:nvSpPr>
                <p:spPr bwMode="black">
                  <a:xfrm flipH="1">
                    <a:off x="11395930" y="2227184"/>
                    <a:ext cx="416827" cy="566158"/>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rgbClr val="353535">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marL="0" marR="0" lvl="0" indent="0" algn="ctr" defTabSz="672071" rtl="0" eaLnBrk="0" fontAlgn="base" latinLnBrk="0" hangingPunct="0">
                      <a:lnSpc>
                        <a:spcPct val="90000"/>
                      </a:lnSpc>
                      <a:spcBef>
                        <a:spcPct val="0"/>
                      </a:spcBef>
                      <a:spcAft>
                        <a:spcPct val="0"/>
                      </a:spcAft>
                      <a:buClrTx/>
                      <a:buSzTx/>
                      <a:buFontTx/>
                      <a:buNone/>
                      <a:tabLst/>
                      <a:defRPr/>
                    </a:pPr>
                    <a:endParaRPr kumimoji="0" lang="en-US" sz="173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7" name="Picture 66">
                    <a:extLst>
                      <a:ext uri="{FF2B5EF4-FFF2-40B4-BE49-F238E27FC236}">
                        <a16:creationId xmlns:a16="http://schemas.microsoft.com/office/drawing/2014/main" id="{C320CF87-FBD5-4742-B42C-53D6628AF37E}"/>
                      </a:ext>
                    </a:extLst>
                  </p:cNvPr>
                  <p:cNvPicPr>
                    <a:picLocks noChangeAspect="1"/>
                  </p:cNvPicPr>
                  <p:nvPr/>
                </p:nvPicPr>
                <p:blipFill>
                  <a:blip r:embed="rId3"/>
                  <a:stretch>
                    <a:fillRect/>
                  </a:stretch>
                </p:blipFill>
                <p:spPr>
                  <a:xfrm>
                    <a:off x="11504747" y="2344048"/>
                    <a:ext cx="199194" cy="244483"/>
                  </a:xfrm>
                  <a:prstGeom prst="rect">
                    <a:avLst/>
                  </a:prstGeom>
                </p:spPr>
              </p:pic>
              <p:sp>
                <p:nvSpPr>
                  <p:cNvPr id="68" name="Oval 67">
                    <a:extLst>
                      <a:ext uri="{FF2B5EF4-FFF2-40B4-BE49-F238E27FC236}">
                        <a16:creationId xmlns:a16="http://schemas.microsoft.com/office/drawing/2014/main" id="{62B2029D-A471-4F4A-B36D-BB300BDEB7C1}"/>
                      </a:ext>
                    </a:extLst>
                  </p:cNvPr>
                  <p:cNvSpPr/>
                  <p:nvPr/>
                </p:nvSpPr>
                <p:spPr bwMode="auto">
                  <a:xfrm>
                    <a:off x="11586055" y="2745036"/>
                    <a:ext cx="36576" cy="36576"/>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31821" tIns="105457" rIns="131821" bIns="105457" numCol="1" spcCol="0" rtlCol="0" fromWordArt="0" anchor="t" anchorCtr="0" forceAA="0" compatLnSpc="1">
                    <a:prstTxWarp prst="textNoShape">
                      <a:avLst/>
                    </a:prstTxWarp>
                    <a:noAutofit/>
                  </a:bodyPr>
                  <a:lstStyle/>
                  <a:p>
                    <a:pPr marL="0" marR="0" lvl="0" indent="0" algn="ctr" defTabSz="672071" rtl="0" eaLnBrk="0" fontAlgn="base" latinLnBrk="0" hangingPunct="0">
                      <a:lnSpc>
                        <a:spcPct val="90000"/>
                      </a:lnSpc>
                      <a:spcBef>
                        <a:spcPct val="0"/>
                      </a:spcBef>
                      <a:spcAft>
                        <a:spcPct val="0"/>
                      </a:spcAft>
                      <a:buClrTx/>
                      <a:buSzTx/>
                      <a:buFontTx/>
                      <a:buNone/>
                      <a:tabLst/>
                      <a:defRPr/>
                    </a:pPr>
                    <a:endParaRPr kumimoji="0" lang="en-US" sz="173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7" name="Group 46">
                <a:extLst>
                  <a:ext uri="{FF2B5EF4-FFF2-40B4-BE49-F238E27FC236}">
                    <a16:creationId xmlns:a16="http://schemas.microsoft.com/office/drawing/2014/main" id="{BDF8DA23-0B2B-4A6D-A092-B60E40854EB9}"/>
                  </a:ext>
                </a:extLst>
              </p:cNvPr>
              <p:cNvGrpSpPr/>
              <p:nvPr/>
            </p:nvGrpSpPr>
            <p:grpSpPr>
              <a:xfrm>
                <a:off x="4707407" y="2719029"/>
                <a:ext cx="469781" cy="469781"/>
                <a:chOff x="7770325" y="1952766"/>
                <a:chExt cx="1143000" cy="1143000"/>
              </a:xfrm>
            </p:grpSpPr>
            <p:sp>
              <p:nvSpPr>
                <p:cNvPr id="60" name="Oval 59">
                  <a:extLst>
                    <a:ext uri="{FF2B5EF4-FFF2-40B4-BE49-F238E27FC236}">
                      <a16:creationId xmlns:a16="http://schemas.microsoft.com/office/drawing/2014/main" id="{0A1004C7-1CBA-47A1-B817-6A4BE1DF59D4}"/>
                    </a:ext>
                  </a:extLst>
                </p:cNvPr>
                <p:cNvSpPr>
                  <a:spLocks noChangeAspect="1"/>
                </p:cNvSpPr>
                <p:nvPr/>
              </p:nvSpPr>
              <p:spPr bwMode="auto">
                <a:xfrm>
                  <a:off x="7770325" y="1952766"/>
                  <a:ext cx="1143000" cy="11430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pic>
              <p:nvPicPr>
                <p:cNvPr id="61" name="Picture 60">
                  <a:extLst>
                    <a:ext uri="{FF2B5EF4-FFF2-40B4-BE49-F238E27FC236}">
                      <a16:creationId xmlns:a16="http://schemas.microsoft.com/office/drawing/2014/main" id="{C7638837-D388-4B56-AD63-A08E80F5E89C}"/>
                    </a:ext>
                  </a:extLst>
                </p:cNvPr>
                <p:cNvPicPr>
                  <a:picLocks noChangeAspect="1"/>
                </p:cNvPicPr>
                <p:nvPr/>
              </p:nvPicPr>
              <p:blipFill>
                <a:blip r:embed="rId21"/>
                <a:stretch>
                  <a:fillRect/>
                </a:stretch>
              </p:blipFill>
              <p:spPr>
                <a:xfrm>
                  <a:off x="8124028" y="2158391"/>
                  <a:ext cx="438918" cy="763335"/>
                </a:xfrm>
                <a:prstGeom prst="rect">
                  <a:avLst/>
                </a:prstGeom>
              </p:spPr>
            </p:pic>
            <p:pic>
              <p:nvPicPr>
                <p:cNvPr id="62" name="Picture 61">
                  <a:extLst>
                    <a:ext uri="{FF2B5EF4-FFF2-40B4-BE49-F238E27FC236}">
                      <a16:creationId xmlns:a16="http://schemas.microsoft.com/office/drawing/2014/main" id="{32928CD6-0D40-4C50-A938-9A385D0D2314}"/>
                    </a:ext>
                  </a:extLst>
                </p:cNvPr>
                <p:cNvPicPr>
                  <a:picLocks noChangeAspect="1"/>
                </p:cNvPicPr>
                <p:nvPr/>
              </p:nvPicPr>
              <p:blipFill>
                <a:blip r:embed="rId3"/>
                <a:stretch>
                  <a:fillRect/>
                </a:stretch>
              </p:blipFill>
              <p:spPr>
                <a:xfrm>
                  <a:off x="8235435" y="2421004"/>
                  <a:ext cx="181418" cy="222664"/>
                </a:xfrm>
                <a:prstGeom prst="rect">
                  <a:avLst/>
                </a:prstGeom>
              </p:spPr>
            </p:pic>
          </p:grpSp>
          <p:grpSp>
            <p:nvGrpSpPr>
              <p:cNvPr id="48" name="Group 47">
                <a:extLst>
                  <a:ext uri="{FF2B5EF4-FFF2-40B4-BE49-F238E27FC236}">
                    <a16:creationId xmlns:a16="http://schemas.microsoft.com/office/drawing/2014/main" id="{F52FE158-DFEE-4F07-80A6-1EA0E788D3DC}"/>
                  </a:ext>
                </a:extLst>
              </p:cNvPr>
              <p:cNvGrpSpPr/>
              <p:nvPr/>
            </p:nvGrpSpPr>
            <p:grpSpPr>
              <a:xfrm>
                <a:off x="5062998" y="1970067"/>
                <a:ext cx="469781" cy="469781"/>
                <a:chOff x="8785063" y="2988618"/>
                <a:chExt cx="1143000" cy="1143000"/>
              </a:xfrm>
            </p:grpSpPr>
            <p:grpSp>
              <p:nvGrpSpPr>
                <p:cNvPr id="56" name="Group 55">
                  <a:extLst>
                    <a:ext uri="{FF2B5EF4-FFF2-40B4-BE49-F238E27FC236}">
                      <a16:creationId xmlns:a16="http://schemas.microsoft.com/office/drawing/2014/main" id="{1F004276-BBD4-4611-93E0-0AEBA624E1E9}"/>
                    </a:ext>
                  </a:extLst>
                </p:cNvPr>
                <p:cNvGrpSpPr>
                  <a:grpSpLocks noChangeAspect="1"/>
                </p:cNvGrpSpPr>
                <p:nvPr/>
              </p:nvGrpSpPr>
              <p:grpSpPr>
                <a:xfrm>
                  <a:off x="8785063" y="2988618"/>
                  <a:ext cx="1143000" cy="1143000"/>
                  <a:chOff x="7212772" y="5496293"/>
                  <a:chExt cx="914400" cy="914400"/>
                </a:xfrm>
              </p:grpSpPr>
              <p:sp>
                <p:nvSpPr>
                  <p:cNvPr id="58" name="Oval 57">
                    <a:extLst>
                      <a:ext uri="{FF2B5EF4-FFF2-40B4-BE49-F238E27FC236}">
                        <a16:creationId xmlns:a16="http://schemas.microsoft.com/office/drawing/2014/main" id="{09F31B24-C5FF-4F55-8494-AAB0FCA48FF2}"/>
                      </a:ext>
                    </a:extLst>
                  </p:cNvPr>
                  <p:cNvSpPr>
                    <a:spLocks noChangeAspect="1"/>
                  </p:cNvSpPr>
                  <p:nvPr/>
                </p:nvSpPr>
                <p:spPr bwMode="auto">
                  <a:xfrm>
                    <a:off x="7212772" y="5496293"/>
                    <a:ext cx="914400" cy="9144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sp>
                <p:nvSpPr>
                  <p:cNvPr id="59" name="Freeform 7">
                    <a:extLst>
                      <a:ext uri="{FF2B5EF4-FFF2-40B4-BE49-F238E27FC236}">
                        <a16:creationId xmlns:a16="http://schemas.microsoft.com/office/drawing/2014/main" id="{D897DF60-024D-4189-842D-186724391BCD}"/>
                      </a:ext>
                    </a:extLst>
                  </p:cNvPr>
                  <p:cNvSpPr>
                    <a:spLocks/>
                  </p:cNvSpPr>
                  <p:nvPr/>
                </p:nvSpPr>
                <p:spPr bwMode="auto">
                  <a:xfrm>
                    <a:off x="7351595" y="5752813"/>
                    <a:ext cx="636757" cy="366971"/>
                  </a:xfrm>
                  <a:prstGeom prst="roundRect">
                    <a:avLst>
                      <a:gd name="adj" fmla="val 7342"/>
                    </a:avLst>
                  </a:prstGeom>
                  <a:solidFill>
                    <a:srgbClr val="FFFFFF"/>
                  </a:solidFill>
                  <a:ln>
                    <a:noFill/>
                  </a:ln>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pic>
              <p:nvPicPr>
                <p:cNvPr id="57" name="Picture 56">
                  <a:extLst>
                    <a:ext uri="{FF2B5EF4-FFF2-40B4-BE49-F238E27FC236}">
                      <a16:creationId xmlns:a16="http://schemas.microsoft.com/office/drawing/2014/main" id="{DC0F55C8-0630-4919-AADB-99EAEE231939}"/>
                    </a:ext>
                  </a:extLst>
                </p:cNvPr>
                <p:cNvPicPr>
                  <a:picLocks noChangeAspect="1"/>
                </p:cNvPicPr>
                <p:nvPr/>
              </p:nvPicPr>
              <p:blipFill>
                <a:blip r:embed="rId22"/>
                <a:stretch>
                  <a:fillRect/>
                </a:stretch>
              </p:blipFill>
              <p:spPr>
                <a:xfrm>
                  <a:off x="8931957" y="3309268"/>
                  <a:ext cx="849211" cy="553418"/>
                </a:xfrm>
                <a:prstGeom prst="rect">
                  <a:avLst/>
                </a:prstGeom>
              </p:spPr>
            </p:pic>
          </p:grpSp>
          <p:grpSp>
            <p:nvGrpSpPr>
              <p:cNvPr id="49" name="Group 48">
                <a:extLst>
                  <a:ext uri="{FF2B5EF4-FFF2-40B4-BE49-F238E27FC236}">
                    <a16:creationId xmlns:a16="http://schemas.microsoft.com/office/drawing/2014/main" id="{181D67BC-99A9-4DA9-A7FF-B392F2D3035C}"/>
                  </a:ext>
                </a:extLst>
              </p:cNvPr>
              <p:cNvGrpSpPr>
                <a:grpSpLocks noChangeAspect="1"/>
              </p:cNvGrpSpPr>
              <p:nvPr/>
            </p:nvGrpSpPr>
            <p:grpSpPr>
              <a:xfrm>
                <a:off x="6452574" y="4526807"/>
                <a:ext cx="427073" cy="427073"/>
                <a:chOff x="5301956" y="4678104"/>
                <a:chExt cx="914400" cy="914400"/>
              </a:xfrm>
            </p:grpSpPr>
            <p:sp>
              <p:nvSpPr>
                <p:cNvPr id="50" name="Oval 49">
                  <a:extLst>
                    <a:ext uri="{FF2B5EF4-FFF2-40B4-BE49-F238E27FC236}">
                      <a16:creationId xmlns:a16="http://schemas.microsoft.com/office/drawing/2014/main" id="{BCAB41A7-3C3E-4966-B90B-20ACE24A9C15}"/>
                    </a:ext>
                  </a:extLst>
                </p:cNvPr>
                <p:cNvSpPr>
                  <a:spLocks noChangeAspect="1"/>
                </p:cNvSpPr>
                <p:nvPr/>
              </p:nvSpPr>
              <p:spPr bwMode="auto">
                <a:xfrm>
                  <a:off x="5301956" y="4678104"/>
                  <a:ext cx="914400" cy="914400"/>
                </a:xfrm>
                <a:prstGeom prst="ellipse">
                  <a:avLst/>
                </a:prstGeom>
                <a:solidFill>
                  <a:srgbClr val="FFFFFF"/>
                </a:solidFill>
                <a:ln w="15875" cap="flat" cmpd="sng" algn="ctr">
                  <a:noFill/>
                  <a:prstDash val="solid"/>
                  <a:headEnd type="none" w="med" len="med"/>
                  <a:tailEnd type="none" w="med" len="med"/>
                </a:ln>
                <a:effectLst/>
              </p:spPr>
              <p:txBody>
                <a:bodyPr rot="0" spcFirstLastPara="0" vertOverflow="overflow" horzOverflow="overflow" vert="horz" wrap="square" lIns="0" tIns="33611" rIns="0" bIns="33611" numCol="1" spcCol="0" rtlCol="0" fromWordArt="0" anchor="ctr" anchorCtr="0" forceAA="0" compatLnSpc="1">
                  <a:prstTxWarp prst="textNoShape">
                    <a:avLst/>
                  </a:prstTxWarp>
                  <a:noAutofit/>
                </a:bodyPr>
                <a:lstStyle/>
                <a:p>
                  <a:pPr marL="0" marR="0" lvl="0" indent="0" algn="ctr" defTabSz="671942" rtl="0" eaLnBrk="0" fontAlgn="base" latinLnBrk="0" hangingPunct="0">
                    <a:lnSpc>
                      <a:spcPct val="100000"/>
                    </a:lnSpc>
                    <a:spcBef>
                      <a:spcPct val="0"/>
                    </a:spcBef>
                    <a:spcAft>
                      <a:spcPct val="0"/>
                    </a:spcAft>
                    <a:buClrTx/>
                    <a:buSzTx/>
                    <a:buFontTx/>
                    <a:buNone/>
                    <a:tabLst/>
                    <a:defRPr/>
                  </a:pPr>
                  <a:endParaRPr kumimoji="0" lang="en-US" sz="1442" b="0" i="0" u="none" strike="noStrike" kern="0" cap="none" spc="0" normalizeH="0" baseline="0" noProof="0">
                    <a:ln>
                      <a:noFill/>
                    </a:ln>
                    <a:gradFill>
                      <a:gsLst>
                        <a:gs pos="5439">
                          <a:srgbClr val="F8F8F8"/>
                        </a:gs>
                        <a:gs pos="10000">
                          <a:srgbClr val="F8F8F8"/>
                        </a:gs>
                      </a:gsLst>
                      <a:lin ang="5400000" scaled="0"/>
                    </a:gradFill>
                    <a:effectLst/>
                    <a:uLnTx/>
                    <a:uFillTx/>
                    <a:latin typeface="Segoe UI"/>
                    <a:ea typeface="+mn-ea"/>
                    <a:cs typeface="+mn-cs"/>
                  </a:endParaRPr>
                </a:p>
              </p:txBody>
            </p:sp>
            <p:grpSp>
              <p:nvGrpSpPr>
                <p:cNvPr id="51" name="Group 50">
                  <a:extLst>
                    <a:ext uri="{FF2B5EF4-FFF2-40B4-BE49-F238E27FC236}">
                      <a16:creationId xmlns:a16="http://schemas.microsoft.com/office/drawing/2014/main" id="{6B71C64F-61FB-452F-A256-A13916A00BB7}"/>
                    </a:ext>
                  </a:extLst>
                </p:cNvPr>
                <p:cNvGrpSpPr>
                  <a:grpSpLocks noChangeAspect="1"/>
                </p:cNvGrpSpPr>
                <p:nvPr/>
              </p:nvGrpSpPr>
              <p:grpSpPr>
                <a:xfrm>
                  <a:off x="5416532" y="4898732"/>
                  <a:ext cx="674706" cy="433016"/>
                  <a:chOff x="8025136" y="7417948"/>
                  <a:chExt cx="1135149" cy="728520"/>
                </a:xfrm>
              </p:grpSpPr>
              <p:sp>
                <p:nvSpPr>
                  <p:cNvPr id="52" name="Freeform 7">
                    <a:extLst>
                      <a:ext uri="{FF2B5EF4-FFF2-40B4-BE49-F238E27FC236}">
                        <a16:creationId xmlns:a16="http://schemas.microsoft.com/office/drawing/2014/main" id="{F4714542-3876-4C97-96A8-AF7DE16E936A}"/>
                      </a:ext>
                    </a:extLst>
                  </p:cNvPr>
                  <p:cNvSpPr>
                    <a:spLocks/>
                  </p:cNvSpPr>
                  <p:nvPr/>
                </p:nvSpPr>
                <p:spPr bwMode="auto">
                  <a:xfrm>
                    <a:off x="8141719" y="7437278"/>
                    <a:ext cx="896936" cy="617404"/>
                  </a:xfrm>
                  <a:prstGeom prst="roundRect">
                    <a:avLst>
                      <a:gd name="adj" fmla="val 7342"/>
                    </a:avLst>
                  </a:prstGeom>
                  <a:solidFill>
                    <a:srgbClr val="FFFFFF"/>
                  </a:solidFill>
                  <a:ln>
                    <a:noFill/>
                  </a:ln>
                </p:spPr>
                <p:txBody>
                  <a:bodyPr vert="horz" wrap="square" lIns="65901" tIns="32950" rIns="65901" bIns="32950" numCol="1" anchor="t" anchorCtr="0" compatLnSpc="1">
                    <a:prstTxWarp prst="textNoShape">
                      <a:avLst/>
                    </a:prstTxWarp>
                  </a:bodyPr>
                  <a:lstStyle/>
                  <a:p>
                    <a:pPr marL="0" marR="0" lvl="0" indent="0" algn="l" defTabSz="671503"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505050"/>
                      </a:solidFill>
                      <a:effectLst/>
                      <a:uLnTx/>
                      <a:uFillTx/>
                      <a:latin typeface="Segoe UI"/>
                      <a:ea typeface="ＭＳ Ｐゴシック" charset="0"/>
                      <a:cs typeface="+mn-cs"/>
                    </a:endParaRPr>
                  </a:p>
                </p:txBody>
              </p:sp>
              <p:grpSp>
                <p:nvGrpSpPr>
                  <p:cNvPr id="53" name="Group 52">
                    <a:extLst>
                      <a:ext uri="{FF2B5EF4-FFF2-40B4-BE49-F238E27FC236}">
                        <a16:creationId xmlns:a16="http://schemas.microsoft.com/office/drawing/2014/main" id="{77A131E0-27D3-4AA3-9B4E-5407ECA207D3}"/>
                      </a:ext>
                    </a:extLst>
                  </p:cNvPr>
                  <p:cNvGrpSpPr/>
                  <p:nvPr/>
                </p:nvGrpSpPr>
                <p:grpSpPr>
                  <a:xfrm>
                    <a:off x="8025136" y="7417948"/>
                    <a:ext cx="1135149" cy="728520"/>
                    <a:chOff x="8025136" y="7417948"/>
                    <a:chExt cx="1135149" cy="728520"/>
                  </a:xfrm>
                </p:grpSpPr>
                <p:sp>
                  <p:nvSpPr>
                    <p:cNvPr id="54" name="Freeform 40">
                      <a:extLst>
                        <a:ext uri="{FF2B5EF4-FFF2-40B4-BE49-F238E27FC236}">
                          <a16:creationId xmlns:a16="http://schemas.microsoft.com/office/drawing/2014/main" id="{31783050-3585-47CC-BAAF-91078DDFBC04}"/>
                        </a:ext>
                      </a:extLst>
                    </p:cNvPr>
                    <p:cNvSpPr>
                      <a:spLocks noChangeAspect="1"/>
                    </p:cNvSpPr>
                    <p:nvPr/>
                  </p:nvSpPr>
                  <p:spPr bwMode="black">
                    <a:xfrm flipH="1">
                      <a:off x="8025136" y="7417948"/>
                      <a:ext cx="1135149" cy="728520"/>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rgbClr val="353535"/>
                    </a:solidFill>
                    <a:ln>
                      <a:noFill/>
                    </a:ln>
                  </p:spPr>
                  <p:txBody>
                    <a:bodyPr vert="horz" wrap="square" lIns="65910" tIns="32955" rIns="65910" bIns="32955" numCol="1" anchor="t" anchorCtr="0" compatLnSpc="1">
                      <a:prstTxWarp prst="textNoShape">
                        <a:avLst/>
                      </a:prstTxWarp>
                      <a:noAutofit/>
                    </a:bodyPr>
                    <a:lstStyle/>
                    <a:p>
                      <a:pPr marL="0" marR="0" lvl="0" indent="0" algn="l" defTabSz="672266"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512">
                      <a:extLst>
                        <a:ext uri="{FF2B5EF4-FFF2-40B4-BE49-F238E27FC236}">
                          <a16:creationId xmlns:a16="http://schemas.microsoft.com/office/drawing/2014/main" id="{50F8D9A5-67BD-47A3-AADE-DB1215307E8F}"/>
                        </a:ext>
                      </a:extLst>
                    </p:cNvPr>
                    <p:cNvSpPr>
                      <a:spLocks noChangeAspect="1" noEditPoints="1"/>
                    </p:cNvSpPr>
                    <p:nvPr/>
                  </p:nvSpPr>
                  <p:spPr bwMode="black">
                    <a:xfrm>
                      <a:off x="8430200" y="7584130"/>
                      <a:ext cx="325020" cy="323700"/>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A7A9AC"/>
                    </a:solidFill>
                    <a:ln>
                      <a:noFill/>
                    </a:ln>
                  </p:spPr>
                  <p:txBody>
                    <a:bodyPr vert="horz" wrap="square" lIns="65910" tIns="32955" rIns="65910" bIns="32955" numCol="1" anchor="t" anchorCtr="0" compatLnSpc="1">
                      <a:prstTxWarp prst="textNoShape">
                        <a:avLst/>
                      </a:prstTxWarp>
                    </a:bodyPr>
                    <a:lstStyle/>
                    <a:p>
                      <a:pPr marL="0" marR="0" lvl="0" indent="0" algn="l" defTabSz="659045" rtl="0" eaLnBrk="0" fontAlgn="base" latinLnBrk="0" hangingPunct="0">
                        <a:lnSpc>
                          <a:spcPct val="100000"/>
                        </a:lnSpc>
                        <a:spcBef>
                          <a:spcPct val="0"/>
                        </a:spcBef>
                        <a:spcAft>
                          <a:spcPct val="0"/>
                        </a:spcAft>
                        <a:buClrTx/>
                        <a:buSzTx/>
                        <a:buFontTx/>
                        <a:buNone/>
                        <a:tabLst/>
                        <a:defRPr/>
                      </a:pPr>
                      <a:endParaRPr kumimoji="0" lang="en-US" sz="1298" b="0" i="0" u="none" strike="noStrike" kern="0" cap="none" spc="0" normalizeH="0" baseline="0" noProof="0">
                        <a:ln>
                          <a:noFill/>
                        </a:ln>
                        <a:solidFill>
                          <a:srgbClr val="FFFFFF"/>
                        </a:solidFill>
                        <a:effectLst/>
                        <a:uLnTx/>
                        <a:uFillTx/>
                        <a:latin typeface="Segoe UI"/>
                        <a:ea typeface="+mn-ea"/>
                        <a:cs typeface="+mn-cs"/>
                      </a:endParaRPr>
                    </a:p>
                  </p:txBody>
                </p:sp>
              </p:grpSp>
            </p:grpSp>
          </p:grpSp>
        </p:grpSp>
      </p:grpSp>
      <p:sp>
        <p:nvSpPr>
          <p:cNvPr id="182" name="Rectangle 181">
            <a:extLst>
              <a:ext uri="{FF2B5EF4-FFF2-40B4-BE49-F238E27FC236}">
                <a16:creationId xmlns:a16="http://schemas.microsoft.com/office/drawing/2014/main" id="{2A61C68F-0E46-4BFF-84D4-421A66D6AE77}"/>
              </a:ext>
            </a:extLst>
          </p:cNvPr>
          <p:cNvSpPr/>
          <p:nvPr/>
        </p:nvSpPr>
        <p:spPr>
          <a:xfrm>
            <a:off x="6305121" y="3052674"/>
            <a:ext cx="734496" cy="409086"/>
          </a:xfrm>
          <a:prstGeom prst="rect">
            <a:avLst/>
          </a:prstGeom>
        </p:spPr>
        <p:txBody>
          <a:bodyPr wrap="none">
            <a:spAutoFit/>
          </a:bodyPr>
          <a:lstStyle/>
          <a:p>
            <a:pPr marL="0" marR="0" lvl="0" indent="0" algn="l" defTabSz="672290" rtl="0" eaLnBrk="0" fontAlgn="base" latinLnBrk="0" hangingPunct="0">
              <a:lnSpc>
                <a:spcPct val="100000"/>
              </a:lnSpc>
              <a:spcBef>
                <a:spcPct val="0"/>
              </a:spcBef>
              <a:spcAft>
                <a:spcPct val="0"/>
              </a:spcAft>
              <a:buClrTx/>
              <a:buSzTx/>
              <a:buFontTx/>
              <a:buNone/>
              <a:tabLst/>
              <a:defRPr/>
            </a:pPr>
            <a:r>
              <a:rPr kumimoji="0" lang="en-US" sz="1029" b="0" i="0" u="none" strike="noStrike" kern="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zure AD</a:t>
            </a:r>
            <a:br>
              <a:rPr kumimoji="0" lang="en-US" sz="1029" b="0" i="0" u="none" strike="noStrike" kern="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1029" b="0" i="0" u="none" strike="noStrike" kern="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Connect</a:t>
            </a:r>
            <a:endParaRPr kumimoji="0" lang="en-US" sz="1029" b="0" i="0" u="none" strike="noStrike" kern="0" cap="none" spc="0" normalizeH="0" baseline="0" noProof="0">
              <a:ln>
                <a:noFill/>
              </a:ln>
              <a:solidFill>
                <a:srgbClr val="353535"/>
              </a:solidFill>
              <a:effectLst/>
              <a:uLnTx/>
              <a:uFillTx/>
              <a:latin typeface="Segoe UI"/>
              <a:ea typeface="+mn-ea"/>
              <a:cs typeface="+mn-cs"/>
            </a:endParaRPr>
          </a:p>
        </p:txBody>
      </p:sp>
      <p:grpSp>
        <p:nvGrpSpPr>
          <p:cNvPr id="183" name="Group 182">
            <a:extLst>
              <a:ext uri="{FF2B5EF4-FFF2-40B4-BE49-F238E27FC236}">
                <a16:creationId xmlns:a16="http://schemas.microsoft.com/office/drawing/2014/main" id="{323A20E7-75CF-4EDB-95DF-A90B3A0D5BFD}"/>
              </a:ext>
            </a:extLst>
          </p:cNvPr>
          <p:cNvGrpSpPr/>
          <p:nvPr/>
        </p:nvGrpSpPr>
        <p:grpSpPr>
          <a:xfrm>
            <a:off x="6066715" y="3102933"/>
            <a:ext cx="275557" cy="284183"/>
            <a:chOff x="7596294" y="4477333"/>
            <a:chExt cx="374776" cy="386508"/>
          </a:xfrm>
        </p:grpSpPr>
        <p:sp>
          <p:nvSpPr>
            <p:cNvPr id="184" name="Oval 183">
              <a:extLst>
                <a:ext uri="{FF2B5EF4-FFF2-40B4-BE49-F238E27FC236}">
                  <a16:creationId xmlns:a16="http://schemas.microsoft.com/office/drawing/2014/main" id="{7AF6C910-43DF-4DE9-8E12-413183EAD3F2}"/>
                </a:ext>
              </a:extLst>
            </p:cNvPr>
            <p:cNvSpPr/>
            <p:nvPr/>
          </p:nvSpPr>
          <p:spPr bwMode="auto">
            <a:xfrm>
              <a:off x="7596294" y="4484497"/>
              <a:ext cx="374776" cy="374776"/>
            </a:xfrm>
            <a:prstGeom prst="ellipse">
              <a:avLst/>
            </a:prstGeom>
            <a:solidFill>
              <a:srgbClr val="E6E6E6"/>
            </a:solidFill>
            <a:ln w="9525" cap="flat" cmpd="sng" algn="ctr">
              <a:noFill/>
              <a:prstDash val="solid"/>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0" fontAlgn="base" latinLnBrk="0" hangingPunct="0">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5" name="Freeform 149">
              <a:extLst>
                <a:ext uri="{FF2B5EF4-FFF2-40B4-BE49-F238E27FC236}">
                  <a16:creationId xmlns:a16="http://schemas.microsoft.com/office/drawing/2014/main" id="{C1374E1F-E324-4511-9C8B-4A63D31AC914}"/>
                </a:ext>
              </a:extLst>
            </p:cNvPr>
            <p:cNvSpPr>
              <a:spLocks noEditPoints="1"/>
            </p:cNvSpPr>
            <p:nvPr/>
          </p:nvSpPr>
          <p:spPr bwMode="auto">
            <a:xfrm>
              <a:off x="7625970" y="4477333"/>
              <a:ext cx="319782" cy="386508"/>
            </a:xfrm>
            <a:custGeom>
              <a:avLst/>
              <a:gdLst>
                <a:gd name="T0" fmla="*/ 36 w 104"/>
                <a:gd name="T1" fmla="*/ 105 h 127"/>
                <a:gd name="T2" fmla="*/ 33 w 104"/>
                <a:gd name="T3" fmla="*/ 112 h 127"/>
                <a:gd name="T4" fmla="*/ 0 w 104"/>
                <a:gd name="T5" fmla="*/ 64 h 127"/>
                <a:gd name="T6" fmla="*/ 49 w 104"/>
                <a:gd name="T7" fmla="*/ 12 h 127"/>
                <a:gd name="T8" fmla="*/ 43 w 104"/>
                <a:gd name="T9" fmla="*/ 6 h 127"/>
                <a:gd name="T10" fmla="*/ 49 w 104"/>
                <a:gd name="T11" fmla="*/ 0 h 127"/>
                <a:gd name="T12" fmla="*/ 64 w 104"/>
                <a:gd name="T13" fmla="*/ 15 h 127"/>
                <a:gd name="T14" fmla="*/ 49 w 104"/>
                <a:gd name="T15" fmla="*/ 31 h 127"/>
                <a:gd name="T16" fmla="*/ 43 w 104"/>
                <a:gd name="T17" fmla="*/ 25 h 127"/>
                <a:gd name="T18" fmla="*/ 48 w 104"/>
                <a:gd name="T19" fmla="*/ 20 h 127"/>
                <a:gd name="T20" fmla="*/ 8 w 104"/>
                <a:gd name="T21" fmla="*/ 64 h 127"/>
                <a:gd name="T22" fmla="*/ 36 w 104"/>
                <a:gd name="T23" fmla="*/ 105 h 127"/>
                <a:gd name="T24" fmla="*/ 104 w 104"/>
                <a:gd name="T25" fmla="*/ 64 h 127"/>
                <a:gd name="T26" fmla="*/ 70 w 104"/>
                <a:gd name="T27" fmla="*/ 15 h 127"/>
                <a:gd name="T28" fmla="*/ 68 w 104"/>
                <a:gd name="T29" fmla="*/ 22 h 127"/>
                <a:gd name="T30" fmla="*/ 96 w 104"/>
                <a:gd name="T31" fmla="*/ 64 h 127"/>
                <a:gd name="T32" fmla="*/ 56 w 104"/>
                <a:gd name="T33" fmla="*/ 108 h 127"/>
                <a:gd name="T34" fmla="*/ 61 w 104"/>
                <a:gd name="T35" fmla="*/ 102 h 127"/>
                <a:gd name="T36" fmla="*/ 55 w 104"/>
                <a:gd name="T37" fmla="*/ 97 h 127"/>
                <a:gd name="T38" fmla="*/ 40 w 104"/>
                <a:gd name="T39" fmla="*/ 112 h 127"/>
                <a:gd name="T40" fmla="*/ 55 w 104"/>
                <a:gd name="T41" fmla="*/ 127 h 127"/>
                <a:gd name="T42" fmla="*/ 61 w 104"/>
                <a:gd name="T43" fmla="*/ 121 h 127"/>
                <a:gd name="T44" fmla="*/ 55 w 104"/>
                <a:gd name="T45" fmla="*/ 116 h 127"/>
                <a:gd name="T46" fmla="*/ 55 w 104"/>
                <a:gd name="T47" fmla="*/ 116 h 127"/>
                <a:gd name="T48" fmla="*/ 55 w 104"/>
                <a:gd name="T49" fmla="*/ 116 h 127"/>
                <a:gd name="T50" fmla="*/ 104 w 104"/>
                <a:gd name="T51"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 h="127">
                  <a:moveTo>
                    <a:pt x="36" y="105"/>
                  </a:moveTo>
                  <a:cubicBezTo>
                    <a:pt x="33" y="112"/>
                    <a:pt x="33" y="112"/>
                    <a:pt x="33" y="112"/>
                  </a:cubicBezTo>
                  <a:cubicBezTo>
                    <a:pt x="13" y="105"/>
                    <a:pt x="0" y="85"/>
                    <a:pt x="0" y="64"/>
                  </a:cubicBezTo>
                  <a:cubicBezTo>
                    <a:pt x="0" y="36"/>
                    <a:pt x="21" y="13"/>
                    <a:pt x="49" y="12"/>
                  </a:cubicBezTo>
                  <a:cubicBezTo>
                    <a:pt x="43" y="6"/>
                    <a:pt x="43" y="6"/>
                    <a:pt x="43" y="6"/>
                  </a:cubicBezTo>
                  <a:cubicBezTo>
                    <a:pt x="49" y="0"/>
                    <a:pt x="49" y="0"/>
                    <a:pt x="49" y="0"/>
                  </a:cubicBezTo>
                  <a:cubicBezTo>
                    <a:pt x="64" y="15"/>
                    <a:pt x="64" y="15"/>
                    <a:pt x="64" y="15"/>
                  </a:cubicBezTo>
                  <a:cubicBezTo>
                    <a:pt x="49" y="31"/>
                    <a:pt x="49" y="31"/>
                    <a:pt x="49" y="31"/>
                  </a:cubicBezTo>
                  <a:cubicBezTo>
                    <a:pt x="43" y="25"/>
                    <a:pt x="43" y="25"/>
                    <a:pt x="43" y="25"/>
                  </a:cubicBezTo>
                  <a:cubicBezTo>
                    <a:pt x="48" y="20"/>
                    <a:pt x="48" y="20"/>
                    <a:pt x="48" y="20"/>
                  </a:cubicBezTo>
                  <a:cubicBezTo>
                    <a:pt x="26" y="21"/>
                    <a:pt x="8" y="40"/>
                    <a:pt x="8" y="64"/>
                  </a:cubicBezTo>
                  <a:cubicBezTo>
                    <a:pt x="8" y="82"/>
                    <a:pt x="19" y="98"/>
                    <a:pt x="36" y="105"/>
                  </a:cubicBezTo>
                  <a:close/>
                  <a:moveTo>
                    <a:pt x="104" y="64"/>
                  </a:moveTo>
                  <a:cubicBezTo>
                    <a:pt x="104" y="42"/>
                    <a:pt x="91" y="22"/>
                    <a:pt x="70" y="15"/>
                  </a:cubicBezTo>
                  <a:cubicBezTo>
                    <a:pt x="68" y="22"/>
                    <a:pt x="68" y="22"/>
                    <a:pt x="68" y="22"/>
                  </a:cubicBezTo>
                  <a:cubicBezTo>
                    <a:pt x="85" y="29"/>
                    <a:pt x="96" y="45"/>
                    <a:pt x="96" y="64"/>
                  </a:cubicBezTo>
                  <a:cubicBezTo>
                    <a:pt x="96" y="87"/>
                    <a:pt x="78" y="106"/>
                    <a:pt x="56" y="108"/>
                  </a:cubicBezTo>
                  <a:cubicBezTo>
                    <a:pt x="61" y="102"/>
                    <a:pt x="61" y="102"/>
                    <a:pt x="61" y="102"/>
                  </a:cubicBezTo>
                  <a:cubicBezTo>
                    <a:pt x="55" y="97"/>
                    <a:pt x="55" y="97"/>
                    <a:pt x="55" y="97"/>
                  </a:cubicBezTo>
                  <a:cubicBezTo>
                    <a:pt x="40" y="112"/>
                    <a:pt x="40" y="112"/>
                    <a:pt x="40" y="112"/>
                  </a:cubicBezTo>
                  <a:cubicBezTo>
                    <a:pt x="55" y="127"/>
                    <a:pt x="55" y="127"/>
                    <a:pt x="55" y="127"/>
                  </a:cubicBezTo>
                  <a:cubicBezTo>
                    <a:pt x="61" y="121"/>
                    <a:pt x="61" y="121"/>
                    <a:pt x="61" y="121"/>
                  </a:cubicBezTo>
                  <a:cubicBezTo>
                    <a:pt x="55" y="116"/>
                    <a:pt x="55" y="116"/>
                    <a:pt x="55" y="116"/>
                  </a:cubicBezTo>
                  <a:cubicBezTo>
                    <a:pt x="55" y="116"/>
                    <a:pt x="55" y="116"/>
                    <a:pt x="55" y="116"/>
                  </a:cubicBezTo>
                  <a:cubicBezTo>
                    <a:pt x="55" y="116"/>
                    <a:pt x="55" y="116"/>
                    <a:pt x="55" y="116"/>
                  </a:cubicBezTo>
                  <a:cubicBezTo>
                    <a:pt x="82" y="114"/>
                    <a:pt x="104" y="91"/>
                    <a:pt x="104" y="64"/>
                  </a:cubicBezTo>
                  <a:close/>
                </a:path>
              </a:pathLst>
            </a:custGeom>
            <a:solidFill>
              <a:srgbClr val="0078D7"/>
            </a:solidFill>
            <a:ln>
              <a:noFill/>
            </a:ln>
          </p:spPr>
          <p:txBody>
            <a:bodyPr vert="horz" wrap="square" lIns="67232" tIns="33616" rIns="67232" bIns="33616" numCol="1" anchor="t" anchorCtr="0" compatLnSpc="1">
              <a:prstTxWarp prst="textNoShape">
                <a:avLst/>
              </a:prstTxWarp>
            </a:bodyPr>
            <a:lstStyle/>
            <a:p>
              <a:pPr marL="0" marR="0" lvl="0" indent="0" algn="l" defTabSz="672290" rtl="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186" name="Group 185">
            <a:extLst>
              <a:ext uri="{FF2B5EF4-FFF2-40B4-BE49-F238E27FC236}">
                <a16:creationId xmlns:a16="http://schemas.microsoft.com/office/drawing/2014/main" id="{521D9FF7-3D7C-4D6D-BAC6-3E5FC4320301}"/>
              </a:ext>
            </a:extLst>
          </p:cNvPr>
          <p:cNvGrpSpPr/>
          <p:nvPr/>
        </p:nvGrpSpPr>
        <p:grpSpPr>
          <a:xfrm>
            <a:off x="4297453" y="3581037"/>
            <a:ext cx="1573880" cy="1109962"/>
            <a:chOff x="1792808" y="4869962"/>
            <a:chExt cx="2140585" cy="1509625"/>
          </a:xfrm>
        </p:grpSpPr>
        <p:grpSp>
          <p:nvGrpSpPr>
            <p:cNvPr id="187" name="Group 186">
              <a:extLst>
                <a:ext uri="{FF2B5EF4-FFF2-40B4-BE49-F238E27FC236}">
                  <a16:creationId xmlns:a16="http://schemas.microsoft.com/office/drawing/2014/main" id="{CF509F90-8E57-4FEB-B2BA-C2E7933D2AE0}"/>
                </a:ext>
              </a:extLst>
            </p:cNvPr>
            <p:cNvGrpSpPr/>
            <p:nvPr/>
          </p:nvGrpSpPr>
          <p:grpSpPr>
            <a:xfrm>
              <a:off x="2679738" y="4869962"/>
              <a:ext cx="1253655" cy="1253655"/>
              <a:chOff x="2948537" y="5104016"/>
              <a:chExt cx="1600200" cy="1600200"/>
            </a:xfrm>
          </p:grpSpPr>
          <p:sp>
            <p:nvSpPr>
              <p:cNvPr id="224" name="Dotted Circle">
                <a:extLst>
                  <a:ext uri="{FF2B5EF4-FFF2-40B4-BE49-F238E27FC236}">
                    <a16:creationId xmlns:a16="http://schemas.microsoft.com/office/drawing/2014/main" id="{5A42397B-A281-40E5-8337-CD2DADF9BC29}"/>
                  </a:ext>
                </a:extLst>
              </p:cNvPr>
              <p:cNvSpPr/>
              <p:nvPr/>
            </p:nvSpPr>
            <p:spPr>
              <a:xfrm>
                <a:off x="2948537" y="5104016"/>
                <a:ext cx="1600200" cy="16002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2F2F2"/>
              </a:solidFill>
              <a:ln w="28575" cap="rnd">
                <a:solidFill>
                  <a:schemeClr val="tx2"/>
                </a:solidFill>
                <a:custDash>
                  <a:ds d="100000" sp="100000"/>
                </a:custDash>
              </a:ln>
            </p:spPr>
            <p:txBody>
              <a:bodyPr vert="horz" wrap="square" lIns="65901" tIns="32950" rIns="65901" bIns="32950" anchor="ctr" anchorCtr="1" compatLnSpc="1">
                <a:noAutofit/>
              </a:bodyPr>
              <a:lstStyle/>
              <a:p>
                <a:pPr marL="0" marR="0" lvl="0" indent="0" algn="ctr"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71" b="0" i="0" u="none" strike="noStrike" kern="0" cap="none" spc="0" normalizeH="0" baseline="0" noProof="0">
                  <a:ln>
                    <a:noFill/>
                  </a:ln>
                  <a:solidFill>
                    <a:srgbClr val="FFFFFF"/>
                  </a:solidFill>
                  <a:effectLst/>
                  <a:uLnTx/>
                  <a:uFillTx/>
                  <a:latin typeface="Segoe UI"/>
                  <a:ea typeface="+mn-ea"/>
                  <a:cs typeface="+mn-cs"/>
                </a:endParaRPr>
              </a:p>
            </p:txBody>
          </p:sp>
          <p:grpSp>
            <p:nvGrpSpPr>
              <p:cNvPr id="225" name="Group 2">
                <a:extLst>
                  <a:ext uri="{FF2B5EF4-FFF2-40B4-BE49-F238E27FC236}">
                    <a16:creationId xmlns:a16="http://schemas.microsoft.com/office/drawing/2014/main" id="{5B437BD6-D2C5-465D-9816-F3CC277895E8}"/>
                  </a:ext>
                </a:extLst>
              </p:cNvPr>
              <p:cNvGrpSpPr/>
              <p:nvPr/>
            </p:nvGrpSpPr>
            <p:grpSpPr>
              <a:xfrm>
                <a:off x="3197318" y="5374450"/>
                <a:ext cx="1102629" cy="1059331"/>
                <a:chOff x="3197318" y="5374450"/>
                <a:chExt cx="1102629" cy="1059331"/>
              </a:xfrm>
            </p:grpSpPr>
            <p:grpSp>
              <p:nvGrpSpPr>
                <p:cNvPr id="226" name="Group 162">
                  <a:extLst>
                    <a:ext uri="{FF2B5EF4-FFF2-40B4-BE49-F238E27FC236}">
                      <a16:creationId xmlns:a16="http://schemas.microsoft.com/office/drawing/2014/main" id="{E3FDCB9D-EAF5-43E8-B03B-968A56BB4819}"/>
                    </a:ext>
                  </a:extLst>
                </p:cNvPr>
                <p:cNvGrpSpPr/>
                <p:nvPr/>
              </p:nvGrpSpPr>
              <p:grpSpPr>
                <a:xfrm>
                  <a:off x="3197318" y="5719773"/>
                  <a:ext cx="367515" cy="311389"/>
                  <a:chOff x="3197318" y="5719773"/>
                  <a:chExt cx="367515" cy="311389"/>
                </a:xfrm>
              </p:grpSpPr>
              <p:sp>
                <p:nvSpPr>
                  <p:cNvPr id="252" name="Freeform 5">
                    <a:extLst>
                      <a:ext uri="{FF2B5EF4-FFF2-40B4-BE49-F238E27FC236}">
                        <a16:creationId xmlns:a16="http://schemas.microsoft.com/office/drawing/2014/main" id="{701CB8C2-7C35-4000-B646-0DA2FC0C284E}"/>
                      </a:ext>
                    </a:extLst>
                  </p:cNvPr>
                  <p:cNvSpPr/>
                  <p:nvPr/>
                </p:nvSpPr>
                <p:spPr>
                  <a:xfrm>
                    <a:off x="3317470" y="5953493"/>
                    <a:ext cx="94000" cy="46881"/>
                  </a:xfrm>
                  <a:custGeom>
                    <a:avLst/>
                    <a:gdLst>
                      <a:gd name="f0" fmla="val 10800000"/>
                      <a:gd name="f1" fmla="val 5400000"/>
                      <a:gd name="f2" fmla="val 180"/>
                      <a:gd name="f3" fmla="val w"/>
                      <a:gd name="f4" fmla="val h"/>
                      <a:gd name="f5" fmla="val 0"/>
                      <a:gd name="f6" fmla="val 48"/>
                      <a:gd name="f7" fmla="val 24"/>
                      <a:gd name="f8" fmla="val 42"/>
                      <a:gd name="f9" fmla="val 11"/>
                      <a:gd name="f10" fmla="val 22"/>
                      <a:gd name="f11" fmla="val 47"/>
                      <a:gd name="f12" fmla="val 23"/>
                      <a:gd name="f13" fmla="val 45"/>
                      <a:gd name="f14" fmla="val 3"/>
                      <a:gd name="f15" fmla="val 1"/>
                      <a:gd name="f16" fmla="val 6"/>
                      <a:gd name="f17" fmla="+- 0 0 -90"/>
                      <a:gd name="f18" fmla="*/ f3 1 48"/>
                      <a:gd name="f19" fmla="*/ f4 1 24"/>
                      <a:gd name="f20" fmla="val f5"/>
                      <a:gd name="f21" fmla="val f6"/>
                      <a:gd name="f22" fmla="val f7"/>
                      <a:gd name="f23" fmla="*/ f17 f0 1"/>
                      <a:gd name="f24" fmla="+- f22 0 f20"/>
                      <a:gd name="f25" fmla="+- f21 0 f20"/>
                      <a:gd name="f26" fmla="*/ f23 1 f2"/>
                      <a:gd name="f27" fmla="*/ f25 1 48"/>
                      <a:gd name="f28" fmla="*/ f24 1 24"/>
                      <a:gd name="f29" fmla="*/ 42 f25 1"/>
                      <a:gd name="f30" fmla="*/ 0 f24 1"/>
                      <a:gd name="f31" fmla="*/ 11 f24 1"/>
                      <a:gd name="f32" fmla="*/ 48 f25 1"/>
                      <a:gd name="f33" fmla="*/ 22 f24 1"/>
                      <a:gd name="f34" fmla="*/ 45 f25 1"/>
                      <a:gd name="f35" fmla="*/ 23 f24 1"/>
                      <a:gd name="f36" fmla="*/ 3 f25 1"/>
                      <a:gd name="f37" fmla="*/ 0 f25 1"/>
                      <a:gd name="f38" fmla="*/ 6 f25 1"/>
                      <a:gd name="f39" fmla="+- f26 0 f1"/>
                      <a:gd name="f40" fmla="*/ f29 1 48"/>
                      <a:gd name="f41" fmla="*/ f30 1 24"/>
                      <a:gd name="f42" fmla="*/ f31 1 24"/>
                      <a:gd name="f43" fmla="*/ f32 1 48"/>
                      <a:gd name="f44" fmla="*/ f33 1 24"/>
                      <a:gd name="f45" fmla="*/ f34 1 48"/>
                      <a:gd name="f46" fmla="*/ f35 1 24"/>
                      <a:gd name="f47" fmla="*/ f36 1 48"/>
                      <a:gd name="f48" fmla="*/ f37 1 48"/>
                      <a:gd name="f49" fmla="*/ f38 1 48"/>
                      <a:gd name="f50" fmla="*/ 0 1 f27"/>
                      <a:gd name="f51" fmla="*/ f21 1 f27"/>
                      <a:gd name="f52" fmla="*/ 0 1 f28"/>
                      <a:gd name="f53" fmla="*/ f22 1 f28"/>
                      <a:gd name="f54" fmla="*/ f40 1 f27"/>
                      <a:gd name="f55" fmla="*/ f41 1 f28"/>
                      <a:gd name="f56" fmla="*/ f42 1 f28"/>
                      <a:gd name="f57" fmla="*/ f43 1 f27"/>
                      <a:gd name="f58" fmla="*/ f44 1 f28"/>
                      <a:gd name="f59" fmla="*/ f45 1 f27"/>
                      <a:gd name="f60" fmla="*/ f46 1 f28"/>
                      <a:gd name="f61" fmla="*/ f47 1 f27"/>
                      <a:gd name="f62" fmla="*/ f48 1 f27"/>
                      <a:gd name="f63" fmla="*/ f49 1 f27"/>
                      <a:gd name="f64" fmla="*/ f50 f18 1"/>
                      <a:gd name="f65" fmla="*/ f51 f18 1"/>
                      <a:gd name="f66" fmla="*/ f53 f19 1"/>
                      <a:gd name="f67" fmla="*/ f52 f19 1"/>
                      <a:gd name="f68" fmla="*/ f54 f18 1"/>
                      <a:gd name="f69" fmla="*/ f55 f19 1"/>
                      <a:gd name="f70" fmla="*/ f56 f19 1"/>
                      <a:gd name="f71" fmla="*/ f57 f18 1"/>
                      <a:gd name="f72" fmla="*/ f58 f19 1"/>
                      <a:gd name="f73" fmla="*/ f59 f18 1"/>
                      <a:gd name="f74" fmla="*/ f60 f19 1"/>
                      <a:gd name="f75" fmla="*/ f61 f18 1"/>
                      <a:gd name="f76" fmla="*/ f62 f18 1"/>
                      <a:gd name="f77" fmla="*/ f63 f18 1"/>
                    </a:gdLst>
                    <a:ahLst/>
                    <a:cxnLst>
                      <a:cxn ang="3cd4">
                        <a:pos x="hc" y="t"/>
                      </a:cxn>
                      <a:cxn ang="0">
                        <a:pos x="r" y="vc"/>
                      </a:cxn>
                      <a:cxn ang="cd4">
                        <a:pos x="hc" y="b"/>
                      </a:cxn>
                      <a:cxn ang="cd2">
                        <a:pos x="l" y="vc"/>
                      </a:cxn>
                      <a:cxn ang="f39">
                        <a:pos x="f68" y="f69"/>
                      </a:cxn>
                      <a:cxn ang="f39">
                        <a:pos x="f68" y="f70"/>
                      </a:cxn>
                      <a:cxn ang="f39">
                        <a:pos x="f71" y="f72"/>
                      </a:cxn>
                      <a:cxn ang="f39">
                        <a:pos x="f73" y="f74"/>
                      </a:cxn>
                      <a:cxn ang="f39">
                        <a:pos x="f75" y="f74"/>
                      </a:cxn>
                      <a:cxn ang="f39">
                        <a:pos x="f76" y="f72"/>
                      </a:cxn>
                      <a:cxn ang="f39">
                        <a:pos x="f77" y="f70"/>
                      </a:cxn>
                      <a:cxn ang="f39">
                        <a:pos x="f77" y="f69"/>
                      </a:cxn>
                    </a:cxnLst>
                    <a:rect l="f64" t="f67" r="f65" b="f66"/>
                    <a:pathLst>
                      <a:path w="48" h="24">
                        <a:moveTo>
                          <a:pt x="f8" y="f5"/>
                        </a:moveTo>
                        <a:cubicBezTo>
                          <a:pt x="f8" y="f9"/>
                          <a:pt x="f8" y="f9"/>
                          <a:pt x="f8" y="f9"/>
                        </a:cubicBezTo>
                        <a:cubicBezTo>
                          <a:pt x="f6" y="f10"/>
                          <a:pt x="f6" y="f10"/>
                          <a:pt x="f6" y="f10"/>
                        </a:cubicBezTo>
                        <a:cubicBezTo>
                          <a:pt x="f6" y="f7"/>
                          <a:pt x="f11" y="f12"/>
                          <a:pt x="f13" y="f12"/>
                        </a:cubicBezTo>
                        <a:cubicBezTo>
                          <a:pt x="f14" y="f12"/>
                          <a:pt x="f14" y="f12"/>
                          <a:pt x="f14" y="f12"/>
                        </a:cubicBezTo>
                        <a:cubicBezTo>
                          <a:pt x="f15" y="f12"/>
                          <a:pt x="f5" y="f7"/>
                          <a:pt x="f5" y="f10"/>
                        </a:cubicBezTo>
                        <a:cubicBezTo>
                          <a:pt x="f16" y="f9"/>
                          <a:pt x="f16" y="f9"/>
                          <a:pt x="f16" y="f9"/>
                        </a:cubicBezTo>
                        <a:cubicBezTo>
                          <a:pt x="f16" y="f5"/>
                          <a:pt x="f16" y="f5"/>
                          <a:pt x="f16" y="f5"/>
                        </a:cubicBez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sp>
                <p:nvSpPr>
                  <p:cNvPr id="253" name="Freeform 6">
                    <a:extLst>
                      <a:ext uri="{FF2B5EF4-FFF2-40B4-BE49-F238E27FC236}">
                        <a16:creationId xmlns:a16="http://schemas.microsoft.com/office/drawing/2014/main" id="{5660CD59-18E1-4783-8E5A-DDD6F491AD17}"/>
                      </a:ext>
                    </a:extLst>
                  </p:cNvPr>
                  <p:cNvSpPr/>
                  <p:nvPr/>
                </p:nvSpPr>
                <p:spPr>
                  <a:xfrm>
                    <a:off x="3197318" y="5719773"/>
                    <a:ext cx="330756" cy="234415"/>
                  </a:xfrm>
                  <a:custGeom>
                    <a:avLst/>
                    <a:gdLst>
                      <a:gd name="f0" fmla="val 10800000"/>
                      <a:gd name="f1" fmla="val 5400000"/>
                      <a:gd name="f2" fmla="val 180"/>
                      <a:gd name="f3" fmla="val w"/>
                      <a:gd name="f4" fmla="val h"/>
                      <a:gd name="f5" fmla="val 0"/>
                      <a:gd name="f6" fmla="val 168"/>
                      <a:gd name="f7" fmla="val 120"/>
                      <a:gd name="f8" fmla="val 118"/>
                      <a:gd name="f9" fmla="val 10"/>
                      <a:gd name="f10" fmla="val 4"/>
                      <a:gd name="f11" fmla="val 115"/>
                      <a:gd name="f12" fmla="val 110"/>
                      <a:gd name="f13" fmla="val 158"/>
                      <a:gd name="f14" fmla="val 164"/>
                      <a:gd name="f15" fmla="val 29"/>
                      <a:gd name="f16" fmla="+- 0 0 -90"/>
                      <a:gd name="f17" fmla="*/ f3 1 168"/>
                      <a:gd name="f18" fmla="*/ f4 1 120"/>
                      <a:gd name="f19" fmla="val f5"/>
                      <a:gd name="f20" fmla="val f6"/>
                      <a:gd name="f21" fmla="val f7"/>
                      <a:gd name="f22" fmla="*/ f16 f0 1"/>
                      <a:gd name="f23" fmla="+- f21 0 f19"/>
                      <a:gd name="f24" fmla="+- f20 0 f19"/>
                      <a:gd name="f25" fmla="*/ f22 1 f2"/>
                      <a:gd name="f26" fmla="*/ f24 1 168"/>
                      <a:gd name="f27" fmla="*/ f23 1 120"/>
                      <a:gd name="f28" fmla="*/ 118 f24 1"/>
                      <a:gd name="f29" fmla="*/ 120 f23 1"/>
                      <a:gd name="f30" fmla="*/ 10 f24 1"/>
                      <a:gd name="f31" fmla="*/ 0 f24 1"/>
                      <a:gd name="f32" fmla="*/ 110 f23 1"/>
                      <a:gd name="f33" fmla="*/ 10 f23 1"/>
                      <a:gd name="f34" fmla="*/ 0 f23 1"/>
                      <a:gd name="f35" fmla="*/ 158 f24 1"/>
                      <a:gd name="f36" fmla="*/ 168 f24 1"/>
                      <a:gd name="f37" fmla="*/ 29 f23 1"/>
                      <a:gd name="f38" fmla="+- f25 0 f1"/>
                      <a:gd name="f39" fmla="*/ f28 1 168"/>
                      <a:gd name="f40" fmla="*/ f29 1 120"/>
                      <a:gd name="f41" fmla="*/ f30 1 168"/>
                      <a:gd name="f42" fmla="*/ f31 1 168"/>
                      <a:gd name="f43" fmla="*/ f32 1 120"/>
                      <a:gd name="f44" fmla="*/ f33 1 120"/>
                      <a:gd name="f45" fmla="*/ f34 1 120"/>
                      <a:gd name="f46" fmla="*/ f35 1 168"/>
                      <a:gd name="f47" fmla="*/ f36 1 168"/>
                      <a:gd name="f48" fmla="*/ f37 1 120"/>
                      <a:gd name="f49" fmla="*/ 0 1 f26"/>
                      <a:gd name="f50" fmla="*/ f20 1 f26"/>
                      <a:gd name="f51" fmla="*/ 0 1 f27"/>
                      <a:gd name="f52" fmla="*/ f21 1 f27"/>
                      <a:gd name="f53" fmla="*/ f39 1 f26"/>
                      <a:gd name="f54" fmla="*/ f40 1 f27"/>
                      <a:gd name="f55" fmla="*/ f41 1 f26"/>
                      <a:gd name="f56" fmla="*/ f42 1 f26"/>
                      <a:gd name="f57" fmla="*/ f43 1 f27"/>
                      <a:gd name="f58" fmla="*/ f44 1 f27"/>
                      <a:gd name="f59" fmla="*/ f45 1 f27"/>
                      <a:gd name="f60" fmla="*/ f46 1 f26"/>
                      <a:gd name="f61" fmla="*/ f47 1 f26"/>
                      <a:gd name="f62" fmla="*/ f48 1 f27"/>
                      <a:gd name="f63" fmla="*/ f49 f17 1"/>
                      <a:gd name="f64" fmla="*/ f50 f17 1"/>
                      <a:gd name="f65" fmla="*/ f52 f18 1"/>
                      <a:gd name="f66" fmla="*/ f51 f18 1"/>
                      <a:gd name="f67" fmla="*/ f53 f17 1"/>
                      <a:gd name="f68" fmla="*/ f54 f18 1"/>
                      <a:gd name="f69" fmla="*/ f55 f17 1"/>
                      <a:gd name="f70" fmla="*/ f56 f17 1"/>
                      <a:gd name="f71" fmla="*/ f57 f18 1"/>
                      <a:gd name="f72" fmla="*/ f58 f18 1"/>
                      <a:gd name="f73" fmla="*/ f59 f18 1"/>
                      <a:gd name="f74" fmla="*/ f60 f17 1"/>
                      <a:gd name="f75" fmla="*/ f61 f17 1"/>
                      <a:gd name="f76" fmla="*/ f62 f18 1"/>
                    </a:gdLst>
                    <a:ahLst/>
                    <a:cxnLst>
                      <a:cxn ang="3cd4">
                        <a:pos x="hc" y="t"/>
                      </a:cxn>
                      <a:cxn ang="0">
                        <a:pos x="r" y="vc"/>
                      </a:cxn>
                      <a:cxn ang="cd4">
                        <a:pos x="hc" y="b"/>
                      </a:cxn>
                      <a:cxn ang="cd2">
                        <a:pos x="l" y="vc"/>
                      </a:cxn>
                      <a:cxn ang="f38">
                        <a:pos x="f67" y="f68"/>
                      </a:cxn>
                      <a:cxn ang="f38">
                        <a:pos x="f69" y="f68"/>
                      </a:cxn>
                      <a:cxn ang="f38">
                        <a:pos x="f70" y="f71"/>
                      </a:cxn>
                      <a:cxn ang="f38">
                        <a:pos x="f70" y="f72"/>
                      </a:cxn>
                      <a:cxn ang="f38">
                        <a:pos x="f69" y="f73"/>
                      </a:cxn>
                      <a:cxn ang="f38">
                        <a:pos x="f74" y="f73"/>
                      </a:cxn>
                      <a:cxn ang="f38">
                        <a:pos x="f75" y="f72"/>
                      </a:cxn>
                      <a:cxn ang="f38">
                        <a:pos x="f75" y="f76"/>
                      </a:cxn>
                    </a:cxnLst>
                    <a:rect l="f63" t="f66" r="f64" b="f65"/>
                    <a:pathLst>
                      <a:path w="168" h="120">
                        <a:moveTo>
                          <a:pt x="f8" y="f7"/>
                        </a:moveTo>
                        <a:cubicBezTo>
                          <a:pt x="f9" y="f7"/>
                          <a:pt x="f9" y="f7"/>
                          <a:pt x="f9" y="f7"/>
                        </a:cubicBezTo>
                        <a:cubicBezTo>
                          <a:pt x="f10" y="f7"/>
                          <a:pt x="f5" y="f11"/>
                          <a:pt x="f5" y="f12"/>
                        </a:cubicBezTo>
                        <a:cubicBezTo>
                          <a:pt x="f5" y="f9"/>
                          <a:pt x="f5" y="f9"/>
                          <a:pt x="f5" y="f9"/>
                        </a:cubicBezTo>
                        <a:cubicBezTo>
                          <a:pt x="f5" y="f10"/>
                          <a:pt x="f10" y="f5"/>
                          <a:pt x="f9" y="f5"/>
                        </a:cubicBezTo>
                        <a:cubicBezTo>
                          <a:pt x="f13" y="f5"/>
                          <a:pt x="f13" y="f5"/>
                          <a:pt x="f13" y="f5"/>
                        </a:cubicBezTo>
                        <a:cubicBezTo>
                          <a:pt x="f14" y="f5"/>
                          <a:pt x="f6" y="f10"/>
                          <a:pt x="f6" y="f9"/>
                        </a:cubicBezTo>
                        <a:cubicBezTo>
                          <a:pt x="f6" y="f15"/>
                          <a:pt x="f6" y="f15"/>
                          <a:pt x="f6" y="f15"/>
                        </a:cubicBez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sp>
                <p:nvSpPr>
                  <p:cNvPr id="254" name="Freeform 7">
                    <a:extLst>
                      <a:ext uri="{FF2B5EF4-FFF2-40B4-BE49-F238E27FC236}">
                        <a16:creationId xmlns:a16="http://schemas.microsoft.com/office/drawing/2014/main" id="{3DA652F4-96D8-4C19-9B1D-097F617EBEDA}"/>
                      </a:ext>
                    </a:extLst>
                  </p:cNvPr>
                  <p:cNvSpPr/>
                  <p:nvPr/>
                </p:nvSpPr>
                <p:spPr>
                  <a:xfrm>
                    <a:off x="3201561" y="5912208"/>
                    <a:ext cx="227575" cy="0"/>
                  </a:xfrm>
                  <a:custGeom>
                    <a:avLst/>
                    <a:gdLst>
                      <a:gd name="f0" fmla="val 10800000"/>
                      <a:gd name="f1" fmla="val 5400000"/>
                      <a:gd name="f2" fmla="val 180"/>
                      <a:gd name="f3" fmla="val w"/>
                      <a:gd name="f4" fmla="val h"/>
                      <a:gd name="f5" fmla="val 0"/>
                      <a:gd name="f6" fmla="val 227573"/>
                      <a:gd name="f7" fmla="val 126902"/>
                      <a:gd name="f8" fmla="+- 0 0 -90"/>
                      <a:gd name="f9" fmla="*/ f3 1 227573"/>
                      <a:gd name="f10" fmla="*/ f4 1 0"/>
                      <a:gd name="f11" fmla="val f5"/>
                      <a:gd name="f12" fmla="val f6"/>
                      <a:gd name="f13" fmla="*/ f8 f0 1"/>
                      <a:gd name="f14" fmla="+- f11 0 f11"/>
                      <a:gd name="f15" fmla="+- f12 0 f11"/>
                      <a:gd name="f16" fmla="*/ f13 1 f2"/>
                      <a:gd name="f17" fmla="*/ f15 1 227573"/>
                      <a:gd name="f18" fmla="*/ f14 1 0"/>
                      <a:gd name="f19" fmla="+- f16 0 f1"/>
                      <a:gd name="f20" fmla="*/ 0 1 f17"/>
                      <a:gd name="f21" fmla="*/ 0 1 f18"/>
                      <a:gd name="f22" fmla="*/ 126902 1 f17"/>
                      <a:gd name="f23" fmla="*/ 227573 1 f17"/>
                      <a:gd name="f24" fmla="*/ 1 1 f18"/>
                      <a:gd name="f25" fmla="*/ f20 f9 1"/>
                      <a:gd name="f26" fmla="*/ f23 f9 1"/>
                      <a:gd name="f27" fmla="*/ f24 f10 1"/>
                      <a:gd name="f28" fmla="*/ f21 f10 1"/>
                      <a:gd name="f29" fmla="*/ f22 f9 1"/>
                    </a:gdLst>
                    <a:ahLst/>
                    <a:cxnLst>
                      <a:cxn ang="3cd4">
                        <a:pos x="hc" y="t"/>
                      </a:cxn>
                      <a:cxn ang="0">
                        <a:pos x="r" y="vc"/>
                      </a:cxn>
                      <a:cxn ang="cd4">
                        <a:pos x="hc" y="b"/>
                      </a:cxn>
                      <a:cxn ang="cd2">
                        <a:pos x="l" y="vc"/>
                      </a:cxn>
                      <a:cxn ang="f19">
                        <a:pos x="f25" y="f28"/>
                      </a:cxn>
                      <a:cxn ang="f19">
                        <a:pos x="f29" y="f28"/>
                      </a:cxn>
                      <a:cxn ang="f19">
                        <a:pos x="f26" y="f28"/>
                      </a:cxn>
                    </a:cxnLst>
                    <a:rect l="f25" t="f28" r="f26" b="f27"/>
                    <a:pathLst>
                      <a:path w="227573">
                        <a:moveTo>
                          <a:pt x="f5" y="f5"/>
                        </a:moveTo>
                        <a:lnTo>
                          <a:pt x="f7" y="f5"/>
                        </a:lnTo>
                        <a:lnTo>
                          <a:pt x="f6" y="f5"/>
                        </a:ln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sp>
                <p:nvSpPr>
                  <p:cNvPr id="255" name="Freeform 8">
                    <a:extLst>
                      <a:ext uri="{FF2B5EF4-FFF2-40B4-BE49-F238E27FC236}">
                        <a16:creationId xmlns:a16="http://schemas.microsoft.com/office/drawing/2014/main" id="{CBB4CF15-6712-452C-B2C7-94E12995CED4}"/>
                      </a:ext>
                    </a:extLst>
                  </p:cNvPr>
                  <p:cNvSpPr/>
                  <p:nvPr/>
                </p:nvSpPr>
                <p:spPr>
                  <a:xfrm>
                    <a:off x="3429137" y="5775752"/>
                    <a:ext cx="135696" cy="255410"/>
                  </a:xfrm>
                  <a:custGeom>
                    <a:avLst/>
                    <a:gdLst>
                      <a:gd name="f0" fmla="val 10800000"/>
                      <a:gd name="f1" fmla="val 5400000"/>
                      <a:gd name="f2" fmla="val 180"/>
                      <a:gd name="f3" fmla="val w"/>
                      <a:gd name="f4" fmla="val h"/>
                      <a:gd name="f5" fmla="val 0"/>
                      <a:gd name="f6" fmla="val 69"/>
                      <a:gd name="f7" fmla="val 131"/>
                      <a:gd name="f8" fmla="val 118"/>
                      <a:gd name="f9" fmla="val 126"/>
                      <a:gd name="f10" fmla="val 64"/>
                      <a:gd name="f11" fmla="val 56"/>
                      <a:gd name="f12" fmla="val 12"/>
                      <a:gd name="f13" fmla="val 4"/>
                      <a:gd name="f14" fmla="val 13"/>
                      <a:gd name="f15" fmla="+- 0 0 -90"/>
                      <a:gd name="f16" fmla="*/ f3 1 69"/>
                      <a:gd name="f17" fmla="*/ f4 1 131"/>
                      <a:gd name="f18" fmla="val f5"/>
                      <a:gd name="f19" fmla="val f6"/>
                      <a:gd name="f20" fmla="val f7"/>
                      <a:gd name="f21" fmla="*/ f15 f0 1"/>
                      <a:gd name="f22" fmla="+- f20 0 f18"/>
                      <a:gd name="f23" fmla="+- f19 0 f18"/>
                      <a:gd name="f24" fmla="*/ f21 1 f2"/>
                      <a:gd name="f25" fmla="*/ f23 1 69"/>
                      <a:gd name="f26" fmla="*/ f22 1 131"/>
                      <a:gd name="f27" fmla="*/ 69 f23 1"/>
                      <a:gd name="f28" fmla="*/ 118 f22 1"/>
                      <a:gd name="f29" fmla="*/ 56 f23 1"/>
                      <a:gd name="f30" fmla="*/ 131 f22 1"/>
                      <a:gd name="f31" fmla="*/ 12 f23 1"/>
                      <a:gd name="f32" fmla="*/ 0 f23 1"/>
                      <a:gd name="f33" fmla="*/ 13 f22 1"/>
                      <a:gd name="f34" fmla="*/ 0 f22 1"/>
                      <a:gd name="f35" fmla="+- f24 0 f1"/>
                      <a:gd name="f36" fmla="*/ f27 1 69"/>
                      <a:gd name="f37" fmla="*/ f28 1 131"/>
                      <a:gd name="f38" fmla="*/ f29 1 69"/>
                      <a:gd name="f39" fmla="*/ f30 1 131"/>
                      <a:gd name="f40" fmla="*/ f31 1 69"/>
                      <a:gd name="f41" fmla="*/ f32 1 69"/>
                      <a:gd name="f42" fmla="*/ f33 1 131"/>
                      <a:gd name="f43" fmla="*/ f34 1 131"/>
                      <a:gd name="f44" fmla="*/ 0 1 f25"/>
                      <a:gd name="f45" fmla="*/ f19 1 f25"/>
                      <a:gd name="f46" fmla="*/ 0 1 f26"/>
                      <a:gd name="f47" fmla="*/ f20 1 f26"/>
                      <a:gd name="f48" fmla="*/ f36 1 f25"/>
                      <a:gd name="f49" fmla="*/ f37 1 f26"/>
                      <a:gd name="f50" fmla="*/ f38 1 f25"/>
                      <a:gd name="f51" fmla="*/ f39 1 f26"/>
                      <a:gd name="f52" fmla="*/ f40 1 f25"/>
                      <a:gd name="f53" fmla="*/ f41 1 f25"/>
                      <a:gd name="f54" fmla="*/ f42 1 f26"/>
                      <a:gd name="f55" fmla="*/ f43 1 f26"/>
                      <a:gd name="f56" fmla="*/ f44 f16 1"/>
                      <a:gd name="f57" fmla="*/ f45 f16 1"/>
                      <a:gd name="f58" fmla="*/ f47 f17 1"/>
                      <a:gd name="f59" fmla="*/ f46 f17 1"/>
                      <a:gd name="f60" fmla="*/ f48 f16 1"/>
                      <a:gd name="f61" fmla="*/ f49 f17 1"/>
                      <a:gd name="f62" fmla="*/ f50 f16 1"/>
                      <a:gd name="f63" fmla="*/ f51 f17 1"/>
                      <a:gd name="f64" fmla="*/ f52 f16 1"/>
                      <a:gd name="f65" fmla="*/ f53 f16 1"/>
                      <a:gd name="f66" fmla="*/ f54 f17 1"/>
                      <a:gd name="f67" fmla="*/ f55 f17 1"/>
                    </a:gdLst>
                    <a:ahLst/>
                    <a:cxnLst>
                      <a:cxn ang="3cd4">
                        <a:pos x="hc" y="t"/>
                      </a:cxn>
                      <a:cxn ang="0">
                        <a:pos x="r" y="vc"/>
                      </a:cxn>
                      <a:cxn ang="cd4">
                        <a:pos x="hc" y="b"/>
                      </a:cxn>
                      <a:cxn ang="cd2">
                        <a:pos x="l" y="vc"/>
                      </a:cxn>
                      <a:cxn ang="f35">
                        <a:pos x="f60" y="f61"/>
                      </a:cxn>
                      <a:cxn ang="f35">
                        <a:pos x="f62" y="f63"/>
                      </a:cxn>
                      <a:cxn ang="f35">
                        <a:pos x="f64" y="f63"/>
                      </a:cxn>
                      <a:cxn ang="f35">
                        <a:pos x="f65" y="f61"/>
                      </a:cxn>
                      <a:cxn ang="f35">
                        <a:pos x="f65" y="f66"/>
                      </a:cxn>
                      <a:cxn ang="f35">
                        <a:pos x="f64" y="f67"/>
                      </a:cxn>
                      <a:cxn ang="f35">
                        <a:pos x="f62" y="f67"/>
                      </a:cxn>
                      <a:cxn ang="f35">
                        <a:pos x="f60" y="f66"/>
                      </a:cxn>
                      <a:cxn ang="f35">
                        <a:pos x="f60" y="f61"/>
                      </a:cxn>
                    </a:cxnLst>
                    <a:rect l="f56" t="f59" r="f57" b="f58"/>
                    <a:pathLst>
                      <a:path w="69" h="13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3"/>
                          <a:pt x="f13" y="f5"/>
                          <a:pt x="f12" y="f5"/>
                        </a:cubicBezTo>
                        <a:cubicBezTo>
                          <a:pt x="f11" y="f5"/>
                          <a:pt x="f11" y="f5"/>
                          <a:pt x="f11" y="f5"/>
                        </a:cubicBezTo>
                        <a:cubicBezTo>
                          <a:pt x="f10" y="f5"/>
                          <a:pt x="f6" y="f13"/>
                          <a:pt x="f6" y="f14"/>
                        </a:cubicBezTo>
                        <a:lnTo>
                          <a:pt x="f6" y="f8"/>
                        </a:lnTo>
                        <a:close/>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sp>
                <p:nvSpPr>
                  <p:cNvPr id="256" name="Line 9">
                    <a:extLst>
                      <a:ext uri="{FF2B5EF4-FFF2-40B4-BE49-F238E27FC236}">
                        <a16:creationId xmlns:a16="http://schemas.microsoft.com/office/drawing/2014/main" id="{D9B3FA66-2671-4621-BA26-40B37A930DD0}"/>
                      </a:ext>
                    </a:extLst>
                  </p:cNvPr>
                  <p:cNvSpPr/>
                  <p:nvPr/>
                </p:nvSpPr>
                <p:spPr>
                  <a:xfrm flipH="1" flipV="1">
                    <a:off x="3429137" y="5994778"/>
                    <a:ext cx="135696"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sp>
                <p:nvSpPr>
                  <p:cNvPr id="257" name="Line 10">
                    <a:extLst>
                      <a:ext uri="{FF2B5EF4-FFF2-40B4-BE49-F238E27FC236}">
                        <a16:creationId xmlns:a16="http://schemas.microsoft.com/office/drawing/2014/main" id="{5DB154A1-01E1-4DD6-8992-A5A7A73C296B}"/>
                      </a:ext>
                    </a:extLst>
                  </p:cNvPr>
                  <p:cNvSpPr/>
                  <p:nvPr/>
                </p:nvSpPr>
                <p:spPr>
                  <a:xfrm>
                    <a:off x="3429137" y="5809347"/>
                    <a:ext cx="135696"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FFFFFF"/>
                      </a:solidFill>
                      <a:effectLst/>
                      <a:uLnTx/>
                      <a:uFillTx/>
                      <a:latin typeface="Segoe UI"/>
                      <a:ea typeface="+mn-ea"/>
                      <a:cs typeface="+mn-cs"/>
                    </a:endParaRPr>
                  </a:p>
                </p:txBody>
              </p:sp>
            </p:grpSp>
            <p:grpSp>
              <p:nvGrpSpPr>
                <p:cNvPr id="227" name="Group 169">
                  <a:extLst>
                    <a:ext uri="{FF2B5EF4-FFF2-40B4-BE49-F238E27FC236}">
                      <a16:creationId xmlns:a16="http://schemas.microsoft.com/office/drawing/2014/main" id="{2678F436-0F52-4678-BA50-FE3B94C8A54C}"/>
                    </a:ext>
                  </a:extLst>
                </p:cNvPr>
                <p:cNvGrpSpPr/>
                <p:nvPr/>
              </p:nvGrpSpPr>
              <p:grpSpPr>
                <a:xfrm>
                  <a:off x="3622203" y="6072283"/>
                  <a:ext cx="272893" cy="361498"/>
                  <a:chOff x="3622203" y="6072283"/>
                  <a:chExt cx="272893" cy="361498"/>
                </a:xfrm>
              </p:grpSpPr>
              <p:sp>
                <p:nvSpPr>
                  <p:cNvPr id="240" name="Freeform 29">
                    <a:extLst>
                      <a:ext uri="{FF2B5EF4-FFF2-40B4-BE49-F238E27FC236}">
                        <a16:creationId xmlns:a16="http://schemas.microsoft.com/office/drawing/2014/main" id="{AB9D9C77-41CB-42BE-860C-00A77ABE4589}"/>
                      </a:ext>
                    </a:extLst>
                  </p:cNvPr>
                  <p:cNvSpPr/>
                  <p:nvPr/>
                </p:nvSpPr>
                <p:spPr>
                  <a:xfrm>
                    <a:off x="3622203" y="6072283"/>
                    <a:ext cx="272893" cy="361498"/>
                  </a:xfrm>
                  <a:custGeom>
                    <a:avLst/>
                    <a:gdLst>
                      <a:gd name="f0" fmla="val 10800000"/>
                      <a:gd name="f1" fmla="val 5400000"/>
                      <a:gd name="f2" fmla="val 180"/>
                      <a:gd name="f3" fmla="val w"/>
                      <a:gd name="f4" fmla="val h"/>
                      <a:gd name="f5" fmla="val 0"/>
                      <a:gd name="f6" fmla="val 172"/>
                      <a:gd name="f7" fmla="val 228"/>
                      <a:gd name="f8" fmla="val 13"/>
                      <a:gd name="f9" fmla="val 6"/>
                      <a:gd name="f10" fmla="val 5"/>
                      <a:gd name="f11" fmla="val 12"/>
                      <a:gd name="f12" fmla="val 216"/>
                      <a:gd name="f13" fmla="val 223"/>
                      <a:gd name="f14" fmla="val 159"/>
                      <a:gd name="f15" fmla="val 166"/>
                      <a:gd name="f16" fmla="val 59"/>
                      <a:gd name="f17" fmla="val 110"/>
                      <a:gd name="f18" fmla="+- 0 0 -90"/>
                      <a:gd name="f19" fmla="*/ f3 1 172"/>
                      <a:gd name="f20" fmla="*/ f4 1 228"/>
                      <a:gd name="f21" fmla="val f5"/>
                      <a:gd name="f22" fmla="val f6"/>
                      <a:gd name="f23" fmla="val f7"/>
                      <a:gd name="f24" fmla="*/ f18 f0 1"/>
                      <a:gd name="f25" fmla="+- f23 0 f21"/>
                      <a:gd name="f26" fmla="+- f22 0 f21"/>
                      <a:gd name="f27" fmla="*/ f24 1 f2"/>
                      <a:gd name="f28" fmla="*/ f26 1 172"/>
                      <a:gd name="f29" fmla="*/ f25 1 228"/>
                      <a:gd name="f30" fmla="*/ 13 f26 1"/>
                      <a:gd name="f31" fmla="*/ 0 f25 1"/>
                      <a:gd name="f32" fmla="*/ 0 f26 1"/>
                      <a:gd name="f33" fmla="*/ 12 f25 1"/>
                      <a:gd name="f34" fmla="*/ 216 f25 1"/>
                      <a:gd name="f35" fmla="*/ 228 f25 1"/>
                      <a:gd name="f36" fmla="*/ 159 f26 1"/>
                      <a:gd name="f37" fmla="*/ 172 f26 1"/>
                      <a:gd name="f38" fmla="*/ 59 f25 1"/>
                      <a:gd name="f39" fmla="*/ 110 f26 1"/>
                      <a:gd name="f40" fmla="+- f27 0 f1"/>
                      <a:gd name="f41" fmla="*/ f30 1 172"/>
                      <a:gd name="f42" fmla="*/ f31 1 228"/>
                      <a:gd name="f43" fmla="*/ f32 1 172"/>
                      <a:gd name="f44" fmla="*/ f33 1 228"/>
                      <a:gd name="f45" fmla="*/ f34 1 228"/>
                      <a:gd name="f46" fmla="*/ f35 1 228"/>
                      <a:gd name="f47" fmla="*/ f36 1 172"/>
                      <a:gd name="f48" fmla="*/ f37 1 172"/>
                      <a:gd name="f49" fmla="*/ f38 1 228"/>
                      <a:gd name="f50" fmla="*/ f39 1 172"/>
                      <a:gd name="f51" fmla="*/ 0 1 f28"/>
                      <a:gd name="f52" fmla="*/ f22 1 f28"/>
                      <a:gd name="f53" fmla="*/ 0 1 f29"/>
                      <a:gd name="f54" fmla="*/ f23 1 f29"/>
                      <a:gd name="f55" fmla="*/ f41 1 f28"/>
                      <a:gd name="f56" fmla="*/ f42 1 f29"/>
                      <a:gd name="f57" fmla="*/ f43 1 f28"/>
                      <a:gd name="f58" fmla="*/ f44 1 f29"/>
                      <a:gd name="f59" fmla="*/ f45 1 f29"/>
                      <a:gd name="f60" fmla="*/ f46 1 f29"/>
                      <a:gd name="f61" fmla="*/ f47 1 f28"/>
                      <a:gd name="f62" fmla="*/ f48 1 f28"/>
                      <a:gd name="f63" fmla="*/ f49 1 f29"/>
                      <a:gd name="f64" fmla="*/ f50 1 f28"/>
                      <a:gd name="f65" fmla="*/ f51 f19 1"/>
                      <a:gd name="f66" fmla="*/ f52 f19 1"/>
                      <a:gd name="f67" fmla="*/ f54 f20 1"/>
                      <a:gd name="f68" fmla="*/ f53 f20 1"/>
                      <a:gd name="f69" fmla="*/ f55 f19 1"/>
                      <a:gd name="f70" fmla="*/ f56 f20 1"/>
                      <a:gd name="f71" fmla="*/ f57 f19 1"/>
                      <a:gd name="f72" fmla="*/ f58 f20 1"/>
                      <a:gd name="f73" fmla="*/ f59 f20 1"/>
                      <a:gd name="f74" fmla="*/ f60 f20 1"/>
                      <a:gd name="f75" fmla="*/ f61 f19 1"/>
                      <a:gd name="f76" fmla="*/ f62 f19 1"/>
                      <a:gd name="f77" fmla="*/ f63 f20 1"/>
                      <a:gd name="f78" fmla="*/ f64 f19 1"/>
                    </a:gdLst>
                    <a:ahLst/>
                    <a:cxnLst>
                      <a:cxn ang="3cd4">
                        <a:pos x="hc" y="t"/>
                      </a:cxn>
                      <a:cxn ang="0">
                        <a:pos x="r" y="vc"/>
                      </a:cxn>
                      <a:cxn ang="cd4">
                        <a:pos x="hc" y="b"/>
                      </a:cxn>
                      <a:cxn ang="cd2">
                        <a:pos x="l" y="vc"/>
                      </a:cxn>
                      <a:cxn ang="f40">
                        <a:pos x="f69" y="f70"/>
                      </a:cxn>
                      <a:cxn ang="f40">
                        <a:pos x="f71" y="f72"/>
                      </a:cxn>
                      <a:cxn ang="f40">
                        <a:pos x="f71" y="f73"/>
                      </a:cxn>
                      <a:cxn ang="f40">
                        <a:pos x="f69" y="f74"/>
                      </a:cxn>
                      <a:cxn ang="f40">
                        <a:pos x="f75" y="f74"/>
                      </a:cxn>
                      <a:cxn ang="f40">
                        <a:pos x="f76" y="f73"/>
                      </a:cxn>
                      <a:cxn ang="f40">
                        <a:pos x="f76" y="f77"/>
                      </a:cxn>
                      <a:cxn ang="f40">
                        <a:pos x="f78" y="f70"/>
                      </a:cxn>
                      <a:cxn ang="f40">
                        <a:pos x="f69" y="f70"/>
                      </a:cxn>
                    </a:cxnLst>
                    <a:rect l="f65" t="f68" r="f66" b="f67"/>
                    <a:pathLst>
                      <a:path w="172" h="228">
                        <a:moveTo>
                          <a:pt x="f8" y="f5"/>
                        </a:moveTo>
                        <a:cubicBezTo>
                          <a:pt x="f9" y="f5"/>
                          <a:pt x="f5" y="f10"/>
                          <a:pt x="f5" y="f11"/>
                        </a:cubicBezTo>
                        <a:cubicBezTo>
                          <a:pt x="f5" y="f12"/>
                          <a:pt x="f5" y="f12"/>
                          <a:pt x="f5" y="f12"/>
                        </a:cubicBezTo>
                        <a:cubicBezTo>
                          <a:pt x="f5" y="f13"/>
                          <a:pt x="f9" y="f7"/>
                          <a:pt x="f8" y="f7"/>
                        </a:cubicBezTo>
                        <a:cubicBezTo>
                          <a:pt x="f14" y="f7"/>
                          <a:pt x="f14" y="f7"/>
                          <a:pt x="f14" y="f7"/>
                        </a:cubicBezTo>
                        <a:cubicBezTo>
                          <a:pt x="f15" y="f7"/>
                          <a:pt x="f6" y="f13"/>
                          <a:pt x="f6" y="f12"/>
                        </a:cubicBezTo>
                        <a:cubicBezTo>
                          <a:pt x="f6" y="f16"/>
                          <a:pt x="f6" y="f16"/>
                          <a:pt x="f6" y="f16"/>
                        </a:cubicBezTo>
                        <a:cubicBezTo>
                          <a:pt x="f17" y="f5"/>
                          <a:pt x="f17" y="f5"/>
                          <a:pt x="f17" y="f5"/>
                        </a:cubicBezTo>
                        <a:lnTo>
                          <a:pt x="f8" y="f5"/>
                        </a:lnTo>
                        <a:close/>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sp>
                <p:nvSpPr>
                  <p:cNvPr id="241" name="Freeform 30">
                    <a:extLst>
                      <a:ext uri="{FF2B5EF4-FFF2-40B4-BE49-F238E27FC236}">
                        <a16:creationId xmlns:a16="http://schemas.microsoft.com/office/drawing/2014/main" id="{18A21C84-C6A3-4509-B314-5096A3290592}"/>
                      </a:ext>
                    </a:extLst>
                  </p:cNvPr>
                  <p:cNvSpPr/>
                  <p:nvPr/>
                </p:nvSpPr>
                <p:spPr>
                  <a:xfrm>
                    <a:off x="3797064" y="6072292"/>
                    <a:ext cx="93387" cy="92372"/>
                  </a:xfrm>
                  <a:custGeom>
                    <a:avLst/>
                    <a:gdLst>
                      <a:gd name="f0" fmla="val 10800000"/>
                      <a:gd name="f1" fmla="val 5400000"/>
                      <a:gd name="f2" fmla="val 180"/>
                      <a:gd name="f3" fmla="val w"/>
                      <a:gd name="f4" fmla="val h"/>
                      <a:gd name="f5" fmla="val 0"/>
                      <a:gd name="f6" fmla="val 59"/>
                      <a:gd name="f7" fmla="val 58"/>
                      <a:gd name="f8" fmla="val 13"/>
                      <a:gd name="f9" fmla="val 6"/>
                      <a:gd name="f10" fmla="val 52"/>
                      <a:gd name="f11" fmla="val 45"/>
                      <a:gd name="f12" fmla="+- 0 0 -90"/>
                      <a:gd name="f13" fmla="*/ f3 1 59"/>
                      <a:gd name="f14" fmla="*/ f4 1 58"/>
                      <a:gd name="f15" fmla="val f5"/>
                      <a:gd name="f16" fmla="val f6"/>
                      <a:gd name="f17" fmla="val f7"/>
                      <a:gd name="f18" fmla="*/ f12 f0 1"/>
                      <a:gd name="f19" fmla="+- f17 0 f15"/>
                      <a:gd name="f20" fmla="+- f16 0 f15"/>
                      <a:gd name="f21" fmla="*/ f18 1 f2"/>
                      <a:gd name="f22" fmla="*/ f20 1 59"/>
                      <a:gd name="f23" fmla="*/ f19 1 58"/>
                      <a:gd name="f24" fmla="*/ 59 f20 1"/>
                      <a:gd name="f25" fmla="*/ 58 f19 1"/>
                      <a:gd name="f26" fmla="*/ 13 f20 1"/>
                      <a:gd name="f27" fmla="*/ 0 f20 1"/>
                      <a:gd name="f28" fmla="*/ 45 f19 1"/>
                      <a:gd name="f29" fmla="*/ 0 f19 1"/>
                      <a:gd name="f30" fmla="+- f21 0 f1"/>
                      <a:gd name="f31" fmla="*/ f24 1 59"/>
                      <a:gd name="f32" fmla="*/ f25 1 58"/>
                      <a:gd name="f33" fmla="*/ f26 1 59"/>
                      <a:gd name="f34" fmla="*/ f27 1 59"/>
                      <a:gd name="f35" fmla="*/ f28 1 58"/>
                      <a:gd name="f36" fmla="*/ f29 1 58"/>
                      <a:gd name="f37" fmla="*/ 0 1 f22"/>
                      <a:gd name="f38" fmla="*/ f16 1 f22"/>
                      <a:gd name="f39" fmla="*/ 0 1 f23"/>
                      <a:gd name="f40" fmla="*/ f17 1 f23"/>
                      <a:gd name="f41" fmla="*/ f31 1 f22"/>
                      <a:gd name="f42" fmla="*/ f32 1 f23"/>
                      <a:gd name="f43" fmla="*/ f33 1 f22"/>
                      <a:gd name="f44" fmla="*/ f34 1 f22"/>
                      <a:gd name="f45" fmla="*/ f35 1 f23"/>
                      <a:gd name="f46" fmla="*/ f36 1 f23"/>
                      <a:gd name="f47" fmla="*/ f37 f13 1"/>
                      <a:gd name="f48" fmla="*/ f38 f13 1"/>
                      <a:gd name="f49" fmla="*/ f40 f14 1"/>
                      <a:gd name="f50" fmla="*/ f39 f14 1"/>
                      <a:gd name="f51" fmla="*/ f41 f13 1"/>
                      <a:gd name="f52" fmla="*/ f42 f14 1"/>
                      <a:gd name="f53" fmla="*/ f43 f13 1"/>
                      <a:gd name="f54" fmla="*/ f44 f13 1"/>
                      <a:gd name="f55" fmla="*/ f45 f14 1"/>
                      <a:gd name="f56" fmla="*/ f46 f14 1"/>
                    </a:gdLst>
                    <a:ahLst/>
                    <a:cxnLst>
                      <a:cxn ang="3cd4">
                        <a:pos x="hc" y="t"/>
                      </a:cxn>
                      <a:cxn ang="0">
                        <a:pos x="r" y="vc"/>
                      </a:cxn>
                      <a:cxn ang="cd4">
                        <a:pos x="hc" y="b"/>
                      </a:cxn>
                      <a:cxn ang="cd2">
                        <a:pos x="l" y="vc"/>
                      </a:cxn>
                      <a:cxn ang="f30">
                        <a:pos x="f51" y="f52"/>
                      </a:cxn>
                      <a:cxn ang="f30">
                        <a:pos x="f53" y="f52"/>
                      </a:cxn>
                      <a:cxn ang="f30">
                        <a:pos x="f54" y="f55"/>
                      </a:cxn>
                      <a:cxn ang="f30">
                        <a:pos x="f54" y="f56"/>
                      </a:cxn>
                    </a:cxnLst>
                    <a:rect l="f47" t="f50" r="f48" b="f49"/>
                    <a:pathLst>
                      <a:path w="59" h="58">
                        <a:moveTo>
                          <a:pt x="f6" y="f7"/>
                        </a:moveTo>
                        <a:cubicBezTo>
                          <a:pt x="f8" y="f7"/>
                          <a:pt x="f8" y="f7"/>
                          <a:pt x="f8" y="f7"/>
                        </a:cubicBezTo>
                        <a:cubicBezTo>
                          <a:pt x="f9" y="f7"/>
                          <a:pt x="f5" y="f10"/>
                          <a:pt x="f5" y="f11"/>
                        </a:cubicBezTo>
                        <a:cubicBezTo>
                          <a:pt x="f5" y="f5"/>
                          <a:pt x="f5" y="f5"/>
                          <a:pt x="f5" y="f5"/>
                        </a:cubicBez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sp>
                <p:nvSpPr>
                  <p:cNvPr id="242" name="Rectangle 31">
                    <a:extLst>
                      <a:ext uri="{FF2B5EF4-FFF2-40B4-BE49-F238E27FC236}">
                        <a16:creationId xmlns:a16="http://schemas.microsoft.com/office/drawing/2014/main" id="{478668C4-2E17-4430-A8C5-12970AECBFD2}"/>
                      </a:ext>
                    </a:extLst>
                  </p:cNvPr>
                  <p:cNvSpPr/>
                  <p:nvPr/>
                </p:nvSpPr>
                <p:spPr>
                  <a:xfrm>
                    <a:off x="3660617" y="6164656"/>
                    <a:ext cx="42391" cy="105658"/>
                  </a:xfrm>
                  <a:prstGeom prst="rect">
                    <a:avLst/>
                  </a:pr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sp>
                <p:nvSpPr>
                  <p:cNvPr id="243" name="Rectangle 32">
                    <a:extLst>
                      <a:ext uri="{FF2B5EF4-FFF2-40B4-BE49-F238E27FC236}">
                        <a16:creationId xmlns:a16="http://schemas.microsoft.com/office/drawing/2014/main" id="{069D1227-63BD-4AD1-AD43-E31FCEEF8D41}"/>
                      </a:ext>
                    </a:extLst>
                  </p:cNvPr>
                  <p:cNvSpPr/>
                  <p:nvPr/>
                </p:nvSpPr>
                <p:spPr>
                  <a:xfrm>
                    <a:off x="3725530" y="6195892"/>
                    <a:ext cx="31793" cy="74432"/>
                  </a:xfrm>
                  <a:prstGeom prst="rect">
                    <a:avLst/>
                  </a:pr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sp>
                <p:nvSpPr>
                  <p:cNvPr id="244" name="Rectangle 33">
                    <a:extLst>
                      <a:ext uri="{FF2B5EF4-FFF2-40B4-BE49-F238E27FC236}">
                        <a16:creationId xmlns:a16="http://schemas.microsoft.com/office/drawing/2014/main" id="{8615CECA-5BF4-4016-A30C-88D2EF76CB1C}"/>
                      </a:ext>
                    </a:extLst>
                  </p:cNvPr>
                  <p:cNvSpPr/>
                  <p:nvPr/>
                </p:nvSpPr>
                <p:spPr>
                  <a:xfrm>
                    <a:off x="3779178" y="6218486"/>
                    <a:ext cx="27157" cy="51837"/>
                  </a:xfrm>
                  <a:prstGeom prst="rect">
                    <a:avLst/>
                  </a:pr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sp>
                <p:nvSpPr>
                  <p:cNvPr id="245" name="Freeform 34">
                    <a:extLst>
                      <a:ext uri="{FF2B5EF4-FFF2-40B4-BE49-F238E27FC236}">
                        <a16:creationId xmlns:a16="http://schemas.microsoft.com/office/drawing/2014/main" id="{9A3713A7-B289-48E6-B9C8-CE9E0B820461}"/>
                      </a:ext>
                    </a:extLst>
                  </p:cNvPr>
                  <p:cNvSpPr/>
                  <p:nvPr/>
                </p:nvSpPr>
                <p:spPr>
                  <a:xfrm>
                    <a:off x="3828190" y="6249713"/>
                    <a:ext cx="25831" cy="20601"/>
                  </a:xfrm>
                  <a:custGeom>
                    <a:avLst/>
                    <a:gdLst>
                      <a:gd name="f0" fmla="val 10800000"/>
                      <a:gd name="f1" fmla="val 5400000"/>
                      <a:gd name="f2" fmla="val 180"/>
                      <a:gd name="f3" fmla="val w"/>
                      <a:gd name="f4" fmla="val h"/>
                      <a:gd name="f5" fmla="val 0"/>
                      <a:gd name="f6" fmla="val 39"/>
                      <a:gd name="f7" fmla="val 31"/>
                      <a:gd name="f8" fmla="val 36"/>
                      <a:gd name="f9" fmla="+- 0 0 -90"/>
                      <a:gd name="f10" fmla="*/ f3 1 39"/>
                      <a:gd name="f11" fmla="*/ f4 1 31"/>
                      <a:gd name="f12" fmla="val f5"/>
                      <a:gd name="f13" fmla="val f6"/>
                      <a:gd name="f14" fmla="val f7"/>
                      <a:gd name="f15" fmla="*/ f9 f0 1"/>
                      <a:gd name="f16" fmla="+- f14 0 f12"/>
                      <a:gd name="f17" fmla="+- f13 0 f12"/>
                      <a:gd name="f18" fmla="*/ f15 1 f2"/>
                      <a:gd name="f19" fmla="*/ f17 1 39"/>
                      <a:gd name="f20" fmla="*/ f16 1 31"/>
                      <a:gd name="f21" fmla="*/ 36 f17 1"/>
                      <a:gd name="f22" fmla="*/ 0 f16 1"/>
                      <a:gd name="f23" fmla="*/ 39 f17 1"/>
                      <a:gd name="f24" fmla="*/ 31 f16 1"/>
                      <a:gd name="f25" fmla="*/ 0 f17 1"/>
                      <a:gd name="f26" fmla="+- f18 0 f1"/>
                      <a:gd name="f27" fmla="*/ f21 1 39"/>
                      <a:gd name="f28" fmla="*/ f22 1 31"/>
                      <a:gd name="f29" fmla="*/ f23 1 39"/>
                      <a:gd name="f30" fmla="*/ f24 1 31"/>
                      <a:gd name="f31" fmla="*/ f25 1 39"/>
                      <a:gd name="f32" fmla="*/ 0 1 f19"/>
                      <a:gd name="f33" fmla="*/ f13 1 f19"/>
                      <a:gd name="f34" fmla="*/ 0 1 f20"/>
                      <a:gd name="f35" fmla="*/ f14 1 f20"/>
                      <a:gd name="f36" fmla="*/ f27 1 f19"/>
                      <a:gd name="f37" fmla="*/ f28 1 f20"/>
                      <a:gd name="f38" fmla="*/ f29 1 f19"/>
                      <a:gd name="f39" fmla="*/ f30 1 f20"/>
                      <a:gd name="f40" fmla="*/ f31 1 f19"/>
                      <a:gd name="f41" fmla="*/ f32 f10 1"/>
                      <a:gd name="f42" fmla="*/ f33 f10 1"/>
                      <a:gd name="f43" fmla="*/ f35 f11 1"/>
                      <a:gd name="f44" fmla="*/ f34 f11 1"/>
                      <a:gd name="f45" fmla="*/ f36 f10 1"/>
                      <a:gd name="f46" fmla="*/ f37 f11 1"/>
                      <a:gd name="f47" fmla="*/ f38 f10 1"/>
                      <a:gd name="f48" fmla="*/ f39 f11 1"/>
                      <a:gd name="f49" fmla="*/ f40 f10 1"/>
                    </a:gdLst>
                    <a:ahLst/>
                    <a:cxnLst>
                      <a:cxn ang="3cd4">
                        <a:pos x="hc" y="t"/>
                      </a:cxn>
                      <a:cxn ang="0">
                        <a:pos x="r" y="vc"/>
                      </a:cxn>
                      <a:cxn ang="cd4">
                        <a:pos x="hc" y="b"/>
                      </a:cxn>
                      <a:cxn ang="cd2">
                        <a:pos x="l" y="vc"/>
                      </a:cxn>
                      <a:cxn ang="f26">
                        <a:pos x="f45" y="f46"/>
                      </a:cxn>
                      <a:cxn ang="f26">
                        <a:pos x="f47" y="f46"/>
                      </a:cxn>
                      <a:cxn ang="f26">
                        <a:pos x="f47" y="f48"/>
                      </a:cxn>
                      <a:cxn ang="f26">
                        <a:pos x="f49" y="f48"/>
                      </a:cxn>
                      <a:cxn ang="f26">
                        <a:pos x="f49" y="f46"/>
                      </a:cxn>
                      <a:cxn ang="f26">
                        <a:pos x="f45" y="f46"/>
                      </a:cxn>
                    </a:cxnLst>
                    <a:rect l="f41" t="f44" r="f42" b="f43"/>
                    <a:pathLst>
                      <a:path w="39" h="31">
                        <a:moveTo>
                          <a:pt x="f8" y="f5"/>
                        </a:moveTo>
                        <a:lnTo>
                          <a:pt x="f6" y="f5"/>
                        </a:lnTo>
                        <a:lnTo>
                          <a:pt x="f6" y="f7"/>
                        </a:lnTo>
                        <a:lnTo>
                          <a:pt x="f5" y="f7"/>
                        </a:lnTo>
                        <a:lnTo>
                          <a:pt x="f5" y="f5"/>
                        </a:lnTo>
                        <a:lnTo>
                          <a:pt x="f8" y="f5"/>
                        </a:lnTo>
                        <a:close/>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sp>
                <p:nvSpPr>
                  <p:cNvPr id="246" name="Line 35">
                    <a:extLst>
                      <a:ext uri="{FF2B5EF4-FFF2-40B4-BE49-F238E27FC236}">
                        <a16:creationId xmlns:a16="http://schemas.microsoft.com/office/drawing/2014/main" id="{86295FFC-04FD-4F7E-9C22-140F031FDB48}"/>
                      </a:ext>
                    </a:extLst>
                  </p:cNvPr>
                  <p:cNvSpPr/>
                  <p:nvPr/>
                </p:nvSpPr>
                <p:spPr>
                  <a:xfrm flipH="1">
                    <a:off x="3660617" y="6308857"/>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sp>
                <p:nvSpPr>
                  <p:cNvPr id="247" name="Line 36">
                    <a:extLst>
                      <a:ext uri="{FF2B5EF4-FFF2-40B4-BE49-F238E27FC236}">
                        <a16:creationId xmlns:a16="http://schemas.microsoft.com/office/drawing/2014/main" id="{F39E83F6-79B1-41B2-BF2B-9A38DB8341EE}"/>
                      </a:ext>
                    </a:extLst>
                  </p:cNvPr>
                  <p:cNvSpPr/>
                  <p:nvPr/>
                </p:nvSpPr>
                <p:spPr>
                  <a:xfrm flipH="1">
                    <a:off x="3660617" y="6348066"/>
                    <a:ext cx="54973"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sp>
                <p:nvSpPr>
                  <p:cNvPr id="248" name="Line 37">
                    <a:extLst>
                      <a:ext uri="{FF2B5EF4-FFF2-40B4-BE49-F238E27FC236}">
                        <a16:creationId xmlns:a16="http://schemas.microsoft.com/office/drawing/2014/main" id="{D5793BB9-7333-4445-A8D1-8CEB6D566F7A}"/>
                      </a:ext>
                    </a:extLst>
                  </p:cNvPr>
                  <p:cNvSpPr/>
                  <p:nvPr/>
                </p:nvSpPr>
                <p:spPr>
                  <a:xfrm flipH="1">
                    <a:off x="3660617" y="6384615"/>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sp>
                <p:nvSpPr>
                  <p:cNvPr id="249" name="Line 38">
                    <a:extLst>
                      <a:ext uri="{FF2B5EF4-FFF2-40B4-BE49-F238E27FC236}">
                        <a16:creationId xmlns:a16="http://schemas.microsoft.com/office/drawing/2014/main" id="{88990B56-49D9-4348-9C59-2F3A8F05CB39}"/>
                      </a:ext>
                    </a:extLst>
                  </p:cNvPr>
                  <p:cNvSpPr/>
                  <p:nvPr/>
                </p:nvSpPr>
                <p:spPr>
                  <a:xfrm flipH="1">
                    <a:off x="3782488" y="6308857"/>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sp>
                <p:nvSpPr>
                  <p:cNvPr id="250" name="Line 39">
                    <a:extLst>
                      <a:ext uri="{FF2B5EF4-FFF2-40B4-BE49-F238E27FC236}">
                        <a16:creationId xmlns:a16="http://schemas.microsoft.com/office/drawing/2014/main" id="{4C7A582F-694A-4E92-BD74-A5CBCA82C0CB}"/>
                      </a:ext>
                    </a:extLst>
                  </p:cNvPr>
                  <p:cNvSpPr/>
                  <p:nvPr/>
                </p:nvSpPr>
                <p:spPr>
                  <a:xfrm flipH="1">
                    <a:off x="3782488" y="6348066"/>
                    <a:ext cx="55641"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sp>
                <p:nvSpPr>
                  <p:cNvPr id="251" name="Line 40">
                    <a:extLst>
                      <a:ext uri="{FF2B5EF4-FFF2-40B4-BE49-F238E27FC236}">
                        <a16:creationId xmlns:a16="http://schemas.microsoft.com/office/drawing/2014/main" id="{E8B4D962-935A-4BAD-87B1-49031F9E2A03}"/>
                      </a:ext>
                    </a:extLst>
                  </p:cNvPr>
                  <p:cNvSpPr/>
                  <p:nvPr/>
                </p:nvSpPr>
                <p:spPr>
                  <a:xfrm flipH="1">
                    <a:off x="3782488" y="6384615"/>
                    <a:ext cx="72859"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228" name="Group 182">
                  <a:extLst>
                    <a:ext uri="{FF2B5EF4-FFF2-40B4-BE49-F238E27FC236}">
                      <a16:creationId xmlns:a16="http://schemas.microsoft.com/office/drawing/2014/main" id="{7C939016-92A4-4579-B67C-20FEC7F418BB}"/>
                    </a:ext>
                  </a:extLst>
                </p:cNvPr>
                <p:cNvGrpSpPr/>
                <p:nvPr/>
              </p:nvGrpSpPr>
              <p:grpSpPr>
                <a:xfrm>
                  <a:off x="3602013" y="5374450"/>
                  <a:ext cx="303955" cy="249438"/>
                  <a:chOff x="3602013" y="5374450"/>
                  <a:chExt cx="303955" cy="249438"/>
                </a:xfrm>
              </p:grpSpPr>
              <p:sp>
                <p:nvSpPr>
                  <p:cNvPr id="234" name="Oval 5">
                    <a:extLst>
                      <a:ext uri="{FF2B5EF4-FFF2-40B4-BE49-F238E27FC236}">
                        <a16:creationId xmlns:a16="http://schemas.microsoft.com/office/drawing/2014/main" id="{0E97C60D-F19D-4AB0-A9DC-2BDF022AD2C0}"/>
                      </a:ext>
                    </a:extLst>
                  </p:cNvPr>
                  <p:cNvSpPr/>
                  <p:nvPr/>
                </p:nvSpPr>
                <p:spPr>
                  <a:xfrm>
                    <a:off x="3612410" y="5374450"/>
                    <a:ext cx="80531" cy="79772"/>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65901" tIns="32950" rIns="65901" bIns="32950" anchor="t" anchorCtr="1" compatLnSpc="1">
                    <a:noAutofit/>
                  </a:bodyPr>
                  <a:lstStyle/>
                  <a:p>
                    <a:pPr marL="0" marR="0" lvl="0" indent="0" algn="ctr"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sp>
                <p:nvSpPr>
                  <p:cNvPr id="235" name="Oval 6">
                    <a:extLst>
                      <a:ext uri="{FF2B5EF4-FFF2-40B4-BE49-F238E27FC236}">
                        <a16:creationId xmlns:a16="http://schemas.microsoft.com/office/drawing/2014/main" id="{051190AF-59A7-4907-BAB0-AA7741DC4797}"/>
                      </a:ext>
                    </a:extLst>
                  </p:cNvPr>
                  <p:cNvSpPr/>
                  <p:nvPr/>
                </p:nvSpPr>
                <p:spPr>
                  <a:xfrm>
                    <a:off x="3815041" y="5374450"/>
                    <a:ext cx="80531" cy="79772"/>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65901" tIns="32950" rIns="65901" bIns="32950" anchor="t" anchorCtr="1" compatLnSpc="1">
                    <a:noAutofit/>
                  </a:bodyPr>
                  <a:lstStyle/>
                  <a:p>
                    <a:pPr marL="0" marR="0" lvl="0" indent="0" algn="ctr"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sp>
                <p:nvSpPr>
                  <p:cNvPr id="236" name="Freeform 7">
                    <a:extLst>
                      <a:ext uri="{FF2B5EF4-FFF2-40B4-BE49-F238E27FC236}">
                        <a16:creationId xmlns:a16="http://schemas.microsoft.com/office/drawing/2014/main" id="{8E0861CB-616F-4D60-836A-F4AD9D99B1E8}"/>
                      </a:ext>
                    </a:extLst>
                  </p:cNvPr>
                  <p:cNvSpPr/>
                  <p:nvPr/>
                </p:nvSpPr>
                <p:spPr>
                  <a:xfrm>
                    <a:off x="3602013" y="5454213"/>
                    <a:ext cx="101315" cy="49377"/>
                  </a:xfrm>
                  <a:custGeom>
                    <a:avLst/>
                    <a:gdLst>
                      <a:gd name="f0" fmla="val 10800000"/>
                      <a:gd name="f1" fmla="val 5400000"/>
                      <a:gd name="f2" fmla="val 180"/>
                      <a:gd name="f3" fmla="val w"/>
                      <a:gd name="f4" fmla="val h"/>
                      <a:gd name="f5" fmla="val 0"/>
                      <a:gd name="f6" fmla="val 40"/>
                      <a:gd name="f7" fmla="val 20"/>
                      <a:gd name="f8" fmla="val 9"/>
                      <a:gd name="f9" fmla="val 31"/>
                      <a:gd name="f10" fmla="+- 0 0 -90"/>
                      <a:gd name="f11" fmla="*/ f3 1 40"/>
                      <a:gd name="f12" fmla="*/ f4 1 20"/>
                      <a:gd name="f13" fmla="val f5"/>
                      <a:gd name="f14" fmla="val f6"/>
                      <a:gd name="f15" fmla="val f7"/>
                      <a:gd name="f16" fmla="*/ f10 f0 1"/>
                      <a:gd name="f17" fmla="+- f15 0 f13"/>
                      <a:gd name="f18" fmla="+- f14 0 f13"/>
                      <a:gd name="f19" fmla="*/ f16 1 f2"/>
                      <a:gd name="f20" fmla="*/ f18 1 40"/>
                      <a:gd name="f21" fmla="*/ f17 1 20"/>
                      <a:gd name="f22" fmla="*/ 40 f18 1"/>
                      <a:gd name="f23" fmla="*/ 20 f17 1"/>
                      <a:gd name="f24" fmla="*/ 20 f18 1"/>
                      <a:gd name="f25" fmla="*/ 0 f17 1"/>
                      <a:gd name="f26" fmla="*/ 0 f18 1"/>
                      <a:gd name="f27" fmla="+- f19 0 f1"/>
                      <a:gd name="f28" fmla="*/ f22 1 40"/>
                      <a:gd name="f29" fmla="*/ f23 1 20"/>
                      <a:gd name="f30" fmla="*/ f24 1 40"/>
                      <a:gd name="f31" fmla="*/ f25 1 20"/>
                      <a:gd name="f32" fmla="*/ f26 1 40"/>
                      <a:gd name="f33" fmla="*/ 0 1 f20"/>
                      <a:gd name="f34" fmla="*/ f14 1 f20"/>
                      <a:gd name="f35" fmla="*/ 0 1 f21"/>
                      <a:gd name="f36" fmla="*/ f15 1 f21"/>
                      <a:gd name="f37" fmla="*/ f28 1 f20"/>
                      <a:gd name="f38" fmla="*/ f29 1 f21"/>
                      <a:gd name="f39" fmla="*/ f30 1 f20"/>
                      <a:gd name="f40" fmla="*/ f31 1 f21"/>
                      <a:gd name="f41" fmla="*/ f32 1 f20"/>
                      <a:gd name="f42" fmla="*/ f33 f11 1"/>
                      <a:gd name="f43" fmla="*/ f34 f11 1"/>
                      <a:gd name="f44" fmla="*/ f36 f12 1"/>
                      <a:gd name="f45" fmla="*/ f35 f12 1"/>
                      <a:gd name="f46" fmla="*/ f37 f11 1"/>
                      <a:gd name="f47" fmla="*/ f38 f12 1"/>
                      <a:gd name="f48" fmla="*/ f39 f11 1"/>
                      <a:gd name="f49" fmla="*/ f40 f12 1"/>
                      <a:gd name="f50" fmla="*/ f41 f11 1"/>
                    </a:gdLst>
                    <a:ahLst/>
                    <a:cxnLst>
                      <a:cxn ang="3cd4">
                        <a:pos x="hc" y="t"/>
                      </a:cxn>
                      <a:cxn ang="0">
                        <a:pos x="r" y="vc"/>
                      </a:cxn>
                      <a:cxn ang="cd4">
                        <a:pos x="hc" y="b"/>
                      </a:cxn>
                      <a:cxn ang="cd2">
                        <a:pos x="l" y="vc"/>
                      </a:cxn>
                      <a:cxn ang="f27">
                        <a:pos x="f46" y="f47"/>
                      </a:cxn>
                      <a:cxn ang="f27">
                        <a:pos x="f48" y="f49"/>
                      </a:cxn>
                      <a:cxn ang="f27">
                        <a:pos x="f50" y="f47"/>
                      </a:cxn>
                    </a:cxnLst>
                    <a:rect l="f42" t="f45" r="f43" b="f44"/>
                    <a:pathLst>
                      <a:path w="40" h="20">
                        <a:moveTo>
                          <a:pt x="f6" y="f7"/>
                        </a:moveTo>
                        <a:cubicBezTo>
                          <a:pt x="f6" y="f8"/>
                          <a:pt x="f9" y="f5"/>
                          <a:pt x="f7" y="f5"/>
                        </a:cubicBezTo>
                        <a:cubicBezTo>
                          <a:pt x="f8" y="f5"/>
                          <a:pt x="f5" y="f8"/>
                          <a:pt x="f5" y="f7"/>
                        </a:cubicBezTo>
                      </a:path>
                    </a:pathLst>
                  </a:custGeom>
                  <a:noFill/>
                  <a:ln w="12701" cap="flat">
                    <a:solidFill>
                      <a:srgbClr val="757575"/>
                    </a:solidFill>
                    <a:prstDash val="solid"/>
                    <a:miter/>
                  </a:ln>
                </p:spPr>
                <p:txBody>
                  <a:bodyPr vert="horz" wrap="square" lIns="65901" tIns="32950" rIns="65901" bIns="32950" anchor="t" anchorCtr="1" compatLnSpc="1">
                    <a:noAutofit/>
                  </a:bodyPr>
                  <a:lstStyle/>
                  <a:p>
                    <a:pPr marL="0" marR="0" lvl="0" indent="0" algn="ctr"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sp>
                <p:nvSpPr>
                  <p:cNvPr id="237" name="Oval 8">
                    <a:extLst>
                      <a:ext uri="{FF2B5EF4-FFF2-40B4-BE49-F238E27FC236}">
                        <a16:creationId xmlns:a16="http://schemas.microsoft.com/office/drawing/2014/main" id="{77B2B0B2-3041-4513-90B0-B7002B7AF2DF}"/>
                      </a:ext>
                    </a:extLst>
                  </p:cNvPr>
                  <p:cNvSpPr/>
                  <p:nvPr/>
                </p:nvSpPr>
                <p:spPr>
                  <a:xfrm>
                    <a:off x="3703329" y="5454213"/>
                    <a:ext cx="101315" cy="10002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noFill/>
                  <a:ln w="12701" cap="flat">
                    <a:solidFill>
                      <a:srgbClr val="757575"/>
                    </a:solidFill>
                    <a:prstDash val="solid"/>
                    <a:miter/>
                  </a:ln>
                </p:spPr>
                <p:txBody>
                  <a:bodyPr vert="horz" wrap="square" lIns="65901" tIns="32950" rIns="65901" bIns="32950" anchor="t" anchorCtr="1" compatLnSpc="1">
                    <a:noAutofit/>
                  </a:bodyPr>
                  <a:lstStyle/>
                  <a:p>
                    <a:pPr marL="0" marR="0" lvl="0" indent="0" algn="ctr"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sp>
                <p:nvSpPr>
                  <p:cNvPr id="238" name="Freeform 9">
                    <a:extLst>
                      <a:ext uri="{FF2B5EF4-FFF2-40B4-BE49-F238E27FC236}">
                        <a16:creationId xmlns:a16="http://schemas.microsoft.com/office/drawing/2014/main" id="{A8EC9EC1-9CA9-457F-BEA9-650C6B97E2A2}"/>
                      </a:ext>
                    </a:extLst>
                  </p:cNvPr>
                  <p:cNvSpPr/>
                  <p:nvPr/>
                </p:nvSpPr>
                <p:spPr>
                  <a:xfrm>
                    <a:off x="3682544" y="5554248"/>
                    <a:ext cx="142884" cy="69640"/>
                  </a:xfrm>
                  <a:custGeom>
                    <a:avLst/>
                    <a:gdLst>
                      <a:gd name="f0" fmla="val 10800000"/>
                      <a:gd name="f1" fmla="val 5400000"/>
                      <a:gd name="f2" fmla="val 180"/>
                      <a:gd name="f3" fmla="val w"/>
                      <a:gd name="f4" fmla="val h"/>
                      <a:gd name="f5" fmla="val 0"/>
                      <a:gd name="f6" fmla="val 56"/>
                      <a:gd name="f7" fmla="val 28"/>
                      <a:gd name="f8" fmla="val 13"/>
                      <a:gd name="f9" fmla="val 44"/>
                      <a:gd name="f10" fmla="val 12"/>
                      <a:gd name="f11" fmla="+- 0 0 -90"/>
                      <a:gd name="f12" fmla="*/ f3 1 56"/>
                      <a:gd name="f13" fmla="*/ f4 1 28"/>
                      <a:gd name="f14" fmla="val f5"/>
                      <a:gd name="f15" fmla="val f6"/>
                      <a:gd name="f16" fmla="val f7"/>
                      <a:gd name="f17" fmla="*/ f11 f0 1"/>
                      <a:gd name="f18" fmla="+- f16 0 f14"/>
                      <a:gd name="f19" fmla="+- f15 0 f14"/>
                      <a:gd name="f20" fmla="*/ f17 1 f2"/>
                      <a:gd name="f21" fmla="*/ f19 1 56"/>
                      <a:gd name="f22" fmla="*/ f18 1 28"/>
                      <a:gd name="f23" fmla="*/ 56 f19 1"/>
                      <a:gd name="f24" fmla="*/ 28 f18 1"/>
                      <a:gd name="f25" fmla="*/ 28 f19 1"/>
                      <a:gd name="f26" fmla="*/ 0 f18 1"/>
                      <a:gd name="f27" fmla="*/ 0 f19 1"/>
                      <a:gd name="f28" fmla="+- f20 0 f1"/>
                      <a:gd name="f29" fmla="*/ f23 1 56"/>
                      <a:gd name="f30" fmla="*/ f24 1 28"/>
                      <a:gd name="f31" fmla="*/ f25 1 56"/>
                      <a:gd name="f32" fmla="*/ f26 1 28"/>
                      <a:gd name="f33" fmla="*/ f27 1 56"/>
                      <a:gd name="f34" fmla="*/ 0 1 f21"/>
                      <a:gd name="f35" fmla="*/ f15 1 f21"/>
                      <a:gd name="f36" fmla="*/ 0 1 f22"/>
                      <a:gd name="f37" fmla="*/ f16 1 f22"/>
                      <a:gd name="f38" fmla="*/ f29 1 f21"/>
                      <a:gd name="f39" fmla="*/ f30 1 f22"/>
                      <a:gd name="f40" fmla="*/ f31 1 f21"/>
                      <a:gd name="f41" fmla="*/ f32 1 f22"/>
                      <a:gd name="f42" fmla="*/ f33 1 f21"/>
                      <a:gd name="f43" fmla="*/ f34 f12 1"/>
                      <a:gd name="f44" fmla="*/ f35 f12 1"/>
                      <a:gd name="f45" fmla="*/ f37 f13 1"/>
                      <a:gd name="f46" fmla="*/ f36 f13 1"/>
                      <a:gd name="f47" fmla="*/ f38 f12 1"/>
                      <a:gd name="f48" fmla="*/ f39 f13 1"/>
                      <a:gd name="f49" fmla="*/ f40 f12 1"/>
                      <a:gd name="f50" fmla="*/ f41 f13 1"/>
                      <a:gd name="f51" fmla="*/ f42 f12 1"/>
                    </a:gdLst>
                    <a:ahLst/>
                    <a:cxnLst>
                      <a:cxn ang="3cd4">
                        <a:pos x="hc" y="t"/>
                      </a:cxn>
                      <a:cxn ang="0">
                        <a:pos x="r" y="vc"/>
                      </a:cxn>
                      <a:cxn ang="cd4">
                        <a:pos x="hc" y="b"/>
                      </a:cxn>
                      <a:cxn ang="cd2">
                        <a:pos x="l" y="vc"/>
                      </a:cxn>
                      <a:cxn ang="f28">
                        <a:pos x="f47" y="f48"/>
                      </a:cxn>
                      <a:cxn ang="f28">
                        <a:pos x="f49" y="f50"/>
                      </a:cxn>
                      <a:cxn ang="f28">
                        <a:pos x="f51" y="f48"/>
                      </a:cxn>
                    </a:cxnLst>
                    <a:rect l="f43" t="f46" r="f44" b="f45"/>
                    <a:pathLst>
                      <a:path w="56" h="28">
                        <a:moveTo>
                          <a:pt x="f6" y="f7"/>
                        </a:moveTo>
                        <a:cubicBezTo>
                          <a:pt x="f6" y="f8"/>
                          <a:pt x="f9" y="f5"/>
                          <a:pt x="f7" y="f5"/>
                        </a:cubicBezTo>
                        <a:cubicBezTo>
                          <a:pt x="f10" y="f5"/>
                          <a:pt x="f5" y="f8"/>
                          <a:pt x="f5" y="f7"/>
                        </a:cubicBezTo>
                      </a:path>
                    </a:pathLst>
                  </a:custGeom>
                  <a:noFill/>
                  <a:ln w="12701" cap="flat">
                    <a:solidFill>
                      <a:srgbClr val="757575"/>
                    </a:solidFill>
                    <a:prstDash val="solid"/>
                    <a:miter/>
                  </a:ln>
                </p:spPr>
                <p:txBody>
                  <a:bodyPr vert="horz" wrap="square" lIns="65901" tIns="32950" rIns="65901" bIns="32950" anchor="t" anchorCtr="1" compatLnSpc="1">
                    <a:noAutofit/>
                  </a:bodyPr>
                  <a:lstStyle/>
                  <a:p>
                    <a:pPr marL="0" marR="0" lvl="0" indent="0" algn="ctr"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sp>
                <p:nvSpPr>
                  <p:cNvPr id="239" name="Freeform 10">
                    <a:extLst>
                      <a:ext uri="{FF2B5EF4-FFF2-40B4-BE49-F238E27FC236}">
                        <a16:creationId xmlns:a16="http://schemas.microsoft.com/office/drawing/2014/main" id="{6BAE0DB8-F115-4F79-B059-57489AC85142}"/>
                      </a:ext>
                    </a:extLst>
                  </p:cNvPr>
                  <p:cNvSpPr/>
                  <p:nvPr/>
                </p:nvSpPr>
                <p:spPr>
                  <a:xfrm>
                    <a:off x="3804653" y="5454213"/>
                    <a:ext cx="101315" cy="49377"/>
                  </a:xfrm>
                  <a:custGeom>
                    <a:avLst/>
                    <a:gdLst>
                      <a:gd name="f0" fmla="val 10800000"/>
                      <a:gd name="f1" fmla="val 5400000"/>
                      <a:gd name="f2" fmla="val 180"/>
                      <a:gd name="f3" fmla="val w"/>
                      <a:gd name="f4" fmla="val h"/>
                      <a:gd name="f5" fmla="val 0"/>
                      <a:gd name="f6" fmla="val 40"/>
                      <a:gd name="f7" fmla="val 20"/>
                      <a:gd name="f8" fmla="val 9"/>
                      <a:gd name="f9" fmla="val 31"/>
                      <a:gd name="f10" fmla="+- 0 0 -90"/>
                      <a:gd name="f11" fmla="*/ f3 1 40"/>
                      <a:gd name="f12" fmla="*/ f4 1 20"/>
                      <a:gd name="f13" fmla="val f5"/>
                      <a:gd name="f14" fmla="val f6"/>
                      <a:gd name="f15" fmla="val f7"/>
                      <a:gd name="f16" fmla="*/ f10 f0 1"/>
                      <a:gd name="f17" fmla="+- f15 0 f13"/>
                      <a:gd name="f18" fmla="+- f14 0 f13"/>
                      <a:gd name="f19" fmla="*/ f16 1 f2"/>
                      <a:gd name="f20" fmla="*/ f18 1 40"/>
                      <a:gd name="f21" fmla="*/ f17 1 20"/>
                      <a:gd name="f22" fmla="*/ 40 f18 1"/>
                      <a:gd name="f23" fmla="*/ 20 f17 1"/>
                      <a:gd name="f24" fmla="*/ 20 f18 1"/>
                      <a:gd name="f25" fmla="*/ 0 f17 1"/>
                      <a:gd name="f26" fmla="*/ 0 f18 1"/>
                      <a:gd name="f27" fmla="+- f19 0 f1"/>
                      <a:gd name="f28" fmla="*/ f22 1 40"/>
                      <a:gd name="f29" fmla="*/ f23 1 20"/>
                      <a:gd name="f30" fmla="*/ f24 1 40"/>
                      <a:gd name="f31" fmla="*/ f25 1 20"/>
                      <a:gd name="f32" fmla="*/ f26 1 40"/>
                      <a:gd name="f33" fmla="*/ 0 1 f20"/>
                      <a:gd name="f34" fmla="*/ f14 1 f20"/>
                      <a:gd name="f35" fmla="*/ 0 1 f21"/>
                      <a:gd name="f36" fmla="*/ f15 1 f21"/>
                      <a:gd name="f37" fmla="*/ f28 1 f20"/>
                      <a:gd name="f38" fmla="*/ f29 1 f21"/>
                      <a:gd name="f39" fmla="*/ f30 1 f20"/>
                      <a:gd name="f40" fmla="*/ f31 1 f21"/>
                      <a:gd name="f41" fmla="*/ f32 1 f20"/>
                      <a:gd name="f42" fmla="*/ f33 f11 1"/>
                      <a:gd name="f43" fmla="*/ f34 f11 1"/>
                      <a:gd name="f44" fmla="*/ f36 f12 1"/>
                      <a:gd name="f45" fmla="*/ f35 f12 1"/>
                      <a:gd name="f46" fmla="*/ f37 f11 1"/>
                      <a:gd name="f47" fmla="*/ f38 f12 1"/>
                      <a:gd name="f48" fmla="*/ f39 f11 1"/>
                      <a:gd name="f49" fmla="*/ f40 f12 1"/>
                      <a:gd name="f50" fmla="*/ f41 f11 1"/>
                    </a:gdLst>
                    <a:ahLst/>
                    <a:cxnLst>
                      <a:cxn ang="3cd4">
                        <a:pos x="hc" y="t"/>
                      </a:cxn>
                      <a:cxn ang="0">
                        <a:pos x="r" y="vc"/>
                      </a:cxn>
                      <a:cxn ang="cd4">
                        <a:pos x="hc" y="b"/>
                      </a:cxn>
                      <a:cxn ang="cd2">
                        <a:pos x="l" y="vc"/>
                      </a:cxn>
                      <a:cxn ang="f27">
                        <a:pos x="f46" y="f47"/>
                      </a:cxn>
                      <a:cxn ang="f27">
                        <a:pos x="f48" y="f49"/>
                      </a:cxn>
                      <a:cxn ang="f27">
                        <a:pos x="f50" y="f47"/>
                      </a:cxn>
                    </a:cxnLst>
                    <a:rect l="f42" t="f45" r="f43" b="f44"/>
                    <a:pathLst>
                      <a:path w="40" h="20">
                        <a:moveTo>
                          <a:pt x="f6" y="f7"/>
                        </a:moveTo>
                        <a:cubicBezTo>
                          <a:pt x="f6" y="f8"/>
                          <a:pt x="f9" y="f5"/>
                          <a:pt x="f7" y="f5"/>
                        </a:cubicBezTo>
                        <a:cubicBezTo>
                          <a:pt x="f8" y="f5"/>
                          <a:pt x="f5" y="f8"/>
                          <a:pt x="f5" y="f7"/>
                        </a:cubicBezTo>
                      </a:path>
                    </a:pathLst>
                  </a:custGeom>
                  <a:noFill/>
                  <a:ln w="12701" cap="flat">
                    <a:solidFill>
                      <a:srgbClr val="757575"/>
                    </a:solidFill>
                    <a:prstDash val="solid"/>
                    <a:miter/>
                  </a:ln>
                </p:spPr>
                <p:txBody>
                  <a:bodyPr vert="horz" wrap="square" lIns="65901" tIns="32950" rIns="65901" bIns="32950" anchor="t" anchorCtr="1" compatLnSpc="1">
                    <a:noAutofit/>
                  </a:bodyPr>
                  <a:lstStyle/>
                  <a:p>
                    <a:pPr marL="0" marR="0" lvl="0" indent="0" algn="ctr"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353535"/>
                      </a:solidFill>
                      <a:effectLst/>
                      <a:uLnTx/>
                      <a:uFillTx/>
                      <a:latin typeface="Segoe UI"/>
                      <a:ea typeface="+mn-ea"/>
                      <a:cs typeface="+mn-cs"/>
                    </a:endParaRPr>
                  </a:p>
                </p:txBody>
              </p:sp>
            </p:grpSp>
            <p:grpSp>
              <p:nvGrpSpPr>
                <p:cNvPr id="229" name="Group 189">
                  <a:extLst>
                    <a:ext uri="{FF2B5EF4-FFF2-40B4-BE49-F238E27FC236}">
                      <a16:creationId xmlns:a16="http://schemas.microsoft.com/office/drawing/2014/main" id="{534049A1-B56F-4358-85AD-DB097DC9C944}"/>
                    </a:ext>
                  </a:extLst>
                </p:cNvPr>
                <p:cNvGrpSpPr/>
                <p:nvPr/>
              </p:nvGrpSpPr>
              <p:grpSpPr>
                <a:xfrm>
                  <a:off x="3972482" y="5714085"/>
                  <a:ext cx="327465" cy="322764"/>
                  <a:chOff x="3972482" y="5714085"/>
                  <a:chExt cx="327465" cy="322764"/>
                </a:xfrm>
              </p:grpSpPr>
              <p:sp>
                <p:nvSpPr>
                  <p:cNvPr id="230" name="Freeform 44">
                    <a:extLst>
                      <a:ext uri="{FF2B5EF4-FFF2-40B4-BE49-F238E27FC236}">
                        <a16:creationId xmlns:a16="http://schemas.microsoft.com/office/drawing/2014/main" id="{E0B2C0B2-F0D4-4821-B3BE-48EA3478F5B2}"/>
                      </a:ext>
                    </a:extLst>
                  </p:cNvPr>
                  <p:cNvSpPr/>
                  <p:nvPr/>
                </p:nvSpPr>
                <p:spPr>
                  <a:xfrm>
                    <a:off x="3972482" y="5714085"/>
                    <a:ext cx="120353" cy="131298"/>
                  </a:xfrm>
                  <a:custGeom>
                    <a:avLst/>
                    <a:gdLst>
                      <a:gd name="f0" fmla="val 10800000"/>
                      <a:gd name="f1" fmla="val 5400000"/>
                      <a:gd name="f2" fmla="val 180"/>
                      <a:gd name="f3" fmla="val w"/>
                      <a:gd name="f4" fmla="val h"/>
                      <a:gd name="f5" fmla="val 0"/>
                      <a:gd name="f6" fmla="val 82"/>
                      <a:gd name="f7" fmla="val 76"/>
                      <a:gd name="f8" fmla="val 79"/>
                      <a:gd name="f9" fmla="val 6"/>
                      <a:gd name="f10" fmla="val 2"/>
                      <a:gd name="f11" fmla="val 5"/>
                      <a:gd name="f12" fmla="+- 0 0 -90"/>
                      <a:gd name="f13" fmla="*/ f3 1 82"/>
                      <a:gd name="f14" fmla="*/ f4 1 82"/>
                      <a:gd name="f15" fmla="val f5"/>
                      <a:gd name="f16" fmla="val f6"/>
                      <a:gd name="f17" fmla="*/ f12 f0 1"/>
                      <a:gd name="f18" fmla="+- f16 0 f15"/>
                      <a:gd name="f19" fmla="*/ f17 1 f2"/>
                      <a:gd name="f20" fmla="*/ f18 1 82"/>
                      <a:gd name="f21" fmla="*/ 82 f18 1"/>
                      <a:gd name="f22" fmla="*/ 76 f18 1"/>
                      <a:gd name="f23" fmla="*/ 6 f18 1"/>
                      <a:gd name="f24" fmla="*/ 0 f18 1"/>
                      <a:gd name="f25" fmla="*/ 5 f18 1"/>
                      <a:gd name="f26" fmla="+- f19 0 f1"/>
                      <a:gd name="f27" fmla="*/ f21 1 82"/>
                      <a:gd name="f28" fmla="*/ f22 1 82"/>
                      <a:gd name="f29" fmla="*/ f23 1 82"/>
                      <a:gd name="f30" fmla="*/ f24 1 82"/>
                      <a:gd name="f31" fmla="*/ f25 1 82"/>
                      <a:gd name="f32" fmla="*/ 0 1 f20"/>
                      <a:gd name="f33" fmla="*/ f16 1 f20"/>
                      <a:gd name="f34" fmla="*/ f27 1 f20"/>
                      <a:gd name="f35" fmla="*/ f28 1 f20"/>
                      <a:gd name="f36" fmla="*/ f29 1 f20"/>
                      <a:gd name="f37" fmla="*/ f30 1 f20"/>
                      <a:gd name="f38" fmla="*/ f31 1 f20"/>
                      <a:gd name="f39" fmla="*/ f32 f13 1"/>
                      <a:gd name="f40" fmla="*/ f33 f13 1"/>
                      <a:gd name="f41" fmla="*/ f33 f14 1"/>
                      <a:gd name="f42" fmla="*/ f32 f14 1"/>
                      <a:gd name="f43" fmla="*/ f34 f13 1"/>
                      <a:gd name="f44" fmla="*/ f35 f14 1"/>
                      <a:gd name="f45" fmla="*/ f35 f13 1"/>
                      <a:gd name="f46" fmla="*/ f34 f14 1"/>
                      <a:gd name="f47" fmla="*/ f36 f13 1"/>
                      <a:gd name="f48" fmla="*/ f37 f13 1"/>
                      <a:gd name="f49" fmla="*/ f38 f14 1"/>
                      <a:gd name="f50" fmla="*/ f37 f14 1"/>
                    </a:gdLst>
                    <a:ahLst/>
                    <a:cxnLst>
                      <a:cxn ang="3cd4">
                        <a:pos x="hc" y="t"/>
                      </a:cxn>
                      <a:cxn ang="0">
                        <a:pos x="r" y="vc"/>
                      </a:cxn>
                      <a:cxn ang="cd4">
                        <a:pos x="hc" y="b"/>
                      </a:cxn>
                      <a:cxn ang="cd2">
                        <a:pos x="l" y="vc"/>
                      </a:cxn>
                      <a:cxn ang="f26">
                        <a:pos x="f43" y="f44"/>
                      </a:cxn>
                      <a:cxn ang="f26">
                        <a:pos x="f45" y="f46"/>
                      </a:cxn>
                      <a:cxn ang="f26">
                        <a:pos x="f47" y="f46"/>
                      </a:cxn>
                      <a:cxn ang="f26">
                        <a:pos x="f48" y="f44"/>
                      </a:cxn>
                      <a:cxn ang="f26">
                        <a:pos x="f48" y="f49"/>
                      </a:cxn>
                      <a:cxn ang="f26">
                        <a:pos x="f47" y="f50"/>
                      </a:cxn>
                      <a:cxn ang="f26">
                        <a:pos x="f45" y="f50"/>
                      </a:cxn>
                      <a:cxn ang="f26">
                        <a:pos x="f43" y="f49"/>
                      </a:cxn>
                      <a:cxn ang="f26">
                        <a:pos x="f43" y="f44"/>
                      </a:cxn>
                    </a:cxnLst>
                    <a:rect l="f39" t="f42" r="f40" b="f41"/>
                    <a:pathLst>
                      <a:path w="82" h="82">
                        <a:moveTo>
                          <a:pt x="f6" y="f7"/>
                        </a:moveTo>
                        <a:cubicBezTo>
                          <a:pt x="f6" y="f8"/>
                          <a:pt x="f8" y="f6"/>
                          <a:pt x="f7" y="f6"/>
                        </a:cubicBezTo>
                        <a:cubicBezTo>
                          <a:pt x="f9" y="f6"/>
                          <a:pt x="f9" y="f6"/>
                          <a:pt x="f9" y="f6"/>
                        </a:cubicBezTo>
                        <a:cubicBezTo>
                          <a:pt x="f10" y="f6"/>
                          <a:pt x="f5" y="f8"/>
                          <a:pt x="f5" y="f7"/>
                        </a:cubicBezTo>
                        <a:cubicBezTo>
                          <a:pt x="f5" y="f11"/>
                          <a:pt x="f5" y="f11"/>
                          <a:pt x="f5" y="f11"/>
                        </a:cubicBezTo>
                        <a:cubicBezTo>
                          <a:pt x="f5" y="f10"/>
                          <a:pt x="f10" y="f5"/>
                          <a:pt x="f9" y="f5"/>
                        </a:cubicBezTo>
                        <a:cubicBezTo>
                          <a:pt x="f7" y="f5"/>
                          <a:pt x="f7" y="f5"/>
                          <a:pt x="f7" y="f5"/>
                        </a:cubicBezTo>
                        <a:cubicBezTo>
                          <a:pt x="f8" y="f5"/>
                          <a:pt x="f6" y="f10"/>
                          <a:pt x="f6" y="f11"/>
                        </a:cubicBezTo>
                        <a:lnTo>
                          <a:pt x="f6" y="f7"/>
                        </a:lnTo>
                        <a:close/>
                      </a:path>
                    </a:pathLst>
                  </a:custGeom>
                  <a:solidFill>
                    <a:srgbClr val="757575"/>
                  </a:solid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002050"/>
                      </a:solidFill>
                      <a:effectLst/>
                      <a:uLnTx/>
                      <a:uFillTx/>
                      <a:latin typeface="Segoe UI"/>
                      <a:ea typeface="+mn-ea"/>
                      <a:cs typeface="+mn-cs"/>
                    </a:endParaRPr>
                  </a:p>
                </p:txBody>
              </p:sp>
              <p:sp>
                <p:nvSpPr>
                  <p:cNvPr id="231" name="Freeform 45">
                    <a:extLst>
                      <a:ext uri="{FF2B5EF4-FFF2-40B4-BE49-F238E27FC236}">
                        <a16:creationId xmlns:a16="http://schemas.microsoft.com/office/drawing/2014/main" id="{09BF08DA-5237-4ADD-BAD9-0088B4618197}"/>
                      </a:ext>
                    </a:extLst>
                  </p:cNvPr>
                  <p:cNvSpPr/>
                  <p:nvPr/>
                </p:nvSpPr>
                <p:spPr>
                  <a:xfrm>
                    <a:off x="3972482" y="5867265"/>
                    <a:ext cx="120353" cy="65644"/>
                  </a:xfrm>
                  <a:custGeom>
                    <a:avLst/>
                    <a:gdLst>
                      <a:gd name="f0" fmla="val 10800000"/>
                      <a:gd name="f1" fmla="val 5400000"/>
                      <a:gd name="f2" fmla="val 180"/>
                      <a:gd name="f3" fmla="val w"/>
                      <a:gd name="f4" fmla="val h"/>
                      <a:gd name="f5" fmla="val 0"/>
                      <a:gd name="f6" fmla="val 82"/>
                      <a:gd name="f7" fmla="val 41"/>
                      <a:gd name="f8" fmla="val 38"/>
                      <a:gd name="f9" fmla="val 39"/>
                      <a:gd name="f10" fmla="val 79"/>
                      <a:gd name="f11" fmla="val 76"/>
                      <a:gd name="f12" fmla="val 6"/>
                      <a:gd name="f13" fmla="val 2"/>
                      <a:gd name="f14" fmla="val 3"/>
                      <a:gd name="f15" fmla="val 1"/>
                      <a:gd name="f16" fmla="+- 0 0 -90"/>
                      <a:gd name="f17" fmla="*/ f3 1 82"/>
                      <a:gd name="f18" fmla="*/ f4 1 41"/>
                      <a:gd name="f19" fmla="val f5"/>
                      <a:gd name="f20" fmla="val f6"/>
                      <a:gd name="f21" fmla="val f7"/>
                      <a:gd name="f22" fmla="*/ f16 f0 1"/>
                      <a:gd name="f23" fmla="+- f21 0 f19"/>
                      <a:gd name="f24" fmla="+- f20 0 f19"/>
                      <a:gd name="f25" fmla="*/ f22 1 f2"/>
                      <a:gd name="f26" fmla="*/ f24 1 82"/>
                      <a:gd name="f27" fmla="*/ f23 1 41"/>
                      <a:gd name="f28" fmla="*/ 82 f24 1"/>
                      <a:gd name="f29" fmla="*/ 38 f23 1"/>
                      <a:gd name="f30" fmla="*/ 76 f24 1"/>
                      <a:gd name="f31" fmla="*/ 41 f23 1"/>
                      <a:gd name="f32" fmla="*/ 6 f24 1"/>
                      <a:gd name="f33" fmla="*/ 0 f24 1"/>
                      <a:gd name="f34" fmla="*/ 3 f23 1"/>
                      <a:gd name="f35" fmla="*/ 0 f23 1"/>
                      <a:gd name="f36" fmla="+- f25 0 f1"/>
                      <a:gd name="f37" fmla="*/ f28 1 82"/>
                      <a:gd name="f38" fmla="*/ f29 1 41"/>
                      <a:gd name="f39" fmla="*/ f30 1 82"/>
                      <a:gd name="f40" fmla="*/ f31 1 41"/>
                      <a:gd name="f41" fmla="*/ f32 1 82"/>
                      <a:gd name="f42" fmla="*/ f33 1 82"/>
                      <a:gd name="f43" fmla="*/ f34 1 41"/>
                      <a:gd name="f44" fmla="*/ f35 1 41"/>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82" h="4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002050"/>
                      </a:solidFill>
                      <a:effectLst/>
                      <a:uLnTx/>
                      <a:uFillTx/>
                      <a:latin typeface="Segoe UI"/>
                      <a:ea typeface="+mn-ea"/>
                      <a:cs typeface="+mn-cs"/>
                    </a:endParaRPr>
                  </a:p>
                </p:txBody>
              </p:sp>
              <p:sp>
                <p:nvSpPr>
                  <p:cNvPr id="232" name="Freeform 46">
                    <a:extLst>
                      <a:ext uri="{FF2B5EF4-FFF2-40B4-BE49-F238E27FC236}">
                        <a16:creationId xmlns:a16="http://schemas.microsoft.com/office/drawing/2014/main" id="{0B39EC5D-A96F-4396-83D6-60C3EDFDAA75}"/>
                      </a:ext>
                    </a:extLst>
                  </p:cNvPr>
                  <p:cNvSpPr/>
                  <p:nvPr/>
                </p:nvSpPr>
                <p:spPr>
                  <a:xfrm>
                    <a:off x="4114717" y="5714085"/>
                    <a:ext cx="185230" cy="218834"/>
                  </a:xfrm>
                  <a:custGeom>
                    <a:avLst/>
                    <a:gdLst>
                      <a:gd name="f0" fmla="val 10800000"/>
                      <a:gd name="f1" fmla="val 5400000"/>
                      <a:gd name="f2" fmla="val 180"/>
                      <a:gd name="f3" fmla="val w"/>
                      <a:gd name="f4" fmla="val h"/>
                      <a:gd name="f5" fmla="val 0"/>
                      <a:gd name="f6" fmla="val 126"/>
                      <a:gd name="f7" fmla="val 137"/>
                      <a:gd name="f8" fmla="val 127"/>
                      <a:gd name="f9" fmla="val 133"/>
                      <a:gd name="f10" fmla="val 122"/>
                      <a:gd name="f11" fmla="val 117"/>
                      <a:gd name="f12" fmla="val 9"/>
                      <a:gd name="f13" fmla="val 4"/>
                      <a:gd name="f14" fmla="+- 0 0 -90"/>
                      <a:gd name="f15" fmla="*/ f3 1 126"/>
                      <a:gd name="f16" fmla="*/ f4 1 137"/>
                      <a:gd name="f17" fmla="val f5"/>
                      <a:gd name="f18" fmla="val f6"/>
                      <a:gd name="f19" fmla="val f7"/>
                      <a:gd name="f20" fmla="*/ f14 f0 1"/>
                      <a:gd name="f21" fmla="+- f19 0 f17"/>
                      <a:gd name="f22" fmla="+- f18 0 f17"/>
                      <a:gd name="f23" fmla="*/ f20 1 f2"/>
                      <a:gd name="f24" fmla="*/ f22 1 126"/>
                      <a:gd name="f25" fmla="*/ f21 1 137"/>
                      <a:gd name="f26" fmla="*/ 126 f22 1"/>
                      <a:gd name="f27" fmla="*/ 127 f21 1"/>
                      <a:gd name="f28" fmla="*/ 117 f22 1"/>
                      <a:gd name="f29" fmla="*/ 137 f21 1"/>
                      <a:gd name="f30" fmla="*/ 9 f22 1"/>
                      <a:gd name="f31" fmla="*/ 0 f22 1"/>
                      <a:gd name="f32" fmla="*/ 9 f21 1"/>
                      <a:gd name="f33" fmla="*/ 0 f21 1"/>
                      <a:gd name="f34" fmla="+- f23 0 f1"/>
                      <a:gd name="f35" fmla="*/ f26 1 126"/>
                      <a:gd name="f36" fmla="*/ f27 1 137"/>
                      <a:gd name="f37" fmla="*/ f28 1 126"/>
                      <a:gd name="f38" fmla="*/ f29 1 137"/>
                      <a:gd name="f39" fmla="*/ f30 1 126"/>
                      <a:gd name="f40" fmla="*/ f31 1 126"/>
                      <a:gd name="f41" fmla="*/ f32 1 137"/>
                      <a:gd name="f42" fmla="*/ f33 1 137"/>
                      <a:gd name="f43" fmla="*/ 0 1 f24"/>
                      <a:gd name="f44" fmla="*/ f18 1 f24"/>
                      <a:gd name="f45" fmla="*/ 0 1 f25"/>
                      <a:gd name="f46" fmla="*/ f19 1 f25"/>
                      <a:gd name="f47" fmla="*/ f35 1 f24"/>
                      <a:gd name="f48" fmla="*/ f36 1 f25"/>
                      <a:gd name="f49" fmla="*/ f37 1 f24"/>
                      <a:gd name="f50" fmla="*/ f38 1 f25"/>
                      <a:gd name="f51" fmla="*/ f39 1 f24"/>
                      <a:gd name="f52" fmla="*/ f40 1 f24"/>
                      <a:gd name="f53" fmla="*/ f41 1 f25"/>
                      <a:gd name="f54" fmla="*/ f42 1 f25"/>
                      <a:gd name="f55" fmla="*/ f43 f15 1"/>
                      <a:gd name="f56" fmla="*/ f44 f15 1"/>
                      <a:gd name="f57" fmla="*/ f46 f16 1"/>
                      <a:gd name="f58" fmla="*/ f45 f16 1"/>
                      <a:gd name="f59" fmla="*/ f47 f15 1"/>
                      <a:gd name="f60" fmla="*/ f48 f16 1"/>
                      <a:gd name="f61" fmla="*/ f49 f15 1"/>
                      <a:gd name="f62" fmla="*/ f50 f16 1"/>
                      <a:gd name="f63" fmla="*/ f51 f15 1"/>
                      <a:gd name="f64" fmla="*/ f52 f15 1"/>
                      <a:gd name="f65" fmla="*/ f53 f16 1"/>
                      <a:gd name="f66" fmla="*/ f54 f16 1"/>
                    </a:gdLst>
                    <a:ahLst/>
                    <a:cxnLst>
                      <a:cxn ang="3cd4">
                        <a:pos x="hc" y="t"/>
                      </a:cxn>
                      <a:cxn ang="0">
                        <a:pos x="r" y="vc"/>
                      </a:cxn>
                      <a:cxn ang="cd4">
                        <a:pos x="hc" y="b"/>
                      </a:cxn>
                      <a:cxn ang="cd2">
                        <a:pos x="l" y="vc"/>
                      </a:cxn>
                      <a:cxn ang="f34">
                        <a:pos x="f59" y="f60"/>
                      </a:cxn>
                      <a:cxn ang="f34">
                        <a:pos x="f61" y="f62"/>
                      </a:cxn>
                      <a:cxn ang="f34">
                        <a:pos x="f63" y="f62"/>
                      </a:cxn>
                      <a:cxn ang="f34">
                        <a:pos x="f64" y="f60"/>
                      </a:cxn>
                      <a:cxn ang="f34">
                        <a:pos x="f64" y="f65"/>
                      </a:cxn>
                      <a:cxn ang="f34">
                        <a:pos x="f63" y="f66"/>
                      </a:cxn>
                      <a:cxn ang="f34">
                        <a:pos x="f61" y="f66"/>
                      </a:cxn>
                      <a:cxn ang="f34">
                        <a:pos x="f59" y="f65"/>
                      </a:cxn>
                      <a:cxn ang="f34">
                        <a:pos x="f59" y="f60"/>
                      </a:cxn>
                    </a:cxnLst>
                    <a:rect l="f55" t="f58" r="f56" b="f57"/>
                    <a:pathLst>
                      <a:path w="126" h="137">
                        <a:moveTo>
                          <a:pt x="f6" y="f8"/>
                        </a:moveTo>
                        <a:cubicBezTo>
                          <a:pt x="f6" y="f9"/>
                          <a:pt x="f10" y="f7"/>
                          <a:pt x="f11" y="f7"/>
                        </a:cubicBezTo>
                        <a:cubicBezTo>
                          <a:pt x="f12" y="f7"/>
                          <a:pt x="f12" y="f7"/>
                          <a:pt x="f12" y="f7"/>
                        </a:cubicBezTo>
                        <a:cubicBezTo>
                          <a:pt x="f13" y="f7"/>
                          <a:pt x="f5" y="f9"/>
                          <a:pt x="f5" y="f8"/>
                        </a:cubicBezTo>
                        <a:cubicBezTo>
                          <a:pt x="f5" y="f12"/>
                          <a:pt x="f5" y="f12"/>
                          <a:pt x="f5" y="f12"/>
                        </a:cubicBezTo>
                        <a:cubicBezTo>
                          <a:pt x="f5" y="f13"/>
                          <a:pt x="f13" y="f5"/>
                          <a:pt x="f12" y="f5"/>
                        </a:cubicBezTo>
                        <a:cubicBezTo>
                          <a:pt x="f11" y="f5"/>
                          <a:pt x="f11" y="f5"/>
                          <a:pt x="f11" y="f5"/>
                        </a:cubicBezTo>
                        <a:cubicBezTo>
                          <a:pt x="f10" y="f5"/>
                          <a:pt x="f6" y="f13"/>
                          <a:pt x="f6" y="f12"/>
                        </a:cubicBezTo>
                        <a:lnTo>
                          <a:pt x="f6" y="f8"/>
                        </a:lnTo>
                        <a:close/>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002050"/>
                      </a:solidFill>
                      <a:effectLst/>
                      <a:uLnTx/>
                      <a:uFillTx/>
                      <a:latin typeface="Segoe UI"/>
                      <a:ea typeface="+mn-ea"/>
                      <a:cs typeface="+mn-cs"/>
                    </a:endParaRPr>
                  </a:p>
                </p:txBody>
              </p:sp>
              <p:sp>
                <p:nvSpPr>
                  <p:cNvPr id="233" name="Freeform 47">
                    <a:extLst>
                      <a:ext uri="{FF2B5EF4-FFF2-40B4-BE49-F238E27FC236}">
                        <a16:creationId xmlns:a16="http://schemas.microsoft.com/office/drawing/2014/main" id="{FE02B006-971C-473C-B3D8-FB3D31948615}"/>
                      </a:ext>
                    </a:extLst>
                  </p:cNvPr>
                  <p:cNvSpPr/>
                  <p:nvPr/>
                </p:nvSpPr>
                <p:spPr>
                  <a:xfrm>
                    <a:off x="3972482" y="5958696"/>
                    <a:ext cx="327464" cy="78153"/>
                  </a:xfrm>
                  <a:custGeom>
                    <a:avLst/>
                    <a:gdLst>
                      <a:gd name="f0" fmla="val 10800000"/>
                      <a:gd name="f1" fmla="val 5400000"/>
                      <a:gd name="f2" fmla="val 180"/>
                      <a:gd name="f3" fmla="val w"/>
                      <a:gd name="f4" fmla="val h"/>
                      <a:gd name="f5" fmla="val 0"/>
                      <a:gd name="f6" fmla="val 223"/>
                      <a:gd name="f7" fmla="val 49"/>
                      <a:gd name="f8" fmla="val 46"/>
                      <a:gd name="f9" fmla="val 48"/>
                      <a:gd name="f10" fmla="val 216"/>
                      <a:gd name="f11" fmla="val 208"/>
                      <a:gd name="f12" fmla="val 15"/>
                      <a:gd name="f13" fmla="val 7"/>
                      <a:gd name="f14" fmla="val 3"/>
                      <a:gd name="f15" fmla="val 1"/>
                      <a:gd name="f16" fmla="+- 0 0 -90"/>
                      <a:gd name="f17" fmla="*/ f3 1 223"/>
                      <a:gd name="f18" fmla="*/ f4 1 49"/>
                      <a:gd name="f19" fmla="val f5"/>
                      <a:gd name="f20" fmla="val f6"/>
                      <a:gd name="f21" fmla="val f7"/>
                      <a:gd name="f22" fmla="*/ f16 f0 1"/>
                      <a:gd name="f23" fmla="+- f21 0 f19"/>
                      <a:gd name="f24" fmla="+- f20 0 f19"/>
                      <a:gd name="f25" fmla="*/ f22 1 f2"/>
                      <a:gd name="f26" fmla="*/ f24 1 223"/>
                      <a:gd name="f27" fmla="*/ f23 1 49"/>
                      <a:gd name="f28" fmla="*/ 223 f24 1"/>
                      <a:gd name="f29" fmla="*/ 46 f23 1"/>
                      <a:gd name="f30" fmla="*/ 208 f24 1"/>
                      <a:gd name="f31" fmla="*/ 49 f23 1"/>
                      <a:gd name="f32" fmla="*/ 15 f24 1"/>
                      <a:gd name="f33" fmla="*/ 0 f24 1"/>
                      <a:gd name="f34" fmla="*/ 3 f23 1"/>
                      <a:gd name="f35" fmla="*/ 0 f23 1"/>
                      <a:gd name="f36" fmla="+- f25 0 f1"/>
                      <a:gd name="f37" fmla="*/ f28 1 223"/>
                      <a:gd name="f38" fmla="*/ f29 1 49"/>
                      <a:gd name="f39" fmla="*/ f30 1 223"/>
                      <a:gd name="f40" fmla="*/ f31 1 49"/>
                      <a:gd name="f41" fmla="*/ f32 1 223"/>
                      <a:gd name="f42" fmla="*/ f33 1 223"/>
                      <a:gd name="f43" fmla="*/ f34 1 49"/>
                      <a:gd name="f44" fmla="*/ f35 1 49"/>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223" h="49">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12701" cap="flat">
                    <a:solidFill>
                      <a:srgbClr val="757575"/>
                    </a:solidFill>
                    <a:prstDash val="solid"/>
                    <a:miter/>
                  </a:ln>
                </p:spPr>
                <p:txBody>
                  <a:bodyPr vert="horz" wrap="square" lIns="67212" tIns="33608" rIns="67212" bIns="33608"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350" b="0" i="0" u="none" strike="noStrike" kern="0" cap="none" spc="0" normalizeH="0" baseline="0" noProof="0">
                      <a:ln>
                        <a:noFill/>
                      </a:ln>
                      <a:solidFill>
                        <a:srgbClr val="002050"/>
                      </a:solidFill>
                      <a:effectLst/>
                      <a:uLnTx/>
                      <a:uFillTx/>
                      <a:latin typeface="Segoe UI"/>
                      <a:ea typeface="+mn-ea"/>
                      <a:cs typeface="+mn-cs"/>
                    </a:endParaRPr>
                  </a:p>
                </p:txBody>
              </p:sp>
            </p:grpSp>
          </p:grpSp>
        </p:grpSp>
        <p:grpSp>
          <p:nvGrpSpPr>
            <p:cNvPr id="188" name="On-Premises Building">
              <a:extLst>
                <a:ext uri="{FF2B5EF4-FFF2-40B4-BE49-F238E27FC236}">
                  <a16:creationId xmlns:a16="http://schemas.microsoft.com/office/drawing/2014/main" id="{829EC0F5-EB58-41C7-BAAC-9AC4850C956E}"/>
                </a:ext>
              </a:extLst>
            </p:cNvPr>
            <p:cNvGrpSpPr/>
            <p:nvPr/>
          </p:nvGrpSpPr>
          <p:grpSpPr>
            <a:xfrm>
              <a:off x="1792808" y="4946549"/>
              <a:ext cx="1008623" cy="1433038"/>
              <a:chOff x="2317171" y="4229228"/>
              <a:chExt cx="1593672" cy="2264264"/>
            </a:xfrm>
          </p:grpSpPr>
          <p:sp>
            <p:nvSpPr>
              <p:cNvPr id="189" name="Freeform 12">
                <a:extLst>
                  <a:ext uri="{FF2B5EF4-FFF2-40B4-BE49-F238E27FC236}">
                    <a16:creationId xmlns:a16="http://schemas.microsoft.com/office/drawing/2014/main" id="{4D8F0DE8-EE9B-4CA0-B128-7104AB81561D}"/>
                  </a:ext>
                </a:extLst>
              </p:cNvPr>
              <p:cNvSpPr/>
              <p:nvPr/>
            </p:nvSpPr>
            <p:spPr>
              <a:xfrm>
                <a:off x="3290093" y="4229228"/>
                <a:ext cx="49112" cy="125382"/>
              </a:xfrm>
              <a:custGeom>
                <a:avLst/>
                <a:gdLst>
                  <a:gd name="f0" fmla="val 10800000"/>
                  <a:gd name="f1" fmla="val 5400000"/>
                  <a:gd name="f2" fmla="val 180"/>
                  <a:gd name="f3" fmla="val w"/>
                  <a:gd name="f4" fmla="val h"/>
                  <a:gd name="f5" fmla="val 0"/>
                  <a:gd name="f6" fmla="val 20"/>
                  <a:gd name="f7" fmla="val 51"/>
                  <a:gd name="f8" fmla="val 10"/>
                  <a:gd name="f9" fmla="val 16"/>
                  <a:gd name="f10" fmla="val 4"/>
                  <a:gd name="f11" fmla="val 33"/>
                  <a:gd name="f12" fmla="val 1"/>
                  <a:gd name="f13" fmla="val 49"/>
                  <a:gd name="f14" fmla="val 48"/>
                  <a:gd name="f15" fmla="val 46"/>
                  <a:gd name="f16" fmla="val 2"/>
                  <a:gd name="f17" fmla="val 45"/>
                  <a:gd name="f18" fmla="val 44"/>
                  <a:gd name="f19" fmla="val 43"/>
                  <a:gd name="f20" fmla="val 3"/>
                  <a:gd name="f21" fmla="val 41"/>
                  <a:gd name="f22" fmla="val 39"/>
                  <a:gd name="f23" fmla="val 36"/>
                  <a:gd name="f24" fmla="val 35"/>
                  <a:gd name="f25" fmla="val 34"/>
                  <a:gd name="f26" fmla="val 5"/>
                  <a:gd name="f27" fmla="val 32"/>
                  <a:gd name="f28" fmla="val 6"/>
                  <a:gd name="f29" fmla="val 29"/>
                  <a:gd name="f30" fmla="val 7"/>
                  <a:gd name="f31" fmla="val 27"/>
                  <a:gd name="f32" fmla="val 26"/>
                  <a:gd name="f33" fmla="val 25"/>
                  <a:gd name="f34" fmla="val 8"/>
                  <a:gd name="f35" fmla="val 23"/>
                  <a:gd name="f36" fmla="val 9"/>
                  <a:gd name="f37" fmla="val 11"/>
                  <a:gd name="f38" fmla="val 18"/>
                  <a:gd name="f39" fmla="val 17"/>
                  <a:gd name="f40" fmla="val 12"/>
                  <a:gd name="f41" fmla="val 14"/>
                  <a:gd name="f42" fmla="val 15"/>
                  <a:gd name="f43" fmla="+- 0 0 -90"/>
                  <a:gd name="f44" fmla="*/ f3 1 20"/>
                  <a:gd name="f45" fmla="*/ f4 1 51"/>
                  <a:gd name="f46" fmla="val f5"/>
                  <a:gd name="f47" fmla="val f6"/>
                  <a:gd name="f48" fmla="val f7"/>
                  <a:gd name="f49" fmla="*/ f43 f0 1"/>
                  <a:gd name="f50" fmla="+- f48 0 f46"/>
                  <a:gd name="f51" fmla="+- f47 0 f46"/>
                  <a:gd name="f52" fmla="*/ f49 1 f2"/>
                  <a:gd name="f53" fmla="*/ f51 1 20"/>
                  <a:gd name="f54" fmla="*/ f50 1 51"/>
                  <a:gd name="f55" fmla="*/ 20 f51 1"/>
                  <a:gd name="f56" fmla="*/ 0 f50 1"/>
                  <a:gd name="f57" fmla="*/ 0 f51 1"/>
                  <a:gd name="f58" fmla="*/ 51 f50 1"/>
                  <a:gd name="f59" fmla="*/ 1 f51 1"/>
                  <a:gd name="f60" fmla="*/ 46 f50 1"/>
                  <a:gd name="f61" fmla="*/ 2 f51 1"/>
                  <a:gd name="f62" fmla="*/ 43 f50 1"/>
                  <a:gd name="f63" fmla="*/ 4 f51 1"/>
                  <a:gd name="f64" fmla="*/ 36 f50 1"/>
                  <a:gd name="f65" fmla="*/ 34 f50 1"/>
                  <a:gd name="f66" fmla="*/ 7 f51 1"/>
                  <a:gd name="f67" fmla="*/ 27 f50 1"/>
                  <a:gd name="f68" fmla="*/ 25 f50 1"/>
                  <a:gd name="f69" fmla="*/ 11 f51 1"/>
                  <a:gd name="f70" fmla="*/ 18 f50 1"/>
                  <a:gd name="f71" fmla="*/ 17 f50 1"/>
                  <a:gd name="f72" fmla="*/ 15 f51 1"/>
                  <a:gd name="f73" fmla="*/ 8 f50 1"/>
                  <a:gd name="f74" fmla="+- f52 0 f1"/>
                  <a:gd name="f75" fmla="*/ f55 1 20"/>
                  <a:gd name="f76" fmla="*/ f56 1 51"/>
                  <a:gd name="f77" fmla="*/ f57 1 20"/>
                  <a:gd name="f78" fmla="*/ f58 1 51"/>
                  <a:gd name="f79" fmla="*/ f59 1 20"/>
                  <a:gd name="f80" fmla="*/ f60 1 51"/>
                  <a:gd name="f81" fmla="*/ f61 1 20"/>
                  <a:gd name="f82" fmla="*/ f62 1 51"/>
                  <a:gd name="f83" fmla="*/ f63 1 20"/>
                  <a:gd name="f84" fmla="*/ f64 1 51"/>
                  <a:gd name="f85" fmla="*/ f65 1 51"/>
                  <a:gd name="f86" fmla="*/ f66 1 20"/>
                  <a:gd name="f87" fmla="*/ f67 1 51"/>
                  <a:gd name="f88" fmla="*/ f68 1 51"/>
                  <a:gd name="f89" fmla="*/ f69 1 20"/>
                  <a:gd name="f90" fmla="*/ f70 1 51"/>
                  <a:gd name="f91" fmla="*/ f71 1 51"/>
                  <a:gd name="f92" fmla="*/ f72 1 20"/>
                  <a:gd name="f93" fmla="*/ f73 1 51"/>
                  <a:gd name="f94" fmla="*/ 0 1 f53"/>
                  <a:gd name="f95" fmla="*/ f47 1 f53"/>
                  <a:gd name="f96" fmla="*/ 0 1 f54"/>
                  <a:gd name="f97" fmla="*/ f48 1 f54"/>
                  <a:gd name="f98" fmla="*/ f75 1 f53"/>
                  <a:gd name="f99" fmla="*/ f76 1 f54"/>
                  <a:gd name="f100" fmla="*/ f77 1 f53"/>
                  <a:gd name="f101" fmla="*/ f78 1 f54"/>
                  <a:gd name="f102" fmla="*/ f79 1 f53"/>
                  <a:gd name="f103" fmla="*/ f80 1 f54"/>
                  <a:gd name="f104" fmla="*/ f81 1 f53"/>
                  <a:gd name="f105" fmla="*/ f82 1 f54"/>
                  <a:gd name="f106" fmla="*/ f83 1 f53"/>
                  <a:gd name="f107" fmla="*/ f84 1 f54"/>
                  <a:gd name="f108" fmla="*/ f85 1 f54"/>
                  <a:gd name="f109" fmla="*/ f86 1 f53"/>
                  <a:gd name="f110" fmla="*/ f87 1 f54"/>
                  <a:gd name="f111" fmla="*/ f88 1 f54"/>
                  <a:gd name="f112" fmla="*/ f89 1 f53"/>
                  <a:gd name="f113" fmla="*/ f90 1 f54"/>
                  <a:gd name="f114" fmla="*/ f91 1 f54"/>
                  <a:gd name="f115" fmla="*/ f92 1 f53"/>
                  <a:gd name="f116" fmla="*/ f93 1 f54"/>
                  <a:gd name="f117" fmla="*/ f94 f44 1"/>
                  <a:gd name="f118" fmla="*/ f95 f44 1"/>
                  <a:gd name="f119" fmla="*/ f97 f45 1"/>
                  <a:gd name="f120" fmla="*/ f96 f45 1"/>
                  <a:gd name="f121" fmla="*/ f98 f44 1"/>
                  <a:gd name="f122" fmla="*/ f99 f45 1"/>
                  <a:gd name="f123" fmla="*/ f100 f44 1"/>
                  <a:gd name="f124" fmla="*/ f101 f45 1"/>
                  <a:gd name="f125" fmla="*/ f102 f44 1"/>
                  <a:gd name="f126" fmla="*/ f103 f45 1"/>
                  <a:gd name="f127" fmla="*/ f104 f44 1"/>
                  <a:gd name="f128" fmla="*/ f105 f45 1"/>
                  <a:gd name="f129" fmla="*/ f106 f44 1"/>
                  <a:gd name="f130" fmla="*/ f107 f45 1"/>
                  <a:gd name="f131" fmla="*/ f108 f45 1"/>
                  <a:gd name="f132" fmla="*/ f109 f44 1"/>
                  <a:gd name="f133" fmla="*/ f110 f45 1"/>
                  <a:gd name="f134" fmla="*/ f111 f45 1"/>
                  <a:gd name="f135" fmla="*/ f112 f44 1"/>
                  <a:gd name="f136" fmla="*/ f113 f45 1"/>
                  <a:gd name="f137" fmla="*/ f114 f45 1"/>
                  <a:gd name="f138" fmla="*/ f115 f44 1"/>
                  <a:gd name="f139" fmla="*/ f116 f45 1"/>
                </a:gdLst>
                <a:ahLst/>
                <a:cxnLst>
                  <a:cxn ang="3cd4">
                    <a:pos x="hc" y="t"/>
                  </a:cxn>
                  <a:cxn ang="0">
                    <a:pos x="r" y="vc"/>
                  </a:cxn>
                  <a:cxn ang="cd4">
                    <a:pos x="hc" y="b"/>
                  </a:cxn>
                  <a:cxn ang="cd2">
                    <a:pos x="l" y="vc"/>
                  </a:cxn>
                  <a:cxn ang="f74">
                    <a:pos x="f121" y="f122"/>
                  </a:cxn>
                  <a:cxn ang="f74">
                    <a:pos x="f123" y="f124"/>
                  </a:cxn>
                  <a:cxn ang="f74">
                    <a:pos x="f123" y="f124"/>
                  </a:cxn>
                  <a:cxn ang="f74">
                    <a:pos x="f125" y="f126"/>
                  </a:cxn>
                  <a:cxn ang="f74">
                    <a:pos x="f127" y="f128"/>
                  </a:cxn>
                  <a:cxn ang="f74">
                    <a:pos x="f129" y="f130"/>
                  </a:cxn>
                  <a:cxn ang="f74">
                    <a:pos x="f129" y="f131"/>
                  </a:cxn>
                  <a:cxn ang="f74">
                    <a:pos x="f132" y="f133"/>
                  </a:cxn>
                  <a:cxn ang="f74">
                    <a:pos x="f132" y="f134"/>
                  </a:cxn>
                  <a:cxn ang="f74">
                    <a:pos x="f135" y="f136"/>
                  </a:cxn>
                  <a:cxn ang="f74">
                    <a:pos x="f135" y="f137"/>
                  </a:cxn>
                  <a:cxn ang="f74">
                    <a:pos x="f138" y="f139"/>
                  </a:cxn>
                  <a:cxn ang="f74">
                    <a:pos x="f138" y="f139"/>
                  </a:cxn>
                  <a:cxn ang="f74">
                    <a:pos x="f121" y="f122"/>
                  </a:cxn>
                  <a:cxn ang="f74">
                    <a:pos x="f121" y="f122"/>
                  </a:cxn>
                  <a:cxn ang="f74">
                    <a:pos x="f121" y="f122"/>
                  </a:cxn>
                  <a:cxn ang="f74">
                    <a:pos x="f121" y="f122"/>
                  </a:cxn>
                </a:cxnLst>
                <a:rect l="f117" t="f120" r="f118" b="f119"/>
                <a:pathLst>
                  <a:path w="20" h="51">
                    <a:moveTo>
                      <a:pt x="f6" y="f5"/>
                    </a:moveTo>
                    <a:cubicBezTo>
                      <a:pt x="f8" y="f9"/>
                      <a:pt x="f10" y="f11"/>
                      <a:pt x="f5" y="f7"/>
                    </a:cubicBezTo>
                    <a:cubicBezTo>
                      <a:pt x="f5" y="f7"/>
                      <a:pt x="f5" y="f7"/>
                      <a:pt x="f5" y="f7"/>
                    </a:cubicBezTo>
                    <a:cubicBezTo>
                      <a:pt x="f12" y="f13"/>
                      <a:pt x="f12" y="f14"/>
                      <a:pt x="f12" y="f15"/>
                    </a:cubicBezTo>
                    <a:cubicBezTo>
                      <a:pt x="f16" y="f17"/>
                      <a:pt x="f16" y="f18"/>
                      <a:pt x="f16" y="f19"/>
                    </a:cubicBezTo>
                    <a:cubicBezTo>
                      <a:pt x="f20" y="f21"/>
                      <a:pt x="f20" y="f22"/>
                      <a:pt x="f10" y="f23"/>
                    </a:cubicBezTo>
                    <a:cubicBezTo>
                      <a:pt x="f10" y="f23"/>
                      <a:pt x="f10" y="f24"/>
                      <a:pt x="f10" y="f25"/>
                    </a:cubicBezTo>
                    <a:cubicBezTo>
                      <a:pt x="f26" y="f27"/>
                      <a:pt x="f28" y="f29"/>
                      <a:pt x="f30" y="f31"/>
                    </a:cubicBezTo>
                    <a:cubicBezTo>
                      <a:pt x="f30" y="f32"/>
                      <a:pt x="f30" y="f32"/>
                      <a:pt x="f30" y="f33"/>
                    </a:cubicBezTo>
                    <a:cubicBezTo>
                      <a:pt x="f34" y="f35"/>
                      <a:pt x="f36" y="f6"/>
                      <a:pt x="f37" y="f38"/>
                    </a:cubicBezTo>
                    <a:cubicBezTo>
                      <a:pt x="f37" y="f39"/>
                      <a:pt x="f37" y="f39"/>
                      <a:pt x="f37" y="f39"/>
                    </a:cubicBezTo>
                    <a:cubicBezTo>
                      <a:pt x="f40" y="f41"/>
                      <a:pt x="f41" y="f37"/>
                      <a:pt x="f42" y="f34"/>
                    </a:cubicBezTo>
                    <a:cubicBezTo>
                      <a:pt x="f42" y="f34"/>
                      <a:pt x="f42" y="f34"/>
                      <a:pt x="f42" y="f34"/>
                    </a:cubicBezTo>
                    <a:cubicBezTo>
                      <a:pt x="f39" y="f26"/>
                      <a:pt x="f38" y="f20"/>
                      <a:pt x="f6" y="f5"/>
                    </a:cubicBezTo>
                    <a:moveTo>
                      <a:pt x="f6" y="f5"/>
                    </a:moveTo>
                    <a:cubicBezTo>
                      <a:pt x="f6" y="f5"/>
                      <a:pt x="f6" y="f5"/>
                      <a:pt x="f6" y="f5"/>
                    </a:cubicBezTo>
                    <a:cubicBezTo>
                      <a:pt x="f6" y="f5"/>
                      <a:pt x="f6" y="f5"/>
                      <a:pt x="f6" y="f5"/>
                    </a:cubicBezTo>
                  </a:path>
                </a:pathLst>
              </a:cu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90" name="Rectangle 14">
                <a:extLst>
                  <a:ext uri="{FF2B5EF4-FFF2-40B4-BE49-F238E27FC236}">
                    <a16:creationId xmlns:a16="http://schemas.microsoft.com/office/drawing/2014/main" id="{93526C1D-247E-49A1-A42C-0C022A2F915C}"/>
                  </a:ext>
                </a:extLst>
              </p:cNvPr>
              <p:cNvSpPr/>
              <p:nvPr/>
            </p:nvSpPr>
            <p:spPr>
              <a:xfrm>
                <a:off x="2923291" y="4354619"/>
                <a:ext cx="987552" cy="2138873"/>
              </a:xfrm>
              <a:prstGeom prst="rect">
                <a:avLst/>
              </a:prstGeom>
              <a:solidFill>
                <a:schemeClr val="tx2"/>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91" name="Rectangle 15">
                <a:extLst>
                  <a:ext uri="{FF2B5EF4-FFF2-40B4-BE49-F238E27FC236}">
                    <a16:creationId xmlns:a16="http://schemas.microsoft.com/office/drawing/2014/main" id="{5BB13965-F631-4A5F-B0FA-62324BA0963E}"/>
                  </a:ext>
                </a:extLst>
              </p:cNvPr>
              <p:cNvSpPr/>
              <p:nvPr/>
            </p:nvSpPr>
            <p:spPr>
              <a:xfrm>
                <a:off x="2923291" y="4354619"/>
                <a:ext cx="987552" cy="2138873"/>
              </a:xfrm>
              <a:prstGeom prst="rect">
                <a:avLst/>
              </a:pr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92" name="Rectangle 16">
                <a:extLst>
                  <a:ext uri="{FF2B5EF4-FFF2-40B4-BE49-F238E27FC236}">
                    <a16:creationId xmlns:a16="http://schemas.microsoft.com/office/drawing/2014/main" id="{85D8DB96-C054-4F82-BD9B-8F61712448D9}"/>
                  </a:ext>
                </a:extLst>
              </p:cNvPr>
              <p:cNvSpPr/>
              <p:nvPr/>
            </p:nvSpPr>
            <p:spPr>
              <a:xfrm>
                <a:off x="3022567" y="5372328"/>
                <a:ext cx="794229" cy="128518"/>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93" name="Rectangle 17">
                <a:extLst>
                  <a:ext uri="{FF2B5EF4-FFF2-40B4-BE49-F238E27FC236}">
                    <a16:creationId xmlns:a16="http://schemas.microsoft.com/office/drawing/2014/main" id="{DDD308A0-8BE3-45B4-B812-8385E474034D}"/>
                  </a:ext>
                </a:extLst>
              </p:cNvPr>
              <p:cNvSpPr/>
              <p:nvPr/>
            </p:nvSpPr>
            <p:spPr>
              <a:xfrm>
                <a:off x="3022567" y="5372328"/>
                <a:ext cx="794229" cy="128518"/>
              </a:xfrm>
              <a:prstGeom prst="rect">
                <a:avLst/>
              </a:pr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94" name="Rectangle 18">
                <a:extLst>
                  <a:ext uri="{FF2B5EF4-FFF2-40B4-BE49-F238E27FC236}">
                    <a16:creationId xmlns:a16="http://schemas.microsoft.com/office/drawing/2014/main" id="{A463CD9E-E01D-4830-BC42-F2585619BFBC}"/>
                  </a:ext>
                </a:extLst>
              </p:cNvPr>
              <p:cNvSpPr/>
              <p:nvPr/>
            </p:nvSpPr>
            <p:spPr>
              <a:xfrm>
                <a:off x="3022567" y="5594893"/>
                <a:ext cx="794229" cy="126434"/>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95" name="Rectangle 19">
                <a:extLst>
                  <a:ext uri="{FF2B5EF4-FFF2-40B4-BE49-F238E27FC236}">
                    <a16:creationId xmlns:a16="http://schemas.microsoft.com/office/drawing/2014/main" id="{2ADDD0E2-2932-4453-A204-3BDACE3802E3}"/>
                  </a:ext>
                </a:extLst>
              </p:cNvPr>
              <p:cNvSpPr/>
              <p:nvPr/>
            </p:nvSpPr>
            <p:spPr>
              <a:xfrm>
                <a:off x="3022567" y="5594893"/>
                <a:ext cx="794229" cy="126434"/>
              </a:xfrm>
              <a:prstGeom prst="rect">
                <a:avLst/>
              </a:pr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96" name="Rectangle 20">
                <a:extLst>
                  <a:ext uri="{FF2B5EF4-FFF2-40B4-BE49-F238E27FC236}">
                    <a16:creationId xmlns:a16="http://schemas.microsoft.com/office/drawing/2014/main" id="{45EB623F-2004-4426-9D03-57210781602F}"/>
                  </a:ext>
                </a:extLst>
              </p:cNvPr>
              <p:cNvSpPr/>
              <p:nvPr/>
            </p:nvSpPr>
            <p:spPr>
              <a:xfrm>
                <a:off x="3022567" y="5815364"/>
                <a:ext cx="794229" cy="128518"/>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97" name="Rectangle 21">
                <a:extLst>
                  <a:ext uri="{FF2B5EF4-FFF2-40B4-BE49-F238E27FC236}">
                    <a16:creationId xmlns:a16="http://schemas.microsoft.com/office/drawing/2014/main" id="{D8BF945F-9264-46A8-AF14-263E50C94C6C}"/>
                  </a:ext>
                </a:extLst>
              </p:cNvPr>
              <p:cNvSpPr/>
              <p:nvPr/>
            </p:nvSpPr>
            <p:spPr>
              <a:xfrm>
                <a:off x="3022567" y="5815364"/>
                <a:ext cx="794229" cy="128518"/>
              </a:xfrm>
              <a:prstGeom prst="rect">
                <a:avLst/>
              </a:pr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98" name="Rectangle 22">
                <a:extLst>
                  <a:ext uri="{FF2B5EF4-FFF2-40B4-BE49-F238E27FC236}">
                    <a16:creationId xmlns:a16="http://schemas.microsoft.com/office/drawing/2014/main" id="{4BA01F42-5B94-4A6C-957C-266697DEB145}"/>
                  </a:ext>
                </a:extLst>
              </p:cNvPr>
              <p:cNvSpPr/>
              <p:nvPr/>
            </p:nvSpPr>
            <p:spPr>
              <a:xfrm>
                <a:off x="3022567" y="6034783"/>
                <a:ext cx="794229" cy="129570"/>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199" name="Rectangle 23">
                <a:extLst>
                  <a:ext uri="{FF2B5EF4-FFF2-40B4-BE49-F238E27FC236}">
                    <a16:creationId xmlns:a16="http://schemas.microsoft.com/office/drawing/2014/main" id="{4980A15F-7521-4F66-AD99-DC7E7B42BC23}"/>
                  </a:ext>
                </a:extLst>
              </p:cNvPr>
              <p:cNvSpPr/>
              <p:nvPr/>
            </p:nvSpPr>
            <p:spPr>
              <a:xfrm>
                <a:off x="3022567" y="6034783"/>
                <a:ext cx="794229" cy="129570"/>
              </a:xfrm>
              <a:prstGeom prst="rect">
                <a:avLst/>
              </a:pr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00" name="Rectangle 24">
                <a:extLst>
                  <a:ext uri="{FF2B5EF4-FFF2-40B4-BE49-F238E27FC236}">
                    <a16:creationId xmlns:a16="http://schemas.microsoft.com/office/drawing/2014/main" id="{208EFE09-DBF0-4FDB-98E7-CF96598A0A51}"/>
                  </a:ext>
                </a:extLst>
              </p:cNvPr>
              <p:cNvSpPr/>
              <p:nvPr/>
            </p:nvSpPr>
            <p:spPr>
              <a:xfrm>
                <a:off x="3022567" y="4708830"/>
                <a:ext cx="794229" cy="128518"/>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01" name="Rectangle 25">
                <a:extLst>
                  <a:ext uri="{FF2B5EF4-FFF2-40B4-BE49-F238E27FC236}">
                    <a16:creationId xmlns:a16="http://schemas.microsoft.com/office/drawing/2014/main" id="{18DA1529-8628-4950-A785-CD748B4FE9C4}"/>
                  </a:ext>
                </a:extLst>
              </p:cNvPr>
              <p:cNvSpPr/>
              <p:nvPr/>
            </p:nvSpPr>
            <p:spPr>
              <a:xfrm>
                <a:off x="3022567" y="4929301"/>
                <a:ext cx="794229" cy="128518"/>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02" name="Rectangle 26">
                <a:extLst>
                  <a:ext uri="{FF2B5EF4-FFF2-40B4-BE49-F238E27FC236}">
                    <a16:creationId xmlns:a16="http://schemas.microsoft.com/office/drawing/2014/main" id="{E90D5488-7C36-4F21-B3EE-BDEC4D4569F9}"/>
                  </a:ext>
                </a:extLst>
              </p:cNvPr>
              <p:cNvSpPr/>
              <p:nvPr/>
            </p:nvSpPr>
            <p:spPr>
              <a:xfrm>
                <a:off x="3022567" y="5151857"/>
                <a:ext cx="794229" cy="126434"/>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03" name="Rectangle 27">
                <a:extLst>
                  <a:ext uri="{FF2B5EF4-FFF2-40B4-BE49-F238E27FC236}">
                    <a16:creationId xmlns:a16="http://schemas.microsoft.com/office/drawing/2014/main" id="{DBAA4C2F-5632-4494-9804-A59532953FDD}"/>
                  </a:ext>
                </a:extLst>
              </p:cNvPr>
              <p:cNvSpPr/>
              <p:nvPr/>
            </p:nvSpPr>
            <p:spPr>
              <a:xfrm>
                <a:off x="3022567" y="5151857"/>
                <a:ext cx="794229" cy="126434"/>
              </a:xfrm>
              <a:prstGeom prst="rect">
                <a:avLst/>
              </a:pr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04" name="Rectangle 28">
                <a:extLst>
                  <a:ext uri="{FF2B5EF4-FFF2-40B4-BE49-F238E27FC236}">
                    <a16:creationId xmlns:a16="http://schemas.microsoft.com/office/drawing/2014/main" id="{2EDC8E45-D5B1-480E-B336-3089C5466287}"/>
                  </a:ext>
                </a:extLst>
              </p:cNvPr>
              <p:cNvSpPr/>
              <p:nvPr/>
            </p:nvSpPr>
            <p:spPr>
              <a:xfrm>
                <a:off x="3022567" y="4488359"/>
                <a:ext cx="794229" cy="126434"/>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05" name="Freeform 29">
                <a:extLst>
                  <a:ext uri="{FF2B5EF4-FFF2-40B4-BE49-F238E27FC236}">
                    <a16:creationId xmlns:a16="http://schemas.microsoft.com/office/drawing/2014/main" id="{FEA89D19-0FAF-4F04-B696-73871325696D}"/>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close/>
                  </a:path>
                </a:pathLst>
              </a:custGeom>
              <a:solidFill>
                <a:schemeClr val="tx2"/>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06" name="Freeform 30">
                <a:extLst>
                  <a:ext uri="{FF2B5EF4-FFF2-40B4-BE49-F238E27FC236}">
                    <a16:creationId xmlns:a16="http://schemas.microsoft.com/office/drawing/2014/main" id="{A65F498F-E6FD-49F9-B0F4-380D0A11475C}"/>
                  </a:ext>
                </a:extLst>
              </p:cNvPr>
              <p:cNvSpPr/>
              <p:nvPr/>
            </p:nvSpPr>
            <p:spPr>
              <a:xfrm>
                <a:off x="2923291" y="5151857"/>
                <a:ext cx="542376" cy="1341625"/>
              </a:xfrm>
              <a:custGeom>
                <a:avLst/>
                <a:gdLst>
                  <a:gd name="f0" fmla="val 10800000"/>
                  <a:gd name="f1" fmla="val 5400000"/>
                  <a:gd name="f2" fmla="val 180"/>
                  <a:gd name="f3" fmla="val w"/>
                  <a:gd name="f4" fmla="val h"/>
                  <a:gd name="f5" fmla="val 0"/>
                  <a:gd name="f6" fmla="val 519"/>
                  <a:gd name="f7" fmla="val 1284"/>
                  <a:gd name="f8" fmla="val 969"/>
                  <a:gd name="f9" fmla="val 95"/>
                  <a:gd name="f10" fmla="val 845"/>
                  <a:gd name="f11" fmla="val 758"/>
                  <a:gd name="f12" fmla="val 635"/>
                  <a:gd name="f13" fmla="val 545"/>
                  <a:gd name="f14" fmla="val 424"/>
                  <a:gd name="f15" fmla="val 334"/>
                  <a:gd name="f16" fmla="val 211"/>
                  <a:gd name="f17" fmla="val 121"/>
                  <a:gd name="f18" fmla="+- 0 0 -90"/>
                  <a:gd name="f19" fmla="*/ f3 1 519"/>
                  <a:gd name="f20" fmla="*/ f4 1 1284"/>
                  <a:gd name="f21" fmla="val f5"/>
                  <a:gd name="f22" fmla="val f6"/>
                  <a:gd name="f23" fmla="val f7"/>
                  <a:gd name="f24" fmla="*/ f18 f0 1"/>
                  <a:gd name="f25" fmla="+- f23 0 f21"/>
                  <a:gd name="f26" fmla="+- f22 0 f21"/>
                  <a:gd name="f27" fmla="*/ f24 1 f2"/>
                  <a:gd name="f28" fmla="*/ f26 1 519"/>
                  <a:gd name="f29" fmla="*/ f25 1 1284"/>
                  <a:gd name="f30" fmla="*/ 519 f26 1"/>
                  <a:gd name="f31" fmla="*/ 0 f25 1"/>
                  <a:gd name="f32" fmla="*/ 0 f26 1"/>
                  <a:gd name="f33" fmla="*/ 1284 f25 1"/>
                  <a:gd name="f34" fmla="*/ 969 f25 1"/>
                  <a:gd name="f35" fmla="*/ 95 f26 1"/>
                  <a:gd name="f36" fmla="*/ 845 f25 1"/>
                  <a:gd name="f37" fmla="*/ 758 f25 1"/>
                  <a:gd name="f38" fmla="*/ 635 f25 1"/>
                  <a:gd name="f39" fmla="*/ 545 f25 1"/>
                  <a:gd name="f40" fmla="*/ 424 f25 1"/>
                  <a:gd name="f41" fmla="*/ 334 f25 1"/>
                  <a:gd name="f42" fmla="*/ 211 f25 1"/>
                  <a:gd name="f43" fmla="*/ 121 f25 1"/>
                  <a:gd name="f44" fmla="+- f27 0 f1"/>
                  <a:gd name="f45" fmla="*/ f30 1 519"/>
                  <a:gd name="f46" fmla="*/ f31 1 1284"/>
                  <a:gd name="f47" fmla="*/ f32 1 519"/>
                  <a:gd name="f48" fmla="*/ f33 1 1284"/>
                  <a:gd name="f49" fmla="*/ f34 1 1284"/>
                  <a:gd name="f50" fmla="*/ f35 1 519"/>
                  <a:gd name="f51" fmla="*/ f36 1 1284"/>
                  <a:gd name="f52" fmla="*/ f37 1 1284"/>
                  <a:gd name="f53" fmla="*/ f38 1 1284"/>
                  <a:gd name="f54" fmla="*/ f39 1 1284"/>
                  <a:gd name="f55" fmla="*/ f40 1 1284"/>
                  <a:gd name="f56" fmla="*/ f41 1 1284"/>
                  <a:gd name="f57" fmla="*/ f42 1 1284"/>
                  <a:gd name="f58" fmla="*/ f43 1 1284"/>
                  <a:gd name="f59" fmla="*/ 0 1 f28"/>
                  <a:gd name="f60" fmla="*/ f22 1 f28"/>
                  <a:gd name="f61" fmla="*/ 0 1 f29"/>
                  <a:gd name="f62" fmla="*/ f23 1 f29"/>
                  <a:gd name="f63" fmla="*/ f45 1 f28"/>
                  <a:gd name="f64" fmla="*/ f46 1 f29"/>
                  <a:gd name="f65" fmla="*/ f47 1 f28"/>
                  <a:gd name="f66" fmla="*/ f48 1 f29"/>
                  <a:gd name="f67" fmla="*/ f49 1 f29"/>
                  <a:gd name="f68" fmla="*/ f50 1 f28"/>
                  <a:gd name="f69" fmla="*/ f51 1 f29"/>
                  <a:gd name="f70" fmla="*/ f52 1 f29"/>
                  <a:gd name="f71" fmla="*/ f53 1 f29"/>
                  <a:gd name="f72" fmla="*/ f54 1 f29"/>
                  <a:gd name="f73" fmla="*/ f55 1 f29"/>
                  <a:gd name="f74" fmla="*/ f56 1 f29"/>
                  <a:gd name="f75" fmla="*/ f57 1 f29"/>
                  <a:gd name="f76" fmla="*/ f58 1 f29"/>
                  <a:gd name="f77" fmla="*/ f59 f19 1"/>
                  <a:gd name="f78" fmla="*/ f60 f19 1"/>
                  <a:gd name="f79" fmla="*/ f62 f20 1"/>
                  <a:gd name="f80" fmla="*/ f61 f20 1"/>
                  <a:gd name="f81" fmla="*/ f63 f19 1"/>
                  <a:gd name="f82" fmla="*/ f64 f20 1"/>
                  <a:gd name="f83" fmla="*/ f65 f19 1"/>
                  <a:gd name="f84" fmla="*/ f66 f20 1"/>
                  <a:gd name="f85" fmla="*/ f67 f20 1"/>
                  <a:gd name="f86" fmla="*/ f68 f19 1"/>
                  <a:gd name="f87" fmla="*/ f69 f20 1"/>
                  <a:gd name="f88" fmla="*/ f70 f20 1"/>
                  <a:gd name="f89" fmla="*/ f71 f20 1"/>
                  <a:gd name="f90" fmla="*/ f72 f20 1"/>
                  <a:gd name="f91" fmla="*/ f73 f20 1"/>
                  <a:gd name="f92" fmla="*/ f74 f20 1"/>
                  <a:gd name="f93" fmla="*/ f75 f20 1"/>
                  <a:gd name="f94" fmla="*/ f76 f20 1"/>
                </a:gdLst>
                <a:ahLst/>
                <a:cxnLst>
                  <a:cxn ang="3cd4">
                    <a:pos x="hc" y="t"/>
                  </a:cxn>
                  <a:cxn ang="0">
                    <a:pos x="r" y="vc"/>
                  </a:cxn>
                  <a:cxn ang="cd4">
                    <a:pos x="hc" y="b"/>
                  </a:cxn>
                  <a:cxn ang="cd2">
                    <a:pos x="l" y="vc"/>
                  </a:cxn>
                  <a:cxn ang="f44">
                    <a:pos x="f81" y="f82"/>
                  </a:cxn>
                  <a:cxn ang="f44">
                    <a:pos x="f83" y="f82"/>
                  </a:cxn>
                  <a:cxn ang="f44">
                    <a:pos x="f83" y="f84"/>
                  </a:cxn>
                  <a:cxn ang="f44">
                    <a:pos x="f81" y="f84"/>
                  </a:cxn>
                  <a:cxn ang="f44">
                    <a:pos x="f81" y="f85"/>
                  </a:cxn>
                  <a:cxn ang="f44">
                    <a:pos x="f86" y="f85"/>
                  </a:cxn>
                  <a:cxn ang="f44">
                    <a:pos x="f86" y="f87"/>
                  </a:cxn>
                  <a:cxn ang="f44">
                    <a:pos x="f81" y="f87"/>
                  </a:cxn>
                  <a:cxn ang="f44">
                    <a:pos x="f81" y="f88"/>
                  </a:cxn>
                  <a:cxn ang="f44">
                    <a:pos x="f86" y="f88"/>
                  </a:cxn>
                  <a:cxn ang="f44">
                    <a:pos x="f86" y="f89"/>
                  </a:cxn>
                  <a:cxn ang="f44">
                    <a:pos x="f81" y="f89"/>
                  </a:cxn>
                  <a:cxn ang="f44">
                    <a:pos x="f81" y="f90"/>
                  </a:cxn>
                  <a:cxn ang="f44">
                    <a:pos x="f86" y="f90"/>
                  </a:cxn>
                  <a:cxn ang="f44">
                    <a:pos x="f86" y="f91"/>
                  </a:cxn>
                  <a:cxn ang="f44">
                    <a:pos x="f81" y="f91"/>
                  </a:cxn>
                  <a:cxn ang="f44">
                    <a:pos x="f81" y="f92"/>
                  </a:cxn>
                  <a:cxn ang="f44">
                    <a:pos x="f86" y="f92"/>
                  </a:cxn>
                  <a:cxn ang="f44">
                    <a:pos x="f86" y="f93"/>
                  </a:cxn>
                  <a:cxn ang="f44">
                    <a:pos x="f81" y="f93"/>
                  </a:cxn>
                  <a:cxn ang="f44">
                    <a:pos x="f81" y="f94"/>
                  </a:cxn>
                  <a:cxn ang="f44">
                    <a:pos x="f86" y="f94"/>
                  </a:cxn>
                  <a:cxn ang="f44">
                    <a:pos x="f86" y="f82"/>
                  </a:cxn>
                  <a:cxn ang="f44">
                    <a:pos x="f81" y="f82"/>
                  </a:cxn>
                </a:cxnLst>
                <a:rect l="f77" t="f80" r="f78" b="f79"/>
                <a:pathLst>
                  <a:path w="519" h="1284">
                    <a:moveTo>
                      <a:pt x="f6" y="f5"/>
                    </a:moveTo>
                    <a:lnTo>
                      <a:pt x="f5" y="f5"/>
                    </a:lnTo>
                    <a:lnTo>
                      <a:pt x="f5" y="f7"/>
                    </a:lnTo>
                    <a:lnTo>
                      <a:pt x="f6" y="f7"/>
                    </a:lnTo>
                    <a:lnTo>
                      <a:pt x="f6" y="f8"/>
                    </a:lnTo>
                    <a:lnTo>
                      <a:pt x="f9" y="f8"/>
                    </a:lnTo>
                    <a:lnTo>
                      <a:pt x="f9" y="f10"/>
                    </a:lnTo>
                    <a:lnTo>
                      <a:pt x="f6" y="f10"/>
                    </a:lnTo>
                    <a:lnTo>
                      <a:pt x="f6" y="f11"/>
                    </a:lnTo>
                    <a:lnTo>
                      <a:pt x="f9" y="f11"/>
                    </a:lnTo>
                    <a:lnTo>
                      <a:pt x="f9" y="f12"/>
                    </a:lnTo>
                    <a:lnTo>
                      <a:pt x="f6" y="f12"/>
                    </a:lnTo>
                    <a:lnTo>
                      <a:pt x="f6" y="f13"/>
                    </a:lnTo>
                    <a:lnTo>
                      <a:pt x="f9" y="f13"/>
                    </a:lnTo>
                    <a:lnTo>
                      <a:pt x="f9" y="f14"/>
                    </a:lnTo>
                    <a:lnTo>
                      <a:pt x="f6" y="f14"/>
                    </a:lnTo>
                    <a:lnTo>
                      <a:pt x="f6" y="f15"/>
                    </a:lnTo>
                    <a:lnTo>
                      <a:pt x="f9" y="f15"/>
                    </a:lnTo>
                    <a:lnTo>
                      <a:pt x="f9" y="f16"/>
                    </a:lnTo>
                    <a:lnTo>
                      <a:pt x="f6" y="f16"/>
                    </a:lnTo>
                    <a:lnTo>
                      <a:pt x="f6" y="f17"/>
                    </a:lnTo>
                    <a:lnTo>
                      <a:pt x="f9" y="f17"/>
                    </a:lnTo>
                    <a:lnTo>
                      <a:pt x="f9" y="f5"/>
                    </a:lnTo>
                    <a:lnTo>
                      <a:pt x="f6" y="f5"/>
                    </a:lnTo>
                  </a:path>
                </a:pathLst>
              </a:cu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07" name="Rectangle 31">
                <a:extLst>
                  <a:ext uri="{FF2B5EF4-FFF2-40B4-BE49-F238E27FC236}">
                    <a16:creationId xmlns:a16="http://schemas.microsoft.com/office/drawing/2014/main" id="{69E101D5-F77D-40CD-855E-D17E15FD02DE}"/>
                  </a:ext>
                </a:extLst>
              </p:cNvPr>
              <p:cNvSpPr/>
              <p:nvPr/>
            </p:nvSpPr>
            <p:spPr>
              <a:xfrm>
                <a:off x="3022567" y="5372328"/>
                <a:ext cx="443090" cy="128518"/>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08" name="Rectangle 32">
                <a:extLst>
                  <a:ext uri="{FF2B5EF4-FFF2-40B4-BE49-F238E27FC236}">
                    <a16:creationId xmlns:a16="http://schemas.microsoft.com/office/drawing/2014/main" id="{1F6A7019-6B6C-4FC6-917C-5CF1DF33B77D}"/>
                  </a:ext>
                </a:extLst>
              </p:cNvPr>
              <p:cNvSpPr/>
              <p:nvPr/>
            </p:nvSpPr>
            <p:spPr>
              <a:xfrm>
                <a:off x="3022567" y="5372328"/>
                <a:ext cx="443090" cy="128518"/>
              </a:xfrm>
              <a:prstGeom prst="rect">
                <a:avLst/>
              </a:pr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09" name="Rectangle 33">
                <a:extLst>
                  <a:ext uri="{FF2B5EF4-FFF2-40B4-BE49-F238E27FC236}">
                    <a16:creationId xmlns:a16="http://schemas.microsoft.com/office/drawing/2014/main" id="{3F249E09-E02E-4720-B8C4-A7E933F47C0C}"/>
                  </a:ext>
                </a:extLst>
              </p:cNvPr>
              <p:cNvSpPr/>
              <p:nvPr/>
            </p:nvSpPr>
            <p:spPr>
              <a:xfrm>
                <a:off x="3022567" y="5594893"/>
                <a:ext cx="443090" cy="126434"/>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0" name="Rectangle 34">
                <a:extLst>
                  <a:ext uri="{FF2B5EF4-FFF2-40B4-BE49-F238E27FC236}">
                    <a16:creationId xmlns:a16="http://schemas.microsoft.com/office/drawing/2014/main" id="{3744A625-511A-43A0-A6B7-AB19E2F84130}"/>
                  </a:ext>
                </a:extLst>
              </p:cNvPr>
              <p:cNvSpPr/>
              <p:nvPr/>
            </p:nvSpPr>
            <p:spPr>
              <a:xfrm>
                <a:off x="3022567" y="5594893"/>
                <a:ext cx="443090" cy="126434"/>
              </a:xfrm>
              <a:prstGeom prst="rect">
                <a:avLst/>
              </a:pr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1" name="Rectangle 35">
                <a:extLst>
                  <a:ext uri="{FF2B5EF4-FFF2-40B4-BE49-F238E27FC236}">
                    <a16:creationId xmlns:a16="http://schemas.microsoft.com/office/drawing/2014/main" id="{E99D3057-932D-44A3-AF0E-C36B67AECC87}"/>
                  </a:ext>
                </a:extLst>
              </p:cNvPr>
              <p:cNvSpPr/>
              <p:nvPr/>
            </p:nvSpPr>
            <p:spPr>
              <a:xfrm>
                <a:off x="3022567" y="5815364"/>
                <a:ext cx="443090" cy="128518"/>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2" name="Rectangle 36">
                <a:extLst>
                  <a:ext uri="{FF2B5EF4-FFF2-40B4-BE49-F238E27FC236}">
                    <a16:creationId xmlns:a16="http://schemas.microsoft.com/office/drawing/2014/main" id="{3584FF37-BC17-431A-9C4E-1883B9AE9CB7}"/>
                  </a:ext>
                </a:extLst>
              </p:cNvPr>
              <p:cNvSpPr/>
              <p:nvPr/>
            </p:nvSpPr>
            <p:spPr>
              <a:xfrm>
                <a:off x="3022567" y="5815364"/>
                <a:ext cx="443090" cy="128518"/>
              </a:xfrm>
              <a:prstGeom prst="rect">
                <a:avLst/>
              </a:pr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3" name="Rectangle 37">
                <a:extLst>
                  <a:ext uri="{FF2B5EF4-FFF2-40B4-BE49-F238E27FC236}">
                    <a16:creationId xmlns:a16="http://schemas.microsoft.com/office/drawing/2014/main" id="{FB1FCD27-C368-4782-88A3-3672965D2F4E}"/>
                  </a:ext>
                </a:extLst>
              </p:cNvPr>
              <p:cNvSpPr/>
              <p:nvPr/>
            </p:nvSpPr>
            <p:spPr>
              <a:xfrm>
                <a:off x="3022567" y="6034783"/>
                <a:ext cx="443090" cy="129570"/>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4" name="Rectangle 38">
                <a:extLst>
                  <a:ext uri="{FF2B5EF4-FFF2-40B4-BE49-F238E27FC236}">
                    <a16:creationId xmlns:a16="http://schemas.microsoft.com/office/drawing/2014/main" id="{8F25143F-9EA9-40E4-8069-87F2F370648D}"/>
                  </a:ext>
                </a:extLst>
              </p:cNvPr>
              <p:cNvSpPr/>
              <p:nvPr/>
            </p:nvSpPr>
            <p:spPr>
              <a:xfrm>
                <a:off x="3022567" y="6034783"/>
                <a:ext cx="443090" cy="129570"/>
              </a:xfrm>
              <a:prstGeom prst="rect">
                <a:avLst/>
              </a:pr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5" name="Rectangle 39">
                <a:extLst>
                  <a:ext uri="{FF2B5EF4-FFF2-40B4-BE49-F238E27FC236}">
                    <a16:creationId xmlns:a16="http://schemas.microsoft.com/office/drawing/2014/main" id="{04EAC114-7CAD-450E-BF6B-1724EA3D19A4}"/>
                  </a:ext>
                </a:extLst>
              </p:cNvPr>
              <p:cNvSpPr/>
              <p:nvPr/>
            </p:nvSpPr>
            <p:spPr>
              <a:xfrm>
                <a:off x="3022567" y="5151857"/>
                <a:ext cx="443090" cy="126434"/>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6" name="Rectangle 40">
                <a:extLst>
                  <a:ext uri="{FF2B5EF4-FFF2-40B4-BE49-F238E27FC236}">
                    <a16:creationId xmlns:a16="http://schemas.microsoft.com/office/drawing/2014/main" id="{330BDAD9-7F09-46EB-AC32-005BAD08F07A}"/>
                  </a:ext>
                </a:extLst>
              </p:cNvPr>
              <p:cNvSpPr/>
              <p:nvPr/>
            </p:nvSpPr>
            <p:spPr>
              <a:xfrm>
                <a:off x="3022567" y="5151857"/>
                <a:ext cx="443090" cy="126434"/>
              </a:xfrm>
              <a:prstGeom prst="rect">
                <a:avLst/>
              </a:prstGeom>
              <a:no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7" name="Rectangle 41">
                <a:extLst>
                  <a:ext uri="{FF2B5EF4-FFF2-40B4-BE49-F238E27FC236}">
                    <a16:creationId xmlns:a16="http://schemas.microsoft.com/office/drawing/2014/main" id="{8DE11CEF-BE45-4AE5-A407-0B73FAC1038D}"/>
                  </a:ext>
                </a:extLst>
              </p:cNvPr>
              <p:cNvSpPr/>
              <p:nvPr/>
            </p:nvSpPr>
            <p:spPr>
              <a:xfrm>
                <a:off x="2317171" y="5260534"/>
                <a:ext cx="987552" cy="1232958"/>
              </a:xfrm>
              <a:prstGeom prst="rect">
                <a:avLst/>
              </a:prstGeom>
              <a:solidFill>
                <a:schemeClr val="tx2">
                  <a:lumMod val="50000"/>
                </a:schemeClr>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8" name="Rectangle 42">
                <a:extLst>
                  <a:ext uri="{FF2B5EF4-FFF2-40B4-BE49-F238E27FC236}">
                    <a16:creationId xmlns:a16="http://schemas.microsoft.com/office/drawing/2014/main" id="{1926E38D-14FE-4A88-BC51-D667087C337E}"/>
                  </a:ext>
                </a:extLst>
              </p:cNvPr>
              <p:cNvSpPr/>
              <p:nvPr/>
            </p:nvSpPr>
            <p:spPr>
              <a:xfrm>
                <a:off x="2859539" y="6242718"/>
                <a:ext cx="128537" cy="250774"/>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19" name="Rectangle 43">
                <a:extLst>
                  <a:ext uri="{FF2B5EF4-FFF2-40B4-BE49-F238E27FC236}">
                    <a16:creationId xmlns:a16="http://schemas.microsoft.com/office/drawing/2014/main" id="{D4683C92-625A-48A5-86EA-921B7744229B}"/>
                  </a:ext>
                </a:extLst>
              </p:cNvPr>
              <p:cNvSpPr/>
              <p:nvPr/>
            </p:nvSpPr>
            <p:spPr>
              <a:xfrm>
                <a:off x="2639040" y="6242718"/>
                <a:ext cx="125400" cy="250774"/>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0" name="Rectangle 44">
                <a:extLst>
                  <a:ext uri="{FF2B5EF4-FFF2-40B4-BE49-F238E27FC236}">
                    <a16:creationId xmlns:a16="http://schemas.microsoft.com/office/drawing/2014/main" id="{24E9325E-874C-4909-AA96-C07E647875F6}"/>
                  </a:ext>
                </a:extLst>
              </p:cNvPr>
              <p:cNvSpPr/>
              <p:nvPr/>
            </p:nvSpPr>
            <p:spPr>
              <a:xfrm>
                <a:off x="2415396" y="5372328"/>
                <a:ext cx="795271" cy="128518"/>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1" name="Rectangle 45">
                <a:extLst>
                  <a:ext uri="{FF2B5EF4-FFF2-40B4-BE49-F238E27FC236}">
                    <a16:creationId xmlns:a16="http://schemas.microsoft.com/office/drawing/2014/main" id="{63DD995F-A981-4A12-975D-2BC9E6602312}"/>
                  </a:ext>
                </a:extLst>
              </p:cNvPr>
              <p:cNvSpPr/>
              <p:nvPr/>
            </p:nvSpPr>
            <p:spPr>
              <a:xfrm>
                <a:off x="2415396" y="5594893"/>
                <a:ext cx="795271" cy="126434"/>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2" name="Rectangle 46">
                <a:extLst>
                  <a:ext uri="{FF2B5EF4-FFF2-40B4-BE49-F238E27FC236}">
                    <a16:creationId xmlns:a16="http://schemas.microsoft.com/office/drawing/2014/main" id="{DFEC900E-1FB9-4980-9FE6-51943A5103FE}"/>
                  </a:ext>
                </a:extLst>
              </p:cNvPr>
              <p:cNvSpPr/>
              <p:nvPr/>
            </p:nvSpPr>
            <p:spPr>
              <a:xfrm>
                <a:off x="2415396" y="5815364"/>
                <a:ext cx="795271" cy="128518"/>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sp>
            <p:nvSpPr>
              <p:cNvPr id="223" name="Rectangle 47">
                <a:extLst>
                  <a:ext uri="{FF2B5EF4-FFF2-40B4-BE49-F238E27FC236}">
                    <a16:creationId xmlns:a16="http://schemas.microsoft.com/office/drawing/2014/main" id="{5774841D-5FCD-440E-B3A3-9F34FC15EB72}"/>
                  </a:ext>
                </a:extLst>
              </p:cNvPr>
              <p:cNvSpPr/>
              <p:nvPr/>
            </p:nvSpPr>
            <p:spPr>
              <a:xfrm>
                <a:off x="2415396" y="6034783"/>
                <a:ext cx="795271" cy="129570"/>
              </a:xfrm>
              <a:prstGeom prst="rect">
                <a:avLst/>
              </a:prstGeom>
              <a:solidFill>
                <a:srgbClr val="FFFFFF"/>
              </a:solidFill>
              <a:ln cap="flat">
                <a:noFill/>
                <a:prstDash val="solid"/>
              </a:ln>
            </p:spPr>
            <p:txBody>
              <a:bodyPr vert="horz" wrap="square" lIns="65894" tIns="32943" rIns="65894" bIns="32943" anchor="t" anchorCtr="0" compatLnSpc="1">
                <a:noAutofit/>
              </a:bodyPr>
              <a:lstStyle/>
              <a:p>
                <a:pPr marL="0" marR="0" lvl="0" indent="0" algn="l" defTabSz="671313"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ＭＳ Ｐゴシック"/>
                  <a:cs typeface="+mn-cs"/>
                </a:endParaRPr>
              </a:p>
            </p:txBody>
          </p:sp>
        </p:grpSp>
      </p:grpSp>
      <p:sp>
        <p:nvSpPr>
          <p:cNvPr id="258" name="Text">
            <a:extLst>
              <a:ext uri="{FF2B5EF4-FFF2-40B4-BE49-F238E27FC236}">
                <a16:creationId xmlns:a16="http://schemas.microsoft.com/office/drawing/2014/main" id="{EFA10BDE-465B-46D6-8D67-098BA4B1DD80}"/>
              </a:ext>
            </a:extLst>
          </p:cNvPr>
          <p:cNvSpPr/>
          <p:nvPr/>
        </p:nvSpPr>
        <p:spPr>
          <a:xfrm>
            <a:off x="3336073" y="4401287"/>
            <a:ext cx="959016" cy="329763"/>
          </a:xfrm>
          <a:prstGeom prst="rect">
            <a:avLst/>
          </a:prstGeom>
          <a:noFill/>
          <a:ln cap="flat">
            <a:noFill/>
            <a:prstDash val="solid"/>
          </a:ln>
        </p:spPr>
        <p:txBody>
          <a:bodyPr vert="horz" wrap="square" lIns="0" tIns="0" rIns="0" bIns="0" anchor="t" anchorCtr="1" compatLnSpc="1">
            <a:noAutofit/>
          </a:bodyPr>
          <a:lstStyle/>
          <a:p>
            <a:pPr marL="0" marR="0" lvl="0" indent="0" algn="ctr" defTabSz="671748" rtl="0" eaLnBrk="0" fontAlgn="base" latinLnBrk="0" hangingPunct="0">
              <a:lnSpc>
                <a:spcPct val="90000"/>
              </a:lnSpc>
              <a:spcBef>
                <a:spcPct val="0"/>
              </a:spcBef>
              <a:spcAft>
                <a:spcPct val="0"/>
              </a:spcAft>
              <a:buClrTx/>
              <a:buSzTx/>
              <a:buFontTx/>
              <a:buNone/>
              <a:tabLst/>
              <a:defRPr sz="1800" b="0" i="0" u="none" strike="noStrike" kern="0" cap="none" spc="0" baseline="0">
                <a:solidFill>
                  <a:srgbClr val="000000"/>
                </a:solidFill>
                <a:uFillTx/>
              </a:defRPr>
            </a:pPr>
            <a:r>
              <a:rPr kumimoji="0" lang="en-US" sz="1008" b="0" i="0" u="none" strike="noStrike" kern="0" cap="none" spc="-36"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On-premises /</a:t>
            </a:r>
          </a:p>
          <a:p>
            <a:pPr marL="0" marR="0" lvl="0" indent="0" algn="ctr" defTabSz="671748" rtl="0" eaLnBrk="0" fontAlgn="base" latinLnBrk="0" hangingPunct="0">
              <a:lnSpc>
                <a:spcPct val="90000"/>
              </a:lnSpc>
              <a:spcBef>
                <a:spcPct val="0"/>
              </a:spcBef>
              <a:spcAft>
                <a:spcPct val="0"/>
              </a:spcAft>
              <a:buClrTx/>
              <a:buSzTx/>
              <a:buFontTx/>
              <a:buNone/>
              <a:tabLst/>
              <a:defRPr sz="1800" b="0" i="0" u="none" strike="noStrike" kern="0" cap="none" spc="0" baseline="0">
                <a:solidFill>
                  <a:srgbClr val="000000"/>
                </a:solidFill>
                <a:uFillTx/>
              </a:defRPr>
            </a:pPr>
            <a:r>
              <a:rPr kumimoji="0" lang="en-US" sz="1008" b="0" i="0" u="none" strike="noStrike" kern="0" cap="none" spc="-36" normalizeH="0" baseline="0" noProof="0">
                <a:ln>
                  <a:noFill/>
                </a:ln>
                <a:solidFill>
                  <a:srgbClr val="505050"/>
                </a:solidFill>
                <a:effectLst/>
                <a:uLnTx/>
                <a:uFillTx/>
                <a:latin typeface="Segoe UI" panose="020B0502040204020203" pitchFamily="34" charset="0"/>
                <a:ea typeface="+mn-ea"/>
                <a:cs typeface="Segoe UI" panose="020B0502040204020203" pitchFamily="34" charset="0"/>
              </a:rPr>
              <a:t>Private cloud</a:t>
            </a:r>
            <a:endParaRPr kumimoji="0" lang="en-US" sz="1152" b="0" i="0" u="none" strike="noStrike" kern="0" cap="none" spc="-36" normalizeH="0" baseline="0" noProof="0">
              <a:ln>
                <a:noFill/>
              </a:ln>
              <a:solidFill>
                <a:srgbClr val="505050"/>
              </a:solidFill>
              <a:effectLst/>
              <a:uLnTx/>
              <a:uFillTx/>
              <a:latin typeface="Segoe UI" panose="020B0502040204020203" pitchFamily="34" charset="0"/>
              <a:ea typeface="+mn-ea"/>
              <a:cs typeface="Segoe UI" panose="020B0502040204020203" pitchFamily="34" charset="0"/>
            </a:endParaRPr>
          </a:p>
        </p:txBody>
      </p:sp>
      <p:grpSp>
        <p:nvGrpSpPr>
          <p:cNvPr id="259" name="Group 258">
            <a:extLst>
              <a:ext uri="{FF2B5EF4-FFF2-40B4-BE49-F238E27FC236}">
                <a16:creationId xmlns:a16="http://schemas.microsoft.com/office/drawing/2014/main" id="{FBB1810E-8A3E-438F-AA87-DD531078B503}"/>
              </a:ext>
            </a:extLst>
          </p:cNvPr>
          <p:cNvGrpSpPr/>
          <p:nvPr/>
        </p:nvGrpSpPr>
        <p:grpSpPr>
          <a:xfrm>
            <a:off x="6351271" y="1587328"/>
            <a:ext cx="1917572" cy="1202219"/>
            <a:chOff x="4887885" y="2663200"/>
            <a:chExt cx="2660704" cy="1668125"/>
          </a:xfrm>
        </p:grpSpPr>
        <p:grpSp>
          <p:nvGrpSpPr>
            <p:cNvPr id="260" name="Group 259">
              <a:extLst>
                <a:ext uri="{FF2B5EF4-FFF2-40B4-BE49-F238E27FC236}">
                  <a16:creationId xmlns:a16="http://schemas.microsoft.com/office/drawing/2014/main" id="{7B5725F2-7831-4F20-9D32-6684D9C47381}"/>
                </a:ext>
              </a:extLst>
            </p:cNvPr>
            <p:cNvGrpSpPr/>
            <p:nvPr/>
          </p:nvGrpSpPr>
          <p:grpSpPr>
            <a:xfrm>
              <a:off x="4887885" y="2663200"/>
              <a:ext cx="2660704" cy="1668125"/>
              <a:chOff x="4931021" y="2660526"/>
              <a:chExt cx="2660704" cy="1668125"/>
            </a:xfrm>
          </p:grpSpPr>
          <p:sp>
            <p:nvSpPr>
              <p:cNvPr id="262" name="Freeform 5">
                <a:extLst>
                  <a:ext uri="{FF2B5EF4-FFF2-40B4-BE49-F238E27FC236}">
                    <a16:creationId xmlns:a16="http://schemas.microsoft.com/office/drawing/2014/main" id="{390FB35A-C70F-4DA4-ADD2-2BD441F71947}"/>
                  </a:ext>
                </a:extLst>
              </p:cNvPr>
              <p:cNvSpPr/>
              <p:nvPr/>
            </p:nvSpPr>
            <p:spPr>
              <a:xfrm>
                <a:off x="4983684" y="2660526"/>
                <a:ext cx="2608041" cy="1668125"/>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E6E6E6">
                  <a:lumMod val="90000"/>
                </a:srgbClr>
              </a:solidFill>
              <a:ln w="15873" cap="flat">
                <a:noFill/>
                <a:prstDash val="solid"/>
              </a:ln>
            </p:spPr>
            <p:txBody>
              <a:bodyPr vert="horz" wrap="square" lIns="65901" tIns="32950" rIns="65901" bIns="32950"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sp>
            <p:nvSpPr>
              <p:cNvPr id="263" name="Freeform 5">
                <a:extLst>
                  <a:ext uri="{FF2B5EF4-FFF2-40B4-BE49-F238E27FC236}">
                    <a16:creationId xmlns:a16="http://schemas.microsoft.com/office/drawing/2014/main" id="{3085C757-357E-42CD-B081-014F4B3485B8}"/>
                  </a:ext>
                </a:extLst>
              </p:cNvPr>
              <p:cNvSpPr/>
              <p:nvPr/>
            </p:nvSpPr>
            <p:spPr>
              <a:xfrm>
                <a:off x="4931021" y="2716939"/>
                <a:ext cx="2574432" cy="1560646"/>
              </a:xfrm>
              <a:custGeom>
                <a:avLst/>
                <a:gdLst>
                  <a:gd name="f0" fmla="val 10800000"/>
                  <a:gd name="f1" fmla="val 5400000"/>
                  <a:gd name="f2" fmla="val 180"/>
                  <a:gd name="f3" fmla="val w"/>
                  <a:gd name="f4" fmla="val h"/>
                  <a:gd name="f5" fmla="val 0"/>
                  <a:gd name="f6" fmla="val 120"/>
                  <a:gd name="f7" fmla="val 80"/>
                  <a:gd name="f8" fmla="val 28"/>
                  <a:gd name="f9" fmla="val 32"/>
                  <a:gd name="f10" fmla="val 14"/>
                  <a:gd name="f11" fmla="val 42"/>
                  <a:gd name="f12" fmla="val 60"/>
                  <a:gd name="f13" fmla="val 73"/>
                  <a:gd name="f14" fmla="val 85"/>
                  <a:gd name="f15" fmla="val 8"/>
                  <a:gd name="f16" fmla="val 90"/>
                  <a:gd name="f17" fmla="val 20"/>
                  <a:gd name="f18" fmla="val 107"/>
                  <a:gd name="f19" fmla="val 33"/>
                  <a:gd name="f20" fmla="val 50"/>
                  <a:gd name="f21" fmla="val 67"/>
                  <a:gd name="f22" fmla="val 24"/>
                  <a:gd name="f23" fmla="val 11"/>
                  <a:gd name="f24" fmla="val 69"/>
                  <a:gd name="f25" fmla="val 56"/>
                  <a:gd name="f26" fmla="val 43"/>
                  <a:gd name="f27" fmla="val 25"/>
                  <a:gd name="f28" fmla="val 27"/>
                  <a:gd name="f29" fmla="+- 0 0 -90"/>
                  <a:gd name="f30" fmla="*/ f3 1 120"/>
                  <a:gd name="f31" fmla="*/ f4 1 80"/>
                  <a:gd name="f32" fmla="val f5"/>
                  <a:gd name="f33" fmla="val f6"/>
                  <a:gd name="f34" fmla="val f7"/>
                  <a:gd name="f35" fmla="*/ f29 f0 1"/>
                  <a:gd name="f36" fmla="+- f34 0 f32"/>
                  <a:gd name="f37" fmla="+- f33 0 f32"/>
                  <a:gd name="f38" fmla="*/ f35 1 f2"/>
                  <a:gd name="f39" fmla="*/ f37 1 120"/>
                  <a:gd name="f40" fmla="*/ f36 1 80"/>
                  <a:gd name="f41" fmla="*/ 28 f37 1"/>
                  <a:gd name="f42" fmla="*/ 32 f36 1"/>
                  <a:gd name="f43" fmla="*/ 60 f37 1"/>
                  <a:gd name="f44" fmla="*/ 0 f36 1"/>
                  <a:gd name="f45" fmla="*/ 90 f37 1"/>
                  <a:gd name="f46" fmla="*/ 20 f36 1"/>
                  <a:gd name="f47" fmla="*/ 120 f37 1"/>
                  <a:gd name="f48" fmla="*/ 50 f36 1"/>
                  <a:gd name="f49" fmla="*/ 80 f36 1"/>
                  <a:gd name="f50" fmla="*/ 24 f37 1"/>
                  <a:gd name="f51" fmla="*/ 0 f37 1"/>
                  <a:gd name="f52" fmla="*/ 56 f36 1"/>
                  <a:gd name="f53" fmla="+- f38 0 f1"/>
                  <a:gd name="f54" fmla="*/ f41 1 120"/>
                  <a:gd name="f55" fmla="*/ f42 1 80"/>
                  <a:gd name="f56" fmla="*/ f43 1 120"/>
                  <a:gd name="f57" fmla="*/ f44 1 80"/>
                  <a:gd name="f58" fmla="*/ f45 1 120"/>
                  <a:gd name="f59" fmla="*/ f46 1 80"/>
                  <a:gd name="f60" fmla="*/ f47 1 120"/>
                  <a:gd name="f61" fmla="*/ f48 1 80"/>
                  <a:gd name="f62" fmla="*/ f49 1 80"/>
                  <a:gd name="f63" fmla="*/ f50 1 120"/>
                  <a:gd name="f64" fmla="*/ f51 1 120"/>
                  <a:gd name="f65" fmla="*/ f52 1 80"/>
                  <a:gd name="f66" fmla="*/ 0 1 f39"/>
                  <a:gd name="f67" fmla="*/ f33 1 f39"/>
                  <a:gd name="f68" fmla="*/ 0 1 f40"/>
                  <a:gd name="f69" fmla="*/ f34 1 f40"/>
                  <a:gd name="f70" fmla="*/ f54 1 f39"/>
                  <a:gd name="f71" fmla="*/ f55 1 f40"/>
                  <a:gd name="f72" fmla="*/ f56 1 f39"/>
                  <a:gd name="f73" fmla="*/ f57 1 f40"/>
                  <a:gd name="f74" fmla="*/ f58 1 f39"/>
                  <a:gd name="f75" fmla="*/ f59 1 f40"/>
                  <a:gd name="f76" fmla="*/ f60 1 f39"/>
                  <a:gd name="f77" fmla="*/ f61 1 f40"/>
                  <a:gd name="f78" fmla="*/ f62 1 f40"/>
                  <a:gd name="f79" fmla="*/ f63 1 f39"/>
                  <a:gd name="f80" fmla="*/ f64 1 f39"/>
                  <a:gd name="f81" fmla="*/ f65 1 f40"/>
                  <a:gd name="f82" fmla="*/ f66 f30 1"/>
                  <a:gd name="f83" fmla="*/ f67 f30 1"/>
                  <a:gd name="f84" fmla="*/ f69 f31 1"/>
                  <a:gd name="f85" fmla="*/ f68 f31 1"/>
                  <a:gd name="f86" fmla="*/ f70 f30 1"/>
                  <a:gd name="f87" fmla="*/ f71 f31 1"/>
                  <a:gd name="f88" fmla="*/ f72 f30 1"/>
                  <a:gd name="f89" fmla="*/ f73 f31 1"/>
                  <a:gd name="f90" fmla="*/ f74 f30 1"/>
                  <a:gd name="f91" fmla="*/ f75 f31 1"/>
                  <a:gd name="f92" fmla="*/ f76 f30 1"/>
                  <a:gd name="f93" fmla="*/ f77 f31 1"/>
                  <a:gd name="f94" fmla="*/ f78 f31 1"/>
                  <a:gd name="f95" fmla="*/ f79 f30 1"/>
                  <a:gd name="f96" fmla="*/ f80 f30 1"/>
                  <a:gd name="f97" fmla="*/ f81 f31 1"/>
                </a:gdLst>
                <a:ahLst/>
                <a:cxnLst>
                  <a:cxn ang="3cd4">
                    <a:pos x="hc" y="t"/>
                  </a:cxn>
                  <a:cxn ang="0">
                    <a:pos x="r" y="vc"/>
                  </a:cxn>
                  <a:cxn ang="cd4">
                    <a:pos x="hc" y="b"/>
                  </a:cxn>
                  <a:cxn ang="cd2">
                    <a:pos x="l" y="vc"/>
                  </a:cxn>
                  <a:cxn ang="f53">
                    <a:pos x="f86" y="f87"/>
                  </a:cxn>
                  <a:cxn ang="f53">
                    <a:pos x="f88" y="f89"/>
                  </a:cxn>
                  <a:cxn ang="f53">
                    <a:pos x="f90" y="f91"/>
                  </a:cxn>
                  <a:cxn ang="f53">
                    <a:pos x="f90" y="f91"/>
                  </a:cxn>
                  <a:cxn ang="f53">
                    <a:pos x="f92" y="f93"/>
                  </a:cxn>
                  <a:cxn ang="f53">
                    <a:pos x="f90" y="f94"/>
                  </a:cxn>
                  <a:cxn ang="f53">
                    <a:pos x="f95" y="f94"/>
                  </a:cxn>
                  <a:cxn ang="f53">
                    <a:pos x="f96" y="f97"/>
                  </a:cxn>
                  <a:cxn ang="f53">
                    <a:pos x="f95" y="f87"/>
                  </a:cxn>
                  <a:cxn ang="f53">
                    <a:pos x="f86" y="f87"/>
                  </a:cxn>
                </a:cxnLst>
                <a:rect l="f82" t="f85" r="f83" b="f84"/>
                <a:pathLst>
                  <a:path w="120" h="80">
                    <a:moveTo>
                      <a:pt x="f8" y="f9"/>
                    </a:moveTo>
                    <a:cubicBezTo>
                      <a:pt x="f8" y="f10"/>
                      <a:pt x="f11" y="f5"/>
                      <a:pt x="f12" y="f5"/>
                    </a:cubicBezTo>
                    <a:cubicBezTo>
                      <a:pt x="f13" y="f5"/>
                      <a:pt x="f14" y="f15"/>
                      <a:pt x="f16" y="f17"/>
                    </a:cubicBezTo>
                    <a:cubicBezTo>
                      <a:pt x="f16" y="f17"/>
                      <a:pt x="f16" y="f17"/>
                      <a:pt x="f16" y="f17"/>
                    </a:cubicBezTo>
                    <a:cubicBezTo>
                      <a:pt x="f18" y="f17"/>
                      <a:pt x="f6" y="f19"/>
                      <a:pt x="f6" y="f20"/>
                    </a:cubicBezTo>
                    <a:cubicBezTo>
                      <a:pt x="f6" y="f21"/>
                      <a:pt x="f18" y="f7"/>
                      <a:pt x="f16" y="f7"/>
                    </a:cubicBezTo>
                    <a:cubicBezTo>
                      <a:pt x="f22" y="f7"/>
                      <a:pt x="f22" y="f7"/>
                      <a:pt x="f22" y="f7"/>
                    </a:cubicBezTo>
                    <a:cubicBezTo>
                      <a:pt x="f23" y="f7"/>
                      <a:pt x="f5" y="f24"/>
                      <a:pt x="f5" y="f25"/>
                    </a:cubicBezTo>
                    <a:cubicBezTo>
                      <a:pt x="f5" y="f26"/>
                      <a:pt x="f23" y="f9"/>
                      <a:pt x="f22" y="f9"/>
                    </a:cubicBezTo>
                    <a:cubicBezTo>
                      <a:pt x="f27" y="f9"/>
                      <a:pt x="f28" y="f9"/>
                      <a:pt x="f8" y="f9"/>
                    </a:cubicBezTo>
                    <a:close/>
                  </a:path>
                </a:pathLst>
              </a:custGeom>
              <a:solidFill>
                <a:srgbClr val="FFFFFF"/>
              </a:solidFill>
              <a:ln w="15873" cap="flat">
                <a:noFill/>
                <a:prstDash val="solid"/>
              </a:ln>
            </p:spPr>
            <p:txBody>
              <a:bodyPr vert="horz" wrap="square" lIns="65901" tIns="32950" rIns="65901" bIns="32950" anchor="t" anchorCtr="0" compatLnSpc="1">
                <a:noAutofit/>
              </a:bodyPr>
              <a:lstStyle/>
              <a:p>
                <a:pPr marL="0" marR="0" lvl="0" indent="0" algn="l" defTabSz="672137" rtl="0" eaLnBrk="0" fontAlgn="base" latinLnBrk="0" hangingPunct="0">
                  <a:lnSpc>
                    <a:spcPct val="10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298" b="0" i="0" u="none" strike="noStrike" kern="0" cap="none" spc="0" normalizeH="0" baseline="0" noProof="0">
                  <a:ln>
                    <a:noFill/>
                  </a:ln>
                  <a:solidFill>
                    <a:srgbClr val="505050"/>
                  </a:solidFill>
                  <a:effectLst/>
                  <a:uLnTx/>
                  <a:uFillTx/>
                  <a:latin typeface="Segoe UI"/>
                  <a:ea typeface="+mn-ea"/>
                  <a:cs typeface="+mn-cs"/>
                </a:endParaRPr>
              </a:p>
            </p:txBody>
          </p:sp>
        </p:grpSp>
        <p:sp>
          <p:nvSpPr>
            <p:cNvPr id="261" name="Freeform: Shape 1817">
              <a:extLst>
                <a:ext uri="{FF2B5EF4-FFF2-40B4-BE49-F238E27FC236}">
                  <a16:creationId xmlns:a16="http://schemas.microsoft.com/office/drawing/2014/main" id="{B08D6391-7783-4C2D-987C-5BB39E2019F7}"/>
                </a:ext>
              </a:extLst>
            </p:cNvPr>
            <p:cNvSpPr/>
            <p:nvPr/>
          </p:nvSpPr>
          <p:spPr>
            <a:xfrm flipV="1">
              <a:off x="5799146" y="2773153"/>
              <a:ext cx="838183" cy="864526"/>
            </a:xfrm>
            <a:custGeom>
              <a:avLst/>
              <a:gdLst>
                <a:gd name="f0" fmla="val 10800000"/>
                <a:gd name="f1" fmla="val 5400000"/>
                <a:gd name="f2" fmla="val 180"/>
                <a:gd name="f3" fmla="val w"/>
                <a:gd name="f4" fmla="val h"/>
                <a:gd name="f5" fmla="val 0"/>
                <a:gd name="f6" fmla="val 7802051"/>
                <a:gd name="f7" fmla="val 7751588"/>
                <a:gd name="f8" fmla="val 3669750"/>
                <a:gd name="f9" fmla="val 4921020"/>
                <a:gd name="f10" fmla="val 3676808"/>
                <a:gd name="f11" fmla="val 4917189"/>
                <a:gd name="f12" fmla="val 3726054"/>
                <a:gd name="f13" fmla="val 4901903"/>
                <a:gd name="f14" fmla="val 2529358"/>
                <a:gd name="f15" fmla="val 2407723"/>
                <a:gd name="f16" fmla="val 3310455"/>
                <a:gd name="f17" fmla="val 2418532"/>
                <a:gd name="f18" fmla="val 3417678"/>
                <a:gd name="f19" fmla="val 3504005"/>
                <a:gd name="f20" fmla="val 2401037"/>
                <a:gd name="f21" fmla="val 3586244"/>
                <a:gd name="f22" fmla="val 2369399"/>
                <a:gd name="f23" fmla="val 3661045"/>
                <a:gd name="f24" fmla="val 2362622"/>
                <a:gd name="f25" fmla="val 3673532"/>
                <a:gd name="f26" fmla="val 4279965"/>
                <a:gd name="f27" fmla="val 4958071"/>
                <a:gd name="f28" fmla="val 5406368"/>
                <a:gd name="f29" fmla="val 3581135"/>
                <a:gd name="f30" fmla="val 5396221"/>
                <a:gd name="f31" fmla="val 3548447"/>
                <a:gd name="f32" fmla="val 5387893"/>
                <a:gd name="f33" fmla="val 3507746"/>
                <a:gd name="f34" fmla="val 5383519"/>
                <a:gd name="f35" fmla="val 3465605"/>
                <a:gd name="f36" fmla="val 3422441"/>
                <a:gd name="f37" fmla="val 5392133"/>
                <a:gd name="f38" fmla="val 3336986"/>
                <a:gd name="f39" fmla="val 4117986"/>
                <a:gd name="f40" fmla="val 2509174"/>
                <a:gd name="f41" fmla="val 4066733"/>
                <a:gd name="f42" fmla="val 2525083"/>
                <a:gd name="f43" fmla="val 4044164"/>
                <a:gd name="f44" fmla="val 2527359"/>
                <a:gd name="f45" fmla="val 4874334"/>
                <a:gd name="f46" fmla="val 4077374"/>
                <a:gd name="f47" fmla="val 4877682"/>
                <a:gd name="f48" fmla="val 4121512"/>
                <a:gd name="f49" fmla="val 4886714"/>
                <a:gd name="f50" fmla="val 4164089"/>
                <a:gd name="f51" fmla="val 4900035"/>
                <a:gd name="f52" fmla="val 4204647"/>
                <a:gd name="f53" fmla="val 4917190"/>
                <a:gd name="f54" fmla="val 3940727"/>
                <a:gd name="f55" fmla="val 6219967"/>
                <a:gd name="f56" fmla="val 3566261"/>
                <a:gd name="f57" fmla="val 3262698"/>
                <a:gd name="f58" fmla="val 5916403"/>
                <a:gd name="f59" fmla="val 5541937"/>
                <a:gd name="f60" fmla="val 5401512"/>
                <a:gd name="f61" fmla="val 3305387"/>
                <a:gd name="f62" fmla="val 5271058"/>
                <a:gd name="f63" fmla="val 3378494"/>
                <a:gd name="f64" fmla="val 5162844"/>
                <a:gd name="f65" fmla="val 3384198"/>
                <a:gd name="f66" fmla="val 5155931"/>
                <a:gd name="f67" fmla="val 2119419"/>
                <a:gd name="f68" fmla="val 3948859"/>
                <a:gd name="f69" fmla="val 2036672"/>
                <a:gd name="f70" fmla="val 3993772"/>
                <a:gd name="f71" fmla="val 1961870"/>
                <a:gd name="f72" fmla="val 4025410"/>
                <a:gd name="f73" fmla="val 1879630"/>
                <a:gd name="f74" fmla="val 4042906"/>
                <a:gd name="f75" fmla="val 1793305"/>
                <a:gd name="f76" fmla="val 1448001"/>
                <a:gd name="f77" fmla="val 1168077"/>
                <a:gd name="f78" fmla="val 3762982"/>
                <a:gd name="f79" fmla="val 1168076"/>
                <a:gd name="f80" fmla="val 3072374"/>
                <a:gd name="f81" fmla="val 1448000"/>
                <a:gd name="f82" fmla="val 2792450"/>
                <a:gd name="f83" fmla="val 1793304"/>
                <a:gd name="f84" fmla="val 2792451"/>
                <a:gd name="f85" fmla="val 1965957"/>
                <a:gd name="f86" fmla="val 2122264"/>
                <a:gd name="f87" fmla="val 2862431"/>
                <a:gd name="f88" fmla="val 2235408"/>
                <a:gd name="f89" fmla="val 2975575"/>
                <a:gd name="f90" fmla="val 2241113"/>
                <a:gd name="f91" fmla="val 2982489"/>
                <a:gd name="f92" fmla="val 3433657"/>
                <a:gd name="f93" fmla="val 2275919"/>
                <a:gd name="f94" fmla="val 3422279"/>
                <a:gd name="f95" fmla="val 2262129"/>
                <a:gd name="f96" fmla="val 3354864"/>
                <a:gd name="f97" fmla="val 2162342"/>
                <a:gd name="f98" fmla="val 3315500"/>
                <a:gd name="f99" fmla="val 2042047"/>
                <a:gd name="f100" fmla="val 1912558"/>
                <a:gd name="f101" fmla="val 1567254"/>
                <a:gd name="f102" fmla="val 3595424"/>
                <a:gd name="f103" fmla="val 1287330"/>
                <a:gd name="f104" fmla="val 3940728"/>
                <a:gd name="f105" fmla="val 4286032"/>
                <a:gd name="f106" fmla="val 4565956"/>
                <a:gd name="f107" fmla="val 4526592"/>
                <a:gd name="f108" fmla="val 4459177"/>
                <a:gd name="f109" fmla="val 4442548"/>
                <a:gd name="f110" fmla="val 2282283"/>
                <a:gd name="f111" fmla="val 5549310"/>
                <a:gd name="f112" fmla="val 3001346"/>
                <a:gd name="f113" fmla="val 5566644"/>
                <a:gd name="f114" fmla="val 2980338"/>
                <a:gd name="f115" fmla="val 5679788"/>
                <a:gd name="f116" fmla="val 2867194"/>
                <a:gd name="f117" fmla="val 5836095"/>
                <a:gd name="f118" fmla="val 2797213"/>
                <a:gd name="f119" fmla="val 6008747"/>
                <a:gd name="f120" fmla="val 6354050"/>
                <a:gd name="f121" fmla="val 6633975"/>
                <a:gd name="f122" fmla="val 3077137"/>
                <a:gd name="f123" fmla="val 6633974"/>
                <a:gd name="f124" fmla="val 3767745"/>
                <a:gd name="f125" fmla="val 4047669"/>
                <a:gd name="f126" fmla="val 4047670"/>
                <a:gd name="f127" fmla="val 5879257"/>
                <a:gd name="f128" fmla="val 5758963"/>
                <a:gd name="f129" fmla="val 4008305"/>
                <a:gd name="f130" fmla="val 5659175"/>
                <a:gd name="f131" fmla="val 3940890"/>
                <a:gd name="f132" fmla="val 5615689"/>
                <a:gd name="f133" fmla="val 3905011"/>
                <a:gd name="f134" fmla="val 4536367"/>
                <a:gd name="f135" fmla="val 5224392"/>
                <a:gd name="f136" fmla="val 4565475"/>
                <a:gd name="f137" fmla="val 5278017"/>
                <a:gd name="f138" fmla="val 4599785"/>
                <a:gd name="f139" fmla="val 5359135"/>
                <a:gd name="f140" fmla="val 4618758"/>
                <a:gd name="f141" fmla="val 5448320"/>
                <a:gd name="f142" fmla="val 4315194"/>
                <a:gd name="f143" fmla="val 3898615"/>
                <a:gd name="f144" fmla="val 7797230"/>
                <a:gd name="f145" fmla="val 3181174"/>
                <a:gd name="f146" fmla="val 3903436"/>
                <a:gd name="f147" fmla="val 4821"/>
                <a:gd name="f148" fmla="+- 0 0 -90"/>
                <a:gd name="f149" fmla="*/ f3 1 7802051"/>
                <a:gd name="f150" fmla="*/ f4 1 7751588"/>
                <a:gd name="f151" fmla="val f5"/>
                <a:gd name="f152" fmla="val f6"/>
                <a:gd name="f153" fmla="val f7"/>
                <a:gd name="f154" fmla="*/ f148 f0 1"/>
                <a:gd name="f155" fmla="+- f153 0 f151"/>
                <a:gd name="f156" fmla="+- f152 0 f151"/>
                <a:gd name="f157" fmla="*/ f154 1 f2"/>
                <a:gd name="f158" fmla="*/ f156 1 7802051"/>
                <a:gd name="f159" fmla="*/ f155 1 7751588"/>
                <a:gd name="f160" fmla="*/ 3669750 f156 1"/>
                <a:gd name="f161" fmla="*/ 4921020 f155 1"/>
                <a:gd name="f162" fmla="*/ 3676808 f156 1"/>
                <a:gd name="f163" fmla="*/ 4917189 f155 1"/>
                <a:gd name="f164" fmla="*/ 3726054 f156 1"/>
                <a:gd name="f165" fmla="*/ 4901903 f155 1"/>
                <a:gd name="f166" fmla="*/ 2529358 f155 1"/>
                <a:gd name="f167" fmla="*/ 2407723 f156 1"/>
                <a:gd name="f168" fmla="*/ 3310455 f155 1"/>
                <a:gd name="f169" fmla="*/ 2418532 f156 1"/>
                <a:gd name="f170" fmla="*/ 3417678 f155 1"/>
                <a:gd name="f171" fmla="*/ 2369399 f156 1"/>
                <a:gd name="f172" fmla="*/ 3661045 f155 1"/>
                <a:gd name="f173" fmla="*/ 2362622 f156 1"/>
                <a:gd name="f174" fmla="*/ 3673532 f155 1"/>
                <a:gd name="f175" fmla="*/ 4279965 f156 1"/>
                <a:gd name="f176" fmla="*/ 4958071 f155 1"/>
                <a:gd name="f177" fmla="*/ 5406368 f156 1"/>
                <a:gd name="f178" fmla="*/ 3581135 f155 1"/>
                <a:gd name="f179" fmla="*/ 5396221 f156 1"/>
                <a:gd name="f180" fmla="*/ 3548447 f155 1"/>
                <a:gd name="f181" fmla="*/ 5383519 f156 1"/>
                <a:gd name="f182" fmla="*/ 3422441 f155 1"/>
                <a:gd name="f183" fmla="*/ 5392133 f156 1"/>
                <a:gd name="f184" fmla="*/ 3336986 f155 1"/>
                <a:gd name="f185" fmla="*/ 4117986 f156 1"/>
                <a:gd name="f186" fmla="*/ 2509174 f155 1"/>
                <a:gd name="f187" fmla="*/ 4066733 f156 1"/>
                <a:gd name="f188" fmla="*/ 2525083 f155 1"/>
                <a:gd name="f189" fmla="*/ 4044164 f156 1"/>
                <a:gd name="f190" fmla="*/ 2527359 f155 1"/>
                <a:gd name="f191" fmla="*/ 4874334 f155 1"/>
                <a:gd name="f192" fmla="*/ 4077374 f156 1"/>
                <a:gd name="f193" fmla="*/ 4877682 f155 1"/>
                <a:gd name="f194" fmla="*/ 4204647 f156 1"/>
                <a:gd name="f195" fmla="*/ 4917190 f155 1"/>
                <a:gd name="f196" fmla="*/ 3940727 f156 1"/>
                <a:gd name="f197" fmla="*/ 6219967 f155 1"/>
                <a:gd name="f198" fmla="*/ 3262698 f156 1"/>
                <a:gd name="f199" fmla="*/ 5541937 f155 1"/>
                <a:gd name="f200" fmla="*/ 3378494 f156 1"/>
                <a:gd name="f201" fmla="*/ 5162844 f155 1"/>
                <a:gd name="f202" fmla="*/ 3384198 f156 1"/>
                <a:gd name="f203" fmla="*/ 5155931 f155 1"/>
                <a:gd name="f204" fmla="*/ 2119419 f156 1"/>
                <a:gd name="f205" fmla="*/ 3948859 f155 1"/>
                <a:gd name="f206" fmla="*/ 2036672 f156 1"/>
                <a:gd name="f207" fmla="*/ 3993772 f155 1"/>
                <a:gd name="f208" fmla="*/ 1793305 f156 1"/>
                <a:gd name="f209" fmla="*/ 4042906 f155 1"/>
                <a:gd name="f210" fmla="*/ 1168076 f156 1"/>
                <a:gd name="f211" fmla="*/ 1793304 f156 1"/>
                <a:gd name="f212" fmla="*/ 2792451 f155 1"/>
                <a:gd name="f213" fmla="*/ 2235408 f156 1"/>
                <a:gd name="f214" fmla="*/ 2975575 f155 1"/>
                <a:gd name="f215" fmla="*/ 2241113 f156 1"/>
                <a:gd name="f216" fmla="*/ 2982489 f155 1"/>
                <a:gd name="f217" fmla="*/ 3433657 f156 1"/>
                <a:gd name="f218" fmla="*/ 2275919 f155 1"/>
                <a:gd name="f219" fmla="*/ 3422279 f156 1"/>
                <a:gd name="f220" fmla="*/ 2262129 f155 1"/>
                <a:gd name="f221" fmla="*/ 3315500 f156 1"/>
                <a:gd name="f222" fmla="*/ 1912558 f155 1"/>
                <a:gd name="f223" fmla="*/ 3940728 f156 1"/>
                <a:gd name="f224" fmla="*/ 1287330 f155 1"/>
                <a:gd name="f225" fmla="*/ 4565956 f156 1"/>
                <a:gd name="f226" fmla="*/ 4459177 f156 1"/>
                <a:gd name="f227" fmla="*/ 4442548 f156 1"/>
                <a:gd name="f228" fmla="*/ 2282283 f155 1"/>
                <a:gd name="f229" fmla="*/ 5549310 f156 1"/>
                <a:gd name="f230" fmla="*/ 3001346 f155 1"/>
                <a:gd name="f231" fmla="*/ 5566644 f156 1"/>
                <a:gd name="f232" fmla="*/ 2980338 f155 1"/>
                <a:gd name="f233" fmla="*/ 6008747 f156 1"/>
                <a:gd name="f234" fmla="*/ 2797213 f155 1"/>
                <a:gd name="f235" fmla="*/ 6633974 f156 1"/>
                <a:gd name="f236" fmla="*/ 4047670 f155 1"/>
                <a:gd name="f237" fmla="*/ 5659175 f156 1"/>
                <a:gd name="f238" fmla="*/ 3940890 f155 1"/>
                <a:gd name="f239" fmla="*/ 5615689 f156 1"/>
                <a:gd name="f240" fmla="*/ 3905011 f155 1"/>
                <a:gd name="f241" fmla="*/ 4536367 f156 1"/>
                <a:gd name="f242" fmla="*/ 5224392 f155 1"/>
                <a:gd name="f243" fmla="*/ 4565475 f156 1"/>
                <a:gd name="f244" fmla="*/ 5278017 f155 1"/>
                <a:gd name="f245" fmla="*/ 4618758 f156 1"/>
                <a:gd name="f246" fmla="*/ 3898615 f156 1"/>
                <a:gd name="f247" fmla="*/ 7751588 f155 1"/>
                <a:gd name="f248" fmla="*/ 7797230 f156 1"/>
                <a:gd name="f249" fmla="*/ 3181174 f155 1"/>
                <a:gd name="f250" fmla="*/ 7802051 f156 1"/>
                <a:gd name="f251" fmla="*/ 3903436 f156 1"/>
                <a:gd name="f252" fmla="*/ 0 f155 1"/>
                <a:gd name="f253" fmla="*/ 4821 f156 1"/>
                <a:gd name="f254" fmla="*/ 0 f156 1"/>
                <a:gd name="f255" fmla="+- f157 0 f1"/>
                <a:gd name="f256" fmla="*/ f160 1 7802051"/>
                <a:gd name="f257" fmla="*/ f161 1 7751588"/>
                <a:gd name="f258" fmla="*/ f162 1 7802051"/>
                <a:gd name="f259" fmla="*/ f163 1 7751588"/>
                <a:gd name="f260" fmla="*/ f164 1 7802051"/>
                <a:gd name="f261" fmla="*/ f165 1 7751588"/>
                <a:gd name="f262" fmla="*/ f166 1 7751588"/>
                <a:gd name="f263" fmla="*/ f167 1 7802051"/>
                <a:gd name="f264" fmla="*/ f168 1 7751588"/>
                <a:gd name="f265" fmla="*/ f169 1 7802051"/>
                <a:gd name="f266" fmla="*/ f170 1 7751588"/>
                <a:gd name="f267" fmla="*/ f171 1 7802051"/>
                <a:gd name="f268" fmla="*/ f172 1 7751588"/>
                <a:gd name="f269" fmla="*/ f173 1 7802051"/>
                <a:gd name="f270" fmla="*/ f174 1 7751588"/>
                <a:gd name="f271" fmla="*/ f175 1 7802051"/>
                <a:gd name="f272" fmla="*/ f176 1 7751588"/>
                <a:gd name="f273" fmla="*/ f177 1 7802051"/>
                <a:gd name="f274" fmla="*/ f178 1 7751588"/>
                <a:gd name="f275" fmla="*/ f179 1 7802051"/>
                <a:gd name="f276" fmla="*/ f180 1 7751588"/>
                <a:gd name="f277" fmla="*/ f181 1 7802051"/>
                <a:gd name="f278" fmla="*/ f182 1 7751588"/>
                <a:gd name="f279" fmla="*/ f183 1 7802051"/>
                <a:gd name="f280" fmla="*/ f184 1 7751588"/>
                <a:gd name="f281" fmla="*/ f185 1 7802051"/>
                <a:gd name="f282" fmla="*/ f186 1 7751588"/>
                <a:gd name="f283" fmla="*/ f187 1 7802051"/>
                <a:gd name="f284" fmla="*/ f188 1 7751588"/>
                <a:gd name="f285" fmla="*/ f189 1 7802051"/>
                <a:gd name="f286" fmla="*/ f190 1 7751588"/>
                <a:gd name="f287" fmla="*/ f191 1 7751588"/>
                <a:gd name="f288" fmla="*/ f192 1 7802051"/>
                <a:gd name="f289" fmla="*/ f193 1 7751588"/>
                <a:gd name="f290" fmla="*/ f194 1 7802051"/>
                <a:gd name="f291" fmla="*/ f195 1 7751588"/>
                <a:gd name="f292" fmla="*/ f196 1 7802051"/>
                <a:gd name="f293" fmla="*/ f197 1 7751588"/>
                <a:gd name="f294" fmla="*/ f198 1 7802051"/>
                <a:gd name="f295" fmla="*/ f199 1 7751588"/>
                <a:gd name="f296" fmla="*/ f200 1 7802051"/>
                <a:gd name="f297" fmla="*/ f201 1 7751588"/>
                <a:gd name="f298" fmla="*/ f202 1 7802051"/>
                <a:gd name="f299" fmla="*/ f203 1 7751588"/>
                <a:gd name="f300" fmla="*/ f204 1 7802051"/>
                <a:gd name="f301" fmla="*/ f205 1 7751588"/>
                <a:gd name="f302" fmla="*/ f206 1 7802051"/>
                <a:gd name="f303" fmla="*/ f207 1 7751588"/>
                <a:gd name="f304" fmla="*/ f208 1 7802051"/>
                <a:gd name="f305" fmla="*/ f209 1 7751588"/>
                <a:gd name="f306" fmla="*/ f210 1 7802051"/>
                <a:gd name="f307" fmla="*/ f211 1 7802051"/>
                <a:gd name="f308" fmla="*/ f212 1 7751588"/>
                <a:gd name="f309" fmla="*/ f213 1 7802051"/>
                <a:gd name="f310" fmla="*/ f214 1 7751588"/>
                <a:gd name="f311" fmla="*/ f215 1 7802051"/>
                <a:gd name="f312" fmla="*/ f216 1 7751588"/>
                <a:gd name="f313" fmla="*/ f217 1 7802051"/>
                <a:gd name="f314" fmla="*/ f218 1 7751588"/>
                <a:gd name="f315" fmla="*/ f219 1 7802051"/>
                <a:gd name="f316" fmla="*/ f220 1 7751588"/>
                <a:gd name="f317" fmla="*/ f221 1 7802051"/>
                <a:gd name="f318" fmla="*/ f222 1 7751588"/>
                <a:gd name="f319" fmla="*/ f223 1 7802051"/>
                <a:gd name="f320" fmla="*/ f224 1 7751588"/>
                <a:gd name="f321" fmla="*/ f225 1 7802051"/>
                <a:gd name="f322" fmla="*/ f226 1 7802051"/>
                <a:gd name="f323" fmla="*/ f227 1 7802051"/>
                <a:gd name="f324" fmla="*/ f228 1 7751588"/>
                <a:gd name="f325" fmla="*/ f229 1 7802051"/>
                <a:gd name="f326" fmla="*/ f230 1 7751588"/>
                <a:gd name="f327" fmla="*/ f231 1 7802051"/>
                <a:gd name="f328" fmla="*/ f232 1 7751588"/>
                <a:gd name="f329" fmla="*/ f233 1 7802051"/>
                <a:gd name="f330" fmla="*/ f234 1 7751588"/>
                <a:gd name="f331" fmla="*/ f235 1 7802051"/>
                <a:gd name="f332" fmla="*/ f236 1 7751588"/>
                <a:gd name="f333" fmla="*/ f237 1 7802051"/>
                <a:gd name="f334" fmla="*/ f238 1 7751588"/>
                <a:gd name="f335" fmla="*/ f239 1 7802051"/>
                <a:gd name="f336" fmla="*/ f240 1 7751588"/>
                <a:gd name="f337" fmla="*/ f241 1 7802051"/>
                <a:gd name="f338" fmla="*/ f242 1 7751588"/>
                <a:gd name="f339" fmla="*/ f243 1 7802051"/>
                <a:gd name="f340" fmla="*/ f244 1 7751588"/>
                <a:gd name="f341" fmla="*/ f245 1 7802051"/>
                <a:gd name="f342" fmla="*/ f246 1 7802051"/>
                <a:gd name="f343" fmla="*/ f247 1 7751588"/>
                <a:gd name="f344" fmla="*/ f248 1 7802051"/>
                <a:gd name="f345" fmla="*/ f249 1 7751588"/>
                <a:gd name="f346" fmla="*/ f250 1 7802051"/>
                <a:gd name="f347" fmla="*/ f251 1 7802051"/>
                <a:gd name="f348" fmla="*/ f252 1 7751588"/>
                <a:gd name="f349" fmla="*/ f253 1 7802051"/>
                <a:gd name="f350" fmla="*/ f254 1 7802051"/>
                <a:gd name="f351" fmla="*/ f151 1 f158"/>
                <a:gd name="f352" fmla="*/ f152 1 f158"/>
                <a:gd name="f353" fmla="*/ f151 1 f159"/>
                <a:gd name="f354" fmla="*/ f153 1 f159"/>
                <a:gd name="f355" fmla="*/ f256 1 f158"/>
                <a:gd name="f356" fmla="*/ f257 1 f159"/>
                <a:gd name="f357" fmla="*/ f258 1 f158"/>
                <a:gd name="f358" fmla="*/ f259 1 f159"/>
                <a:gd name="f359" fmla="*/ f260 1 f158"/>
                <a:gd name="f360" fmla="*/ f261 1 f159"/>
                <a:gd name="f361" fmla="*/ f262 1 f159"/>
                <a:gd name="f362" fmla="*/ f263 1 f158"/>
                <a:gd name="f363" fmla="*/ f264 1 f159"/>
                <a:gd name="f364" fmla="*/ f265 1 f158"/>
                <a:gd name="f365" fmla="*/ f266 1 f159"/>
                <a:gd name="f366" fmla="*/ f267 1 f158"/>
                <a:gd name="f367" fmla="*/ f268 1 f159"/>
                <a:gd name="f368" fmla="*/ f269 1 f158"/>
                <a:gd name="f369" fmla="*/ f270 1 f159"/>
                <a:gd name="f370" fmla="*/ f271 1 f158"/>
                <a:gd name="f371" fmla="*/ f272 1 f159"/>
                <a:gd name="f372" fmla="*/ f273 1 f158"/>
                <a:gd name="f373" fmla="*/ f274 1 f159"/>
                <a:gd name="f374" fmla="*/ f275 1 f158"/>
                <a:gd name="f375" fmla="*/ f276 1 f159"/>
                <a:gd name="f376" fmla="*/ f277 1 f158"/>
                <a:gd name="f377" fmla="*/ f278 1 f159"/>
                <a:gd name="f378" fmla="*/ f279 1 f158"/>
                <a:gd name="f379" fmla="*/ f280 1 f159"/>
                <a:gd name="f380" fmla="*/ f281 1 f158"/>
                <a:gd name="f381" fmla="*/ f282 1 f159"/>
                <a:gd name="f382" fmla="*/ f283 1 f158"/>
                <a:gd name="f383" fmla="*/ f284 1 f159"/>
                <a:gd name="f384" fmla="*/ f285 1 f158"/>
                <a:gd name="f385" fmla="*/ f286 1 f159"/>
                <a:gd name="f386" fmla="*/ f287 1 f159"/>
                <a:gd name="f387" fmla="*/ f288 1 f158"/>
                <a:gd name="f388" fmla="*/ f289 1 f159"/>
                <a:gd name="f389" fmla="*/ f290 1 f158"/>
                <a:gd name="f390" fmla="*/ f291 1 f159"/>
                <a:gd name="f391" fmla="*/ f292 1 f158"/>
                <a:gd name="f392" fmla="*/ f293 1 f159"/>
                <a:gd name="f393" fmla="*/ f294 1 f158"/>
                <a:gd name="f394" fmla="*/ f295 1 f159"/>
                <a:gd name="f395" fmla="*/ f296 1 f158"/>
                <a:gd name="f396" fmla="*/ f297 1 f159"/>
                <a:gd name="f397" fmla="*/ f298 1 f158"/>
                <a:gd name="f398" fmla="*/ f299 1 f159"/>
                <a:gd name="f399" fmla="*/ f300 1 f158"/>
                <a:gd name="f400" fmla="*/ f301 1 f159"/>
                <a:gd name="f401" fmla="*/ f302 1 f158"/>
                <a:gd name="f402" fmla="*/ f303 1 f159"/>
                <a:gd name="f403" fmla="*/ f304 1 f158"/>
                <a:gd name="f404" fmla="*/ f305 1 f159"/>
                <a:gd name="f405" fmla="*/ f306 1 f158"/>
                <a:gd name="f406" fmla="*/ f307 1 f158"/>
                <a:gd name="f407" fmla="*/ f308 1 f159"/>
                <a:gd name="f408" fmla="*/ f309 1 f158"/>
                <a:gd name="f409" fmla="*/ f310 1 f159"/>
                <a:gd name="f410" fmla="*/ f311 1 f158"/>
                <a:gd name="f411" fmla="*/ f312 1 f159"/>
                <a:gd name="f412" fmla="*/ f313 1 f158"/>
                <a:gd name="f413" fmla="*/ f314 1 f159"/>
                <a:gd name="f414" fmla="*/ f315 1 f158"/>
                <a:gd name="f415" fmla="*/ f316 1 f159"/>
                <a:gd name="f416" fmla="*/ f317 1 f158"/>
                <a:gd name="f417" fmla="*/ f318 1 f159"/>
                <a:gd name="f418" fmla="*/ f319 1 f158"/>
                <a:gd name="f419" fmla="*/ f320 1 f159"/>
                <a:gd name="f420" fmla="*/ f321 1 f158"/>
                <a:gd name="f421" fmla="*/ f322 1 f158"/>
                <a:gd name="f422" fmla="*/ f323 1 f158"/>
                <a:gd name="f423" fmla="*/ f324 1 f159"/>
                <a:gd name="f424" fmla="*/ f325 1 f158"/>
                <a:gd name="f425" fmla="*/ f326 1 f159"/>
                <a:gd name="f426" fmla="*/ f327 1 f158"/>
                <a:gd name="f427" fmla="*/ f328 1 f159"/>
                <a:gd name="f428" fmla="*/ f329 1 f158"/>
                <a:gd name="f429" fmla="*/ f330 1 f159"/>
                <a:gd name="f430" fmla="*/ f331 1 f158"/>
                <a:gd name="f431" fmla="*/ f332 1 f159"/>
                <a:gd name="f432" fmla="*/ f333 1 f158"/>
                <a:gd name="f433" fmla="*/ f334 1 f159"/>
                <a:gd name="f434" fmla="*/ f335 1 f158"/>
                <a:gd name="f435" fmla="*/ f336 1 f159"/>
                <a:gd name="f436" fmla="*/ f337 1 f158"/>
                <a:gd name="f437" fmla="*/ f338 1 f159"/>
                <a:gd name="f438" fmla="*/ f339 1 f158"/>
                <a:gd name="f439" fmla="*/ f340 1 f159"/>
                <a:gd name="f440" fmla="*/ f341 1 f158"/>
                <a:gd name="f441" fmla="*/ f342 1 f158"/>
                <a:gd name="f442" fmla="*/ f343 1 f159"/>
                <a:gd name="f443" fmla="*/ f344 1 f158"/>
                <a:gd name="f444" fmla="*/ f345 1 f159"/>
                <a:gd name="f445" fmla="*/ f346 1 f158"/>
                <a:gd name="f446" fmla="*/ f347 1 f158"/>
                <a:gd name="f447" fmla="*/ f348 1 f159"/>
                <a:gd name="f448" fmla="*/ f349 1 f158"/>
                <a:gd name="f449" fmla="*/ f350 1 f158"/>
                <a:gd name="f450" fmla="*/ f351 f149 1"/>
                <a:gd name="f451" fmla="*/ f352 f149 1"/>
                <a:gd name="f452" fmla="*/ f354 f150 1"/>
                <a:gd name="f453" fmla="*/ f353 f150 1"/>
                <a:gd name="f454" fmla="*/ f355 f149 1"/>
                <a:gd name="f455" fmla="*/ f356 f150 1"/>
                <a:gd name="f456" fmla="*/ f357 f149 1"/>
                <a:gd name="f457" fmla="*/ f358 f150 1"/>
                <a:gd name="f458" fmla="*/ f359 f149 1"/>
                <a:gd name="f459" fmla="*/ f360 f150 1"/>
                <a:gd name="f460" fmla="*/ f361 f150 1"/>
                <a:gd name="f461" fmla="*/ f362 f149 1"/>
                <a:gd name="f462" fmla="*/ f363 f150 1"/>
                <a:gd name="f463" fmla="*/ f364 f149 1"/>
                <a:gd name="f464" fmla="*/ f365 f150 1"/>
                <a:gd name="f465" fmla="*/ f366 f149 1"/>
                <a:gd name="f466" fmla="*/ f367 f150 1"/>
                <a:gd name="f467" fmla="*/ f368 f149 1"/>
                <a:gd name="f468" fmla="*/ f369 f150 1"/>
                <a:gd name="f469" fmla="*/ f370 f149 1"/>
                <a:gd name="f470" fmla="*/ f371 f150 1"/>
                <a:gd name="f471" fmla="*/ f372 f149 1"/>
                <a:gd name="f472" fmla="*/ f373 f150 1"/>
                <a:gd name="f473" fmla="*/ f374 f149 1"/>
                <a:gd name="f474" fmla="*/ f375 f150 1"/>
                <a:gd name="f475" fmla="*/ f376 f149 1"/>
                <a:gd name="f476" fmla="*/ f377 f150 1"/>
                <a:gd name="f477" fmla="*/ f378 f149 1"/>
                <a:gd name="f478" fmla="*/ f379 f150 1"/>
                <a:gd name="f479" fmla="*/ f380 f149 1"/>
                <a:gd name="f480" fmla="*/ f381 f150 1"/>
                <a:gd name="f481" fmla="*/ f382 f149 1"/>
                <a:gd name="f482" fmla="*/ f383 f150 1"/>
                <a:gd name="f483" fmla="*/ f384 f149 1"/>
                <a:gd name="f484" fmla="*/ f385 f150 1"/>
                <a:gd name="f485" fmla="*/ f386 f150 1"/>
                <a:gd name="f486" fmla="*/ f387 f149 1"/>
                <a:gd name="f487" fmla="*/ f388 f150 1"/>
                <a:gd name="f488" fmla="*/ f389 f149 1"/>
                <a:gd name="f489" fmla="*/ f390 f150 1"/>
                <a:gd name="f490" fmla="*/ f391 f149 1"/>
                <a:gd name="f491" fmla="*/ f392 f150 1"/>
                <a:gd name="f492" fmla="*/ f393 f149 1"/>
                <a:gd name="f493" fmla="*/ f394 f150 1"/>
                <a:gd name="f494" fmla="*/ f395 f149 1"/>
                <a:gd name="f495" fmla="*/ f396 f150 1"/>
                <a:gd name="f496" fmla="*/ f397 f149 1"/>
                <a:gd name="f497" fmla="*/ f398 f150 1"/>
                <a:gd name="f498" fmla="*/ f399 f149 1"/>
                <a:gd name="f499" fmla="*/ f400 f150 1"/>
                <a:gd name="f500" fmla="*/ f401 f149 1"/>
                <a:gd name="f501" fmla="*/ f402 f150 1"/>
                <a:gd name="f502" fmla="*/ f403 f149 1"/>
                <a:gd name="f503" fmla="*/ f404 f150 1"/>
                <a:gd name="f504" fmla="*/ f405 f149 1"/>
                <a:gd name="f505" fmla="*/ f406 f149 1"/>
                <a:gd name="f506" fmla="*/ f407 f150 1"/>
                <a:gd name="f507" fmla="*/ f408 f149 1"/>
                <a:gd name="f508" fmla="*/ f409 f150 1"/>
                <a:gd name="f509" fmla="*/ f410 f149 1"/>
                <a:gd name="f510" fmla="*/ f411 f150 1"/>
                <a:gd name="f511" fmla="*/ f412 f149 1"/>
                <a:gd name="f512" fmla="*/ f413 f150 1"/>
                <a:gd name="f513" fmla="*/ f414 f149 1"/>
                <a:gd name="f514" fmla="*/ f415 f150 1"/>
                <a:gd name="f515" fmla="*/ f416 f149 1"/>
                <a:gd name="f516" fmla="*/ f417 f150 1"/>
                <a:gd name="f517" fmla="*/ f418 f149 1"/>
                <a:gd name="f518" fmla="*/ f419 f150 1"/>
                <a:gd name="f519" fmla="*/ f420 f149 1"/>
                <a:gd name="f520" fmla="*/ f421 f149 1"/>
                <a:gd name="f521" fmla="*/ f422 f149 1"/>
                <a:gd name="f522" fmla="*/ f423 f150 1"/>
                <a:gd name="f523" fmla="*/ f424 f149 1"/>
                <a:gd name="f524" fmla="*/ f425 f150 1"/>
                <a:gd name="f525" fmla="*/ f426 f149 1"/>
                <a:gd name="f526" fmla="*/ f427 f150 1"/>
                <a:gd name="f527" fmla="*/ f428 f149 1"/>
                <a:gd name="f528" fmla="*/ f429 f150 1"/>
                <a:gd name="f529" fmla="*/ f430 f149 1"/>
                <a:gd name="f530" fmla="*/ f431 f150 1"/>
                <a:gd name="f531" fmla="*/ f432 f149 1"/>
                <a:gd name="f532" fmla="*/ f433 f150 1"/>
                <a:gd name="f533" fmla="*/ f434 f149 1"/>
                <a:gd name="f534" fmla="*/ f435 f150 1"/>
                <a:gd name="f535" fmla="*/ f436 f149 1"/>
                <a:gd name="f536" fmla="*/ f437 f150 1"/>
                <a:gd name="f537" fmla="*/ f438 f149 1"/>
                <a:gd name="f538" fmla="*/ f439 f150 1"/>
                <a:gd name="f539" fmla="*/ f440 f149 1"/>
                <a:gd name="f540" fmla="*/ f441 f149 1"/>
                <a:gd name="f541" fmla="*/ f442 f150 1"/>
                <a:gd name="f542" fmla="*/ f443 f149 1"/>
                <a:gd name="f543" fmla="*/ f444 f150 1"/>
                <a:gd name="f544" fmla="*/ f445 f149 1"/>
                <a:gd name="f545" fmla="*/ f446 f149 1"/>
                <a:gd name="f546" fmla="*/ f447 f150 1"/>
                <a:gd name="f547" fmla="*/ f448 f149 1"/>
                <a:gd name="f548" fmla="*/ f449 f149 1"/>
              </a:gdLst>
              <a:ahLst/>
              <a:cxnLst>
                <a:cxn ang="3cd4">
                  <a:pos x="hc" y="t"/>
                </a:cxn>
                <a:cxn ang="0">
                  <a:pos x="r" y="vc"/>
                </a:cxn>
                <a:cxn ang="cd4">
                  <a:pos x="hc" y="b"/>
                </a:cxn>
                <a:cxn ang="cd2">
                  <a:pos x="l" y="vc"/>
                </a:cxn>
                <a:cxn ang="f255">
                  <a:pos x="f454" y="f455"/>
                </a:cxn>
                <a:cxn ang="f255">
                  <a:pos x="f456" y="f457"/>
                </a:cxn>
                <a:cxn ang="f255">
                  <a:pos x="f458" y="f459"/>
                </a:cxn>
                <a:cxn ang="f255">
                  <a:pos x="f458" y="f460"/>
                </a:cxn>
                <a:cxn ang="f255">
                  <a:pos x="f461" y="f462"/>
                </a:cxn>
                <a:cxn ang="f255">
                  <a:pos x="f463" y="f464"/>
                </a:cxn>
                <a:cxn ang="f255">
                  <a:pos x="f465" y="f466"/>
                </a:cxn>
                <a:cxn ang="f255">
                  <a:pos x="f467" y="f468"/>
                </a:cxn>
                <a:cxn ang="f255">
                  <a:pos x="f469" y="f470"/>
                </a:cxn>
                <a:cxn ang="f255">
                  <a:pos x="f471" y="f472"/>
                </a:cxn>
                <a:cxn ang="f255">
                  <a:pos x="f473" y="f474"/>
                </a:cxn>
                <a:cxn ang="f255">
                  <a:pos x="f475" y="f476"/>
                </a:cxn>
                <a:cxn ang="f255">
                  <a:pos x="f477" y="f478"/>
                </a:cxn>
                <a:cxn ang="f255">
                  <a:pos x="f479" y="f480"/>
                </a:cxn>
                <a:cxn ang="f255">
                  <a:pos x="f481" y="f482"/>
                </a:cxn>
                <a:cxn ang="f255">
                  <a:pos x="f483" y="f484"/>
                </a:cxn>
                <a:cxn ang="f255">
                  <a:pos x="f483" y="f485"/>
                </a:cxn>
                <a:cxn ang="f255">
                  <a:pos x="f486" y="f487"/>
                </a:cxn>
                <a:cxn ang="f255">
                  <a:pos x="f488" y="f489"/>
                </a:cxn>
                <a:cxn ang="f255">
                  <a:pos x="f490" y="f491"/>
                </a:cxn>
                <a:cxn ang="f255">
                  <a:pos x="f492" y="f493"/>
                </a:cxn>
                <a:cxn ang="f255">
                  <a:pos x="f494" y="f495"/>
                </a:cxn>
                <a:cxn ang="f255">
                  <a:pos x="f496" y="f497"/>
                </a:cxn>
                <a:cxn ang="f255">
                  <a:pos x="f498" y="f499"/>
                </a:cxn>
                <a:cxn ang="f255">
                  <a:pos x="f500" y="f501"/>
                </a:cxn>
                <a:cxn ang="f255">
                  <a:pos x="f502" y="f503"/>
                </a:cxn>
                <a:cxn ang="f255">
                  <a:pos x="f504" y="f464"/>
                </a:cxn>
                <a:cxn ang="f255">
                  <a:pos x="f505" y="f506"/>
                </a:cxn>
                <a:cxn ang="f255">
                  <a:pos x="f507" y="f508"/>
                </a:cxn>
                <a:cxn ang="f255">
                  <a:pos x="f509" y="f510"/>
                </a:cxn>
                <a:cxn ang="f255">
                  <a:pos x="f511" y="f512"/>
                </a:cxn>
                <a:cxn ang="f255">
                  <a:pos x="f513" y="f514"/>
                </a:cxn>
                <a:cxn ang="f255">
                  <a:pos x="f515" y="f516"/>
                </a:cxn>
                <a:cxn ang="f255">
                  <a:pos x="f517" y="f518"/>
                </a:cxn>
                <a:cxn ang="f255">
                  <a:pos x="f519" y="f516"/>
                </a:cxn>
                <a:cxn ang="f255">
                  <a:pos x="f520" y="f514"/>
                </a:cxn>
                <a:cxn ang="f255">
                  <a:pos x="f521" y="f522"/>
                </a:cxn>
                <a:cxn ang="f255">
                  <a:pos x="f523" y="f524"/>
                </a:cxn>
                <a:cxn ang="f255">
                  <a:pos x="f525" y="f526"/>
                </a:cxn>
                <a:cxn ang="f255">
                  <a:pos x="f527" y="f528"/>
                </a:cxn>
                <a:cxn ang="f255">
                  <a:pos x="f529" y="f476"/>
                </a:cxn>
                <a:cxn ang="f255">
                  <a:pos x="f527" y="f530"/>
                </a:cxn>
                <a:cxn ang="f255">
                  <a:pos x="f531" y="f532"/>
                </a:cxn>
                <a:cxn ang="f255">
                  <a:pos x="f533" y="f534"/>
                </a:cxn>
                <a:cxn ang="f255">
                  <a:pos x="f535" y="f536"/>
                </a:cxn>
                <a:cxn ang="f255">
                  <a:pos x="f537" y="f538"/>
                </a:cxn>
                <a:cxn ang="f255">
                  <a:pos x="f539" y="f493"/>
                </a:cxn>
                <a:cxn ang="f255">
                  <a:pos x="f490" y="f491"/>
                </a:cxn>
                <a:cxn ang="f255">
                  <a:pos x="f540" y="f541"/>
                </a:cxn>
                <a:cxn ang="f255">
                  <a:pos x="f542" y="f543"/>
                </a:cxn>
                <a:cxn ang="f255">
                  <a:pos x="f544" y="f543"/>
                </a:cxn>
                <a:cxn ang="f255">
                  <a:pos x="f545" y="f546"/>
                </a:cxn>
                <a:cxn ang="f255">
                  <a:pos x="f547" y="f543"/>
                </a:cxn>
                <a:cxn ang="f255">
                  <a:pos x="f548" y="f543"/>
                </a:cxn>
              </a:cxnLst>
              <a:rect l="f450" t="f453" r="f451" b="f452"/>
              <a:pathLst>
                <a:path w="7802051" h="7751588">
                  <a:moveTo>
                    <a:pt x="f8" y="f9"/>
                  </a:moveTo>
                  <a:lnTo>
                    <a:pt x="f10" y="f11"/>
                  </a:lnTo>
                  <a:lnTo>
                    <a:pt x="f12" y="f13"/>
                  </a:lnTo>
                  <a:lnTo>
                    <a:pt x="f12" y="f14"/>
                  </a:lnTo>
                  <a:lnTo>
                    <a:pt x="f15" y="f16"/>
                  </a:lnTo>
                  <a:lnTo>
                    <a:pt x="f17" y="f18"/>
                  </a:lnTo>
                  <a:cubicBezTo>
                    <a:pt x="f17" y="f19"/>
                    <a:pt x="f20" y="f21"/>
                    <a:pt x="f22" y="f23"/>
                  </a:cubicBezTo>
                  <a:lnTo>
                    <a:pt x="f24" y="f25"/>
                  </a:lnTo>
                  <a:close/>
                  <a:moveTo>
                    <a:pt x="f26" y="f27"/>
                  </a:moveTo>
                  <a:lnTo>
                    <a:pt x="f28" y="f29"/>
                  </a:lnTo>
                  <a:lnTo>
                    <a:pt x="f30" y="f31"/>
                  </a:lnTo>
                  <a:cubicBezTo>
                    <a:pt x="f32" y="f33"/>
                    <a:pt x="f34" y="f35"/>
                    <a:pt x="f34" y="f36"/>
                  </a:cubicBezTo>
                  <a:lnTo>
                    <a:pt x="f37" y="f38"/>
                  </a:lnTo>
                  <a:lnTo>
                    <a:pt x="f39" y="f40"/>
                  </a:lnTo>
                  <a:lnTo>
                    <a:pt x="f41" y="f42"/>
                  </a:lnTo>
                  <a:lnTo>
                    <a:pt x="f43" y="f44"/>
                  </a:lnTo>
                  <a:lnTo>
                    <a:pt x="f43" y="f45"/>
                  </a:lnTo>
                  <a:lnTo>
                    <a:pt x="f46" y="f47"/>
                  </a:lnTo>
                  <a:cubicBezTo>
                    <a:pt x="f48" y="f49"/>
                    <a:pt x="f50" y="f51"/>
                    <a:pt x="f52" y="f53"/>
                  </a:cubicBezTo>
                  <a:close/>
                  <a:moveTo>
                    <a:pt x="f54" y="f55"/>
                  </a:moveTo>
                  <a:cubicBezTo>
                    <a:pt x="f56" y="f55"/>
                    <a:pt x="f57" y="f58"/>
                    <a:pt x="f57" y="f59"/>
                  </a:cubicBezTo>
                  <a:cubicBezTo>
                    <a:pt x="f57" y="f60"/>
                    <a:pt x="f61" y="f62"/>
                    <a:pt x="f63" y="f64"/>
                  </a:cubicBezTo>
                  <a:lnTo>
                    <a:pt x="f65" y="f66"/>
                  </a:lnTo>
                  <a:lnTo>
                    <a:pt x="f67" y="f68"/>
                  </a:lnTo>
                  <a:lnTo>
                    <a:pt x="f69" y="f70"/>
                  </a:lnTo>
                  <a:cubicBezTo>
                    <a:pt x="f71" y="f72"/>
                    <a:pt x="f73" y="f74"/>
                    <a:pt x="f75" y="f74"/>
                  </a:cubicBezTo>
                  <a:cubicBezTo>
                    <a:pt x="f76" y="f74"/>
                    <a:pt x="f77" y="f78"/>
                    <a:pt x="f79" y="f18"/>
                  </a:cubicBezTo>
                  <a:cubicBezTo>
                    <a:pt x="f77" y="f80"/>
                    <a:pt x="f81" y="f82"/>
                    <a:pt x="f83" y="f84"/>
                  </a:cubicBezTo>
                  <a:cubicBezTo>
                    <a:pt x="f85" y="f82"/>
                    <a:pt x="f86" y="f87"/>
                    <a:pt x="f88" y="f89"/>
                  </a:cubicBezTo>
                  <a:lnTo>
                    <a:pt x="f90" y="f91"/>
                  </a:lnTo>
                  <a:lnTo>
                    <a:pt x="f92" y="f93"/>
                  </a:lnTo>
                  <a:lnTo>
                    <a:pt x="f94" y="f95"/>
                  </a:lnTo>
                  <a:cubicBezTo>
                    <a:pt x="f96" y="f97"/>
                    <a:pt x="f98" y="f99"/>
                    <a:pt x="f98" y="f100"/>
                  </a:cubicBezTo>
                  <a:cubicBezTo>
                    <a:pt x="f98" y="f101"/>
                    <a:pt x="f102" y="f103"/>
                    <a:pt x="f104" y="f103"/>
                  </a:cubicBezTo>
                  <a:cubicBezTo>
                    <a:pt x="f105" y="f103"/>
                    <a:pt x="f106" y="f101"/>
                    <a:pt x="f106" y="f100"/>
                  </a:cubicBezTo>
                  <a:cubicBezTo>
                    <a:pt x="f106" y="f99"/>
                    <a:pt x="f107" y="f97"/>
                    <a:pt x="f108" y="f95"/>
                  </a:cubicBezTo>
                  <a:lnTo>
                    <a:pt x="f109" y="f110"/>
                  </a:lnTo>
                  <a:lnTo>
                    <a:pt x="f111" y="f112"/>
                  </a:lnTo>
                  <a:lnTo>
                    <a:pt x="f113" y="f114"/>
                  </a:lnTo>
                  <a:cubicBezTo>
                    <a:pt x="f115" y="f116"/>
                    <a:pt x="f117" y="f118"/>
                    <a:pt x="f119" y="f118"/>
                  </a:cubicBezTo>
                  <a:cubicBezTo>
                    <a:pt x="f120" y="f118"/>
                    <a:pt x="f121" y="f122"/>
                    <a:pt x="f123" y="f36"/>
                  </a:cubicBezTo>
                  <a:cubicBezTo>
                    <a:pt x="f121" y="f124"/>
                    <a:pt x="f120" y="f125"/>
                    <a:pt x="f119" y="f126"/>
                  </a:cubicBezTo>
                  <a:cubicBezTo>
                    <a:pt x="f127" y="f125"/>
                    <a:pt x="f128" y="f129"/>
                    <a:pt x="f130" y="f131"/>
                  </a:cubicBezTo>
                  <a:lnTo>
                    <a:pt x="f132" y="f133"/>
                  </a:lnTo>
                  <a:lnTo>
                    <a:pt x="f134" y="f135"/>
                  </a:lnTo>
                  <a:lnTo>
                    <a:pt x="f136" y="f137"/>
                  </a:lnTo>
                  <a:cubicBezTo>
                    <a:pt x="f138" y="f139"/>
                    <a:pt x="f140" y="f141"/>
                    <a:pt x="f140" y="f59"/>
                  </a:cubicBezTo>
                  <a:cubicBezTo>
                    <a:pt x="f140" y="f58"/>
                    <a:pt x="f142" y="f55"/>
                    <a:pt x="f54" y="f55"/>
                  </a:cubicBezTo>
                  <a:close/>
                  <a:moveTo>
                    <a:pt x="f143" y="f7"/>
                  </a:moveTo>
                  <a:lnTo>
                    <a:pt x="f144" y="f145"/>
                  </a:lnTo>
                  <a:lnTo>
                    <a:pt x="f6" y="f145"/>
                  </a:lnTo>
                  <a:lnTo>
                    <a:pt x="f146" y="f5"/>
                  </a:lnTo>
                  <a:lnTo>
                    <a:pt x="f147" y="f145"/>
                  </a:lnTo>
                  <a:lnTo>
                    <a:pt x="f5" y="f145"/>
                  </a:lnTo>
                  <a:close/>
                </a:path>
              </a:pathLst>
            </a:custGeom>
            <a:solidFill>
              <a:srgbClr val="0078D7">
                <a:alpha val="95000"/>
              </a:srgbClr>
            </a:solidFill>
            <a:ln cap="flat">
              <a:noFill/>
              <a:prstDash val="solid"/>
            </a:ln>
          </p:spPr>
          <p:txBody>
            <a:bodyPr vert="horz" wrap="square" lIns="131801" tIns="105441" rIns="131801" bIns="105441" anchor="t" anchorCtr="1" compatLnSpc="1">
              <a:noAutofit/>
            </a:bodyPr>
            <a:lstStyle/>
            <a:p>
              <a:pPr marL="0" marR="0" lvl="0" indent="0" algn="ctr" defTabSz="671939" rtl="0" eaLnBrk="0" fontAlgn="base" latinLnBrk="0" hangingPunct="0">
                <a:lnSpc>
                  <a:spcPct val="90000"/>
                </a:lnSpc>
                <a:spcBef>
                  <a:spcPct val="0"/>
                </a:spcBef>
                <a:spcAft>
                  <a:spcPct val="0"/>
                </a:spcAft>
                <a:buClrTx/>
                <a:buSzTx/>
                <a:buFontTx/>
                <a:buNone/>
                <a:tabLst/>
                <a:defRPr sz="1800" b="0" i="0" u="none" strike="noStrike" kern="0" cap="none" spc="0" baseline="0">
                  <a:solidFill>
                    <a:srgbClr val="000000"/>
                  </a:solidFill>
                  <a:uFillTx/>
                </a:defRPr>
              </a:pPr>
              <a:endParaRPr kumimoji="0" lang="en-US" sz="1730" b="0" i="0" u="none" strike="noStrike" kern="0" cap="none" spc="0" normalizeH="0" baseline="0" noProof="0">
                <a:ln>
                  <a:noFill/>
                </a:ln>
                <a:solidFill>
                  <a:srgbClr val="000000"/>
                </a:solidFill>
                <a:effectLst/>
                <a:uLnTx/>
                <a:uFillTx/>
                <a:latin typeface="Segoe UI"/>
                <a:ea typeface="Segoe UI" pitchFamily="34"/>
                <a:cs typeface="Segoe UI" pitchFamily="34"/>
              </a:endParaRPr>
            </a:p>
          </p:txBody>
        </p:sp>
      </p:grpSp>
      <p:sp>
        <p:nvSpPr>
          <p:cNvPr id="264" name="Rectangle 263">
            <a:extLst>
              <a:ext uri="{FF2B5EF4-FFF2-40B4-BE49-F238E27FC236}">
                <a16:creationId xmlns:a16="http://schemas.microsoft.com/office/drawing/2014/main" id="{D07D0E77-698A-42AC-B602-B436FFC1D592}"/>
              </a:ext>
            </a:extLst>
          </p:cNvPr>
          <p:cNvSpPr/>
          <p:nvPr/>
        </p:nvSpPr>
        <p:spPr>
          <a:xfrm>
            <a:off x="6585444" y="2269326"/>
            <a:ext cx="1469071" cy="466281"/>
          </a:xfrm>
          <a:prstGeom prst="rect">
            <a:avLst/>
          </a:prstGeom>
        </p:spPr>
        <p:txBody>
          <a:bodyPr wrap="square">
            <a:spAutoFit/>
          </a:bodyPr>
          <a:lstStyle/>
          <a:p>
            <a:pPr marL="0" marR="0" lvl="0" indent="0" algn="ctr" defTabSz="672137" rtl="0" eaLnBrk="0" fontAlgn="base" latinLnBrk="0" hangingPunct="0">
              <a:lnSpc>
                <a:spcPct val="90000"/>
              </a:lnSpc>
              <a:spcBef>
                <a:spcPct val="0"/>
              </a:spcBef>
              <a:spcAft>
                <a:spcPct val="0"/>
              </a:spcAft>
              <a:buClrTx/>
              <a:buSzTx/>
              <a:buFontTx/>
              <a:buNone/>
              <a:tabLst/>
              <a:defRPr sz="1800" b="0" i="0" u="none" strike="noStrike" kern="0" cap="none" spc="0" baseline="0">
                <a:solidFill>
                  <a:srgbClr val="000000"/>
                </a:solidFill>
                <a:uFillTx/>
              </a:defRPr>
            </a:pPr>
            <a:r>
              <a:rPr kumimoji="0" lang="en-US" sz="1350" b="0" i="0" u="none" strike="noStrike" kern="0" cap="none" spc="0" normalizeH="0" baseline="0" noProof="0">
                <a:ln>
                  <a:noFill/>
                </a:ln>
                <a:solidFill>
                  <a:srgbClr val="000000"/>
                </a:solidFill>
                <a:effectLst/>
                <a:uLnTx/>
                <a:uFillTx/>
                <a:latin typeface="Segoe UI"/>
                <a:ea typeface="+mn-ea"/>
                <a:cs typeface="+mn-cs"/>
              </a:rPr>
              <a:t>Microsoft Azure </a:t>
            </a:r>
          </a:p>
          <a:p>
            <a:pPr marL="0" marR="0" lvl="0" indent="0" algn="ctr" defTabSz="672137" rtl="0" eaLnBrk="0" fontAlgn="base" latinLnBrk="0" hangingPunct="0">
              <a:lnSpc>
                <a:spcPct val="90000"/>
              </a:lnSpc>
              <a:spcBef>
                <a:spcPct val="0"/>
              </a:spcBef>
              <a:spcAft>
                <a:spcPct val="0"/>
              </a:spcAft>
              <a:buClrTx/>
              <a:buSzTx/>
              <a:buFontTx/>
              <a:buNone/>
              <a:tabLst/>
              <a:defRPr sz="1800" b="0" i="0" u="none" strike="noStrike" kern="0" cap="none" spc="0" baseline="0">
                <a:solidFill>
                  <a:srgbClr val="000000"/>
                </a:solidFill>
                <a:uFillTx/>
              </a:defRPr>
            </a:pPr>
            <a:r>
              <a:rPr kumimoji="0" lang="en-US" sz="1350" b="0" i="0" u="none" strike="noStrike" kern="0" cap="none" spc="0" normalizeH="0" baseline="0" noProof="0">
                <a:ln>
                  <a:noFill/>
                </a:ln>
                <a:solidFill>
                  <a:srgbClr val="000000"/>
                </a:solidFill>
                <a:effectLst/>
                <a:uLnTx/>
                <a:uFillTx/>
                <a:latin typeface="Segoe UI"/>
                <a:ea typeface="+mn-ea"/>
                <a:cs typeface="+mn-cs"/>
              </a:rPr>
              <a:t>Active Directory</a:t>
            </a:r>
          </a:p>
        </p:txBody>
      </p:sp>
      <p:sp>
        <p:nvSpPr>
          <p:cNvPr id="4" name="Text Placeholder 3">
            <a:extLst>
              <a:ext uri="{FF2B5EF4-FFF2-40B4-BE49-F238E27FC236}">
                <a16:creationId xmlns:a16="http://schemas.microsoft.com/office/drawing/2014/main" id="{5ABE4771-3B8A-4445-A07F-421BEC8BE459}"/>
              </a:ext>
            </a:extLst>
          </p:cNvPr>
          <p:cNvSpPr>
            <a:spLocks noGrp="1"/>
          </p:cNvSpPr>
          <p:nvPr>
            <p:ph type="body" sz="quarter" idx="10"/>
          </p:nvPr>
        </p:nvSpPr>
        <p:spPr>
          <a:xfrm>
            <a:off x="262976" y="1055207"/>
            <a:ext cx="3607377" cy="3541125"/>
          </a:xfrm>
        </p:spPr>
        <p:txBody>
          <a:bodyPr/>
          <a:lstStyle/>
          <a:p>
            <a:pPr>
              <a:spcAft>
                <a:spcPts val="1324"/>
              </a:spcAft>
            </a:pPr>
            <a:r>
              <a:rPr lang="en-US" dirty="0">
                <a:latin typeface="+mn-lt"/>
              </a:rPr>
              <a:t>Single sign on to any app anywhere </a:t>
            </a:r>
          </a:p>
          <a:p>
            <a:pPr>
              <a:spcAft>
                <a:spcPts val="1324"/>
              </a:spcAft>
            </a:pPr>
            <a:r>
              <a:rPr lang="en-US" dirty="0">
                <a:latin typeface="+mn-lt"/>
              </a:rPr>
              <a:t>Secure user credentials</a:t>
            </a:r>
          </a:p>
          <a:p>
            <a:pPr>
              <a:spcAft>
                <a:spcPts val="1324"/>
              </a:spcAft>
            </a:pPr>
            <a:r>
              <a:rPr lang="en-US" dirty="0">
                <a:latin typeface="+mn-lt"/>
              </a:rPr>
              <a:t>Multi-factor Authentication</a:t>
            </a:r>
          </a:p>
          <a:p>
            <a:pPr>
              <a:spcAft>
                <a:spcPts val="1324"/>
              </a:spcAft>
            </a:pPr>
            <a:r>
              <a:rPr lang="en-US" dirty="0">
                <a:latin typeface="+mn-lt"/>
              </a:rPr>
              <a:t>Conditional Access</a:t>
            </a:r>
          </a:p>
        </p:txBody>
      </p:sp>
      <p:sp>
        <p:nvSpPr>
          <p:cNvPr id="265" name="Title 264">
            <a:extLst>
              <a:ext uri="{FF2B5EF4-FFF2-40B4-BE49-F238E27FC236}">
                <a16:creationId xmlns:a16="http://schemas.microsoft.com/office/drawing/2014/main" id="{71A621F7-1603-47DD-9B5E-958361726295}"/>
              </a:ext>
            </a:extLst>
          </p:cNvPr>
          <p:cNvSpPr>
            <a:spLocks noGrp="1"/>
          </p:cNvSpPr>
          <p:nvPr>
            <p:ph type="title"/>
          </p:nvPr>
        </p:nvSpPr>
        <p:spPr>
          <a:xfrm>
            <a:off x="457200" y="228600"/>
            <a:ext cx="8229600" cy="571500"/>
          </a:xfrm>
        </p:spPr>
        <p:txBody>
          <a:bodyPr/>
          <a:lstStyle/>
          <a:p>
            <a:pPr algn="l"/>
            <a:r>
              <a:rPr lang="en-US" dirty="0"/>
              <a:t>One identity and access management</a:t>
            </a:r>
          </a:p>
        </p:txBody>
      </p:sp>
      <mc:AlternateContent xmlns:mc="http://schemas.openxmlformats.org/markup-compatibility/2006" xmlns:p14="http://schemas.microsoft.com/office/powerpoint/2010/main">
        <mc:Choice Requires="p14">
          <p:contentPart p14:bwMode="auto" r:id="rId23">
            <p14:nvContentPartPr>
              <p14:cNvPr id="271" name="Ink 270">
                <a:extLst>
                  <a:ext uri="{FF2B5EF4-FFF2-40B4-BE49-F238E27FC236}">
                    <a16:creationId xmlns:a16="http://schemas.microsoft.com/office/drawing/2014/main" id="{D9DCE6CC-1B16-4848-B899-C7F46D90FC13}"/>
                  </a:ext>
                </a:extLst>
              </p14:cNvPr>
              <p14:cNvContentPartPr/>
              <p14:nvPr/>
            </p14:nvContentPartPr>
            <p14:xfrm>
              <a:off x="1323702" y="563843"/>
              <a:ext cx="265" cy="265"/>
            </p14:xfrm>
          </p:contentPart>
        </mc:Choice>
        <mc:Fallback xmlns="">
          <p:pic>
            <p:nvPicPr>
              <p:cNvPr id="271" name="Ink 270">
                <a:extLst>
                  <a:ext uri="{FF2B5EF4-FFF2-40B4-BE49-F238E27FC236}">
                    <a16:creationId xmlns:a16="http://schemas.microsoft.com/office/drawing/2014/main" id="{D9DCE6CC-1B16-4848-B899-C7F46D90FC13}"/>
                  </a:ext>
                </a:extLst>
              </p:cNvPr>
              <p:cNvPicPr/>
              <p:nvPr/>
            </p:nvPicPr>
            <p:blipFill>
              <a:blip r:embed="rId24"/>
              <a:stretch>
                <a:fillRect/>
              </a:stretch>
            </p:blipFill>
            <p:spPr>
              <a:xfrm>
                <a:off x="1317077" y="557218"/>
                <a:ext cx="13250" cy="1325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72" name="Ink 271">
                <a:extLst>
                  <a:ext uri="{FF2B5EF4-FFF2-40B4-BE49-F238E27FC236}">
                    <a16:creationId xmlns:a16="http://schemas.microsoft.com/office/drawing/2014/main" id="{767F9D57-68D1-4BD9-8E00-4BB540773707}"/>
                  </a:ext>
                </a:extLst>
              </p14:cNvPr>
              <p14:cNvContentPartPr/>
              <p14:nvPr/>
            </p14:nvContentPartPr>
            <p14:xfrm>
              <a:off x="2776863" y="547167"/>
              <a:ext cx="265" cy="265"/>
            </p14:xfrm>
          </p:contentPart>
        </mc:Choice>
        <mc:Fallback xmlns="">
          <p:pic>
            <p:nvPicPr>
              <p:cNvPr id="272" name="Ink 271">
                <a:extLst>
                  <a:ext uri="{FF2B5EF4-FFF2-40B4-BE49-F238E27FC236}">
                    <a16:creationId xmlns:a16="http://schemas.microsoft.com/office/drawing/2014/main" id="{767F9D57-68D1-4BD9-8E00-4BB540773707}"/>
                  </a:ext>
                </a:extLst>
              </p:cNvPr>
              <p:cNvPicPr/>
              <p:nvPr/>
            </p:nvPicPr>
            <p:blipFill>
              <a:blip r:embed="rId24"/>
              <a:stretch>
                <a:fillRect/>
              </a:stretch>
            </p:blipFill>
            <p:spPr>
              <a:xfrm>
                <a:off x="2770238" y="540542"/>
                <a:ext cx="13250" cy="13250"/>
              </a:xfrm>
              <a:prstGeom prst="rect">
                <a:avLst/>
              </a:prstGeom>
            </p:spPr>
          </p:pic>
        </mc:Fallback>
      </mc:AlternateContent>
    </p:spTree>
    <p:extLst>
      <p:ext uri="{BB962C8B-B14F-4D97-AF65-F5344CB8AC3E}">
        <p14:creationId xmlns:p14="http://schemas.microsoft.com/office/powerpoint/2010/main" val="1809247221"/>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500"/>
                                  </p:stCondLst>
                                  <p:childTnLst>
                                    <p:set>
                                      <p:cBhvr>
                                        <p:cTn id="6" dur="1" fill="hold">
                                          <p:stCondLst>
                                            <p:cond delay="0"/>
                                          </p:stCondLst>
                                        </p:cTn>
                                        <p:tgtEl>
                                          <p:spTgt spid="259"/>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259"/>
                                        </p:tgtEl>
                                      </p:cBhvr>
                                      <p:by x="80000" y="80000"/>
                                    </p:animScale>
                                  </p:childTnLst>
                                </p:cTn>
                              </p:par>
                              <p:par>
                                <p:cTn id="9" presetID="21" presetClass="entr" presetSubtype="1" fill="hold" nodeType="withEffect">
                                  <p:stCondLst>
                                    <p:cond delay="500"/>
                                  </p:stCondLst>
                                  <p:childTnLst>
                                    <p:set>
                                      <p:cBhvr>
                                        <p:cTn id="10" dur="1" fill="hold">
                                          <p:stCondLst>
                                            <p:cond delay="0"/>
                                          </p:stCondLst>
                                        </p:cTn>
                                        <p:tgtEl>
                                          <p:spTgt spid="259"/>
                                        </p:tgtEl>
                                        <p:attrNameLst>
                                          <p:attrName>style.visibility</p:attrName>
                                        </p:attrNameLst>
                                      </p:cBhvr>
                                      <p:to>
                                        <p:strVal val="visible"/>
                                      </p:to>
                                    </p:set>
                                    <p:animEffect transition="in" filter="wheel(1)">
                                      <p:cBhvr>
                                        <p:cTn id="11" dur="500"/>
                                        <p:tgtEl>
                                          <p:spTgt spid="259"/>
                                        </p:tgtEl>
                                      </p:cBhvr>
                                    </p:animEffect>
                                  </p:childTnLst>
                                </p:cTn>
                              </p:par>
                              <p:par>
                                <p:cTn id="12" presetID="10" presetClass="entr" presetSubtype="0" fill="hold" grpId="0" nodeType="withEffect">
                                  <p:stCondLst>
                                    <p:cond delay="600"/>
                                  </p:stCondLst>
                                  <p:childTnLst>
                                    <p:set>
                                      <p:cBhvr>
                                        <p:cTn id="13" dur="1" fill="hold">
                                          <p:stCondLst>
                                            <p:cond delay="0"/>
                                          </p:stCondLst>
                                        </p:cTn>
                                        <p:tgtEl>
                                          <p:spTgt spid="264"/>
                                        </p:tgtEl>
                                        <p:attrNameLst>
                                          <p:attrName>style.visibility</p:attrName>
                                        </p:attrNameLst>
                                      </p:cBhvr>
                                      <p:to>
                                        <p:strVal val="visible"/>
                                      </p:to>
                                    </p:set>
                                    <p:animEffect transition="in" filter="fade">
                                      <p:cBhvr>
                                        <p:cTn id="14" dur="400"/>
                                        <p:tgtEl>
                                          <p:spTgt spid="264"/>
                                        </p:tgtEl>
                                      </p:cBhvr>
                                    </p:animEffect>
                                  </p:childTnLst>
                                </p:cTn>
                              </p:par>
                              <p:par>
                                <p:cTn id="15" presetID="42" presetClass="path" presetSubtype="0" decel="100000" fill="hold" grpId="1" nodeType="withEffect">
                                  <p:stCondLst>
                                    <p:cond delay="300"/>
                                  </p:stCondLst>
                                  <p:childTnLst>
                                    <p:animMotion origin="layout" path="M 3.54167E-6 4.44444E-6 L 3.54167E-6 0.09629 " pathEditMode="relative" rAng="0" ptsTypes="AA">
                                      <p:cBhvr>
                                        <p:cTn id="16" dur="700" spd="-100000" fill="hold"/>
                                        <p:tgtEl>
                                          <p:spTgt spid="264"/>
                                        </p:tgtEl>
                                        <p:attrNameLst>
                                          <p:attrName>ppt_x</p:attrName>
                                          <p:attrName>ppt_y</p:attrName>
                                        </p:attrNameLst>
                                      </p:cBhvr>
                                      <p:rCtr x="0" y="4815"/>
                                    </p:animMotion>
                                  </p:childTnLst>
                                </p:cTn>
                              </p:par>
                            </p:childTnLst>
                          </p:cTn>
                        </p:par>
                        <p:par>
                          <p:cTn id="17" fill="hold">
                            <p:stCondLst>
                              <p:cond delay="1000"/>
                            </p:stCondLst>
                            <p:childTnLst>
                              <p:par>
                                <p:cTn id="18" presetID="21" presetClass="entr" presetSubtype="1" fill="hold" nodeType="after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wheel(1)">
                                      <p:cBhvr>
                                        <p:cTn id="20" dur="2000"/>
                                        <p:tgtEl>
                                          <p:spTgt spid="19"/>
                                        </p:tgtEl>
                                      </p:cBhvr>
                                    </p:animEffect>
                                  </p:childTnLst>
                                </p:cTn>
                              </p:par>
                              <p:par>
                                <p:cTn id="21" presetID="22" presetClass="entr" presetSubtype="8"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wipe(left)">
                                      <p:cBhvr>
                                        <p:cTn id="23" dur="750"/>
                                        <p:tgtEl>
                                          <p:spTgt spid="18"/>
                                        </p:tgtEl>
                                      </p:cBhvr>
                                    </p:animEffect>
                                  </p:childTnLst>
                                </p:cTn>
                              </p:par>
                              <p:par>
                                <p:cTn id="24" presetID="10" presetClass="entr" presetSubtype="0" fill="hold" nodeType="withEffect">
                                  <p:stCondLst>
                                    <p:cond delay="0"/>
                                  </p:stCondLst>
                                  <p:childTnLst>
                                    <p:set>
                                      <p:cBhvr>
                                        <p:cTn id="25" dur="1" fill="hold">
                                          <p:stCondLst>
                                            <p:cond delay="0"/>
                                          </p:stCondLst>
                                        </p:cTn>
                                        <p:tgtEl>
                                          <p:spTgt spid="183"/>
                                        </p:tgtEl>
                                        <p:attrNameLst>
                                          <p:attrName>style.visibility</p:attrName>
                                        </p:attrNameLst>
                                      </p:cBhvr>
                                      <p:to>
                                        <p:strVal val="visible"/>
                                      </p:to>
                                    </p:set>
                                    <p:animEffect transition="in" filter="fade">
                                      <p:cBhvr>
                                        <p:cTn id="26" dur="750"/>
                                        <p:tgtEl>
                                          <p:spTgt spid="183"/>
                                        </p:tgtEl>
                                      </p:cBhvr>
                                    </p:animEffect>
                                  </p:childTnLst>
                                </p:cTn>
                              </p:par>
                              <p:par>
                                <p:cTn id="27" presetID="8" presetClass="emph" presetSubtype="0" fill="hold" nodeType="withEffect">
                                  <p:stCondLst>
                                    <p:cond delay="0"/>
                                  </p:stCondLst>
                                  <p:childTnLst>
                                    <p:animRot by="21600000">
                                      <p:cBhvr>
                                        <p:cTn id="28" dur="1500" fill="hold"/>
                                        <p:tgtEl>
                                          <p:spTgt spid="183"/>
                                        </p:tgtEl>
                                        <p:attrNameLst>
                                          <p:attrName>r</p:attrName>
                                        </p:attrNameLst>
                                      </p:cBhvr>
                                    </p:animRot>
                                  </p:childTnLst>
                                </p:cTn>
                              </p:par>
                              <p:par>
                                <p:cTn id="29" presetID="10" presetClass="entr" presetSubtype="0" fill="hold" grpId="0" nodeType="withEffect">
                                  <p:stCondLst>
                                    <p:cond delay="1000"/>
                                  </p:stCondLst>
                                  <p:childTnLst>
                                    <p:set>
                                      <p:cBhvr>
                                        <p:cTn id="30" dur="1" fill="hold">
                                          <p:stCondLst>
                                            <p:cond delay="0"/>
                                          </p:stCondLst>
                                        </p:cTn>
                                        <p:tgtEl>
                                          <p:spTgt spid="182"/>
                                        </p:tgtEl>
                                        <p:attrNameLst>
                                          <p:attrName>style.visibility</p:attrName>
                                        </p:attrNameLst>
                                      </p:cBhvr>
                                      <p:to>
                                        <p:strVal val="visible"/>
                                      </p:to>
                                    </p:set>
                                    <p:animEffect transition="in" filter="fade">
                                      <p:cBhvr>
                                        <p:cTn id="31" dur="500"/>
                                        <p:tgtEl>
                                          <p:spTgt spid="1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p:bldP spid="264" grpId="0"/>
      <p:bldP spid="264"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 name="Freeform: Shape 437">
            <a:extLst>
              <a:ext uri="{FF2B5EF4-FFF2-40B4-BE49-F238E27FC236}">
                <a16:creationId xmlns:a16="http://schemas.microsoft.com/office/drawing/2014/main" id="{8A078432-EBB5-4E8A-B445-8B5B075F721E}"/>
              </a:ext>
            </a:extLst>
          </p:cNvPr>
          <p:cNvSpPr/>
          <p:nvPr/>
        </p:nvSpPr>
        <p:spPr bwMode="auto">
          <a:xfrm>
            <a:off x="4829551" y="1019438"/>
            <a:ext cx="3907292" cy="3555595"/>
          </a:xfrm>
          <a:custGeom>
            <a:avLst/>
            <a:gdLst>
              <a:gd name="connsiteX0" fmla="*/ 4157776 w 5210461"/>
              <a:gd name="connsiteY0" fmla="*/ 0 h 4741466"/>
              <a:gd name="connsiteX1" fmla="*/ 4157776 w 5210461"/>
              <a:gd name="connsiteY1" fmla="*/ 616072 h 4741466"/>
              <a:gd name="connsiteX2" fmla="*/ 4077774 w 5210461"/>
              <a:gd name="connsiteY2" fmla="*/ 597635 h 4741466"/>
              <a:gd name="connsiteX3" fmla="*/ 3726029 w 5210461"/>
              <a:gd name="connsiteY3" fmla="*/ 604574 h 4741466"/>
              <a:gd name="connsiteX4" fmla="*/ 2971420 w 5210461"/>
              <a:gd name="connsiteY4" fmla="*/ 1453889 h 4741466"/>
              <a:gd name="connsiteX5" fmla="*/ 3794463 w 5210461"/>
              <a:gd name="connsiteY5" fmla="*/ 2005891 h 4741466"/>
              <a:gd name="connsiteX6" fmla="*/ 3838635 w 5210461"/>
              <a:gd name="connsiteY6" fmla="*/ 2003336 h 4741466"/>
              <a:gd name="connsiteX7" fmla="*/ 3838635 w 5210461"/>
              <a:gd name="connsiteY7" fmla="*/ 2014602 h 4741466"/>
              <a:gd name="connsiteX8" fmla="*/ 4394869 w 5210461"/>
              <a:gd name="connsiteY8" fmla="*/ 2014602 h 4741466"/>
              <a:gd name="connsiteX9" fmla="*/ 4394869 w 5210461"/>
              <a:gd name="connsiteY9" fmla="*/ 2648352 h 4741466"/>
              <a:gd name="connsiteX10" fmla="*/ 4271599 w 5210461"/>
              <a:gd name="connsiteY10" fmla="*/ 2640976 h 4741466"/>
              <a:gd name="connsiteX11" fmla="*/ 3166119 w 5210461"/>
              <a:gd name="connsiteY11" fmla="*/ 3297154 h 4741466"/>
              <a:gd name="connsiteX12" fmla="*/ 4271599 w 5210461"/>
              <a:gd name="connsiteY12" fmla="*/ 3953332 h 4741466"/>
              <a:gd name="connsiteX13" fmla="*/ 4889684 w 5210461"/>
              <a:gd name="connsiteY13" fmla="*/ 3841267 h 4741466"/>
              <a:gd name="connsiteX14" fmla="*/ 4927787 w 5210461"/>
              <a:gd name="connsiteY14" fmla="*/ 3822607 h 4741466"/>
              <a:gd name="connsiteX15" fmla="*/ 4998203 w 5210461"/>
              <a:gd name="connsiteY15" fmla="*/ 3860827 h 4741466"/>
              <a:gd name="connsiteX16" fmla="*/ 5210461 w 5210461"/>
              <a:gd name="connsiteY16" fmla="*/ 4260036 h 4741466"/>
              <a:gd name="connsiteX17" fmla="*/ 4729031 w 5210461"/>
              <a:gd name="connsiteY17" fmla="*/ 4741466 h 4741466"/>
              <a:gd name="connsiteX18" fmla="*/ 4541637 w 5210461"/>
              <a:gd name="connsiteY18" fmla="*/ 4703633 h 4741466"/>
              <a:gd name="connsiteX19" fmla="*/ 4484668 w 5210461"/>
              <a:gd name="connsiteY19" fmla="*/ 4672711 h 4741466"/>
              <a:gd name="connsiteX20" fmla="*/ 4484668 w 5210461"/>
              <a:gd name="connsiteY20" fmla="*/ 4729609 h 4741466"/>
              <a:gd name="connsiteX21" fmla="*/ 3897245 w 5210461"/>
              <a:gd name="connsiteY21" fmla="*/ 4729609 h 4741466"/>
              <a:gd name="connsiteX22" fmla="*/ 3875204 w 5210461"/>
              <a:gd name="connsiteY22" fmla="*/ 4716344 h 4741466"/>
              <a:gd name="connsiteX23" fmla="*/ 2657423 w 5210461"/>
              <a:gd name="connsiteY23" fmla="*/ 4313563 h 4741466"/>
              <a:gd name="connsiteX24" fmla="*/ 1772152 w 5210461"/>
              <a:gd name="connsiteY24" fmla="*/ 4274211 h 4741466"/>
              <a:gd name="connsiteX25" fmla="*/ 1630518 w 5210461"/>
              <a:gd name="connsiteY25" fmla="*/ 4288846 h 4741466"/>
              <a:gd name="connsiteX26" fmla="*/ 1452223 w 5210461"/>
              <a:gd name="connsiteY26" fmla="*/ 4283642 h 4741466"/>
              <a:gd name="connsiteX27" fmla="*/ 874406 w 5210461"/>
              <a:gd name="connsiteY27" fmla="*/ 4292233 h 4741466"/>
              <a:gd name="connsiteX28" fmla="*/ 120588 w 5210461"/>
              <a:gd name="connsiteY28" fmla="*/ 4358320 h 4741466"/>
              <a:gd name="connsiteX29" fmla="*/ 0 w 5210461"/>
              <a:gd name="connsiteY29" fmla="*/ 4375891 h 4741466"/>
              <a:gd name="connsiteX30" fmla="*/ 0 w 5210461"/>
              <a:gd name="connsiteY30" fmla="*/ 4374330 h 4741466"/>
              <a:gd name="connsiteX31" fmla="*/ 101584 w 5210461"/>
              <a:gd name="connsiteY31" fmla="*/ 4348211 h 4741466"/>
              <a:gd name="connsiteX32" fmla="*/ 1428197 w 5210461"/>
              <a:gd name="connsiteY32" fmla="*/ 2545027 h 4741466"/>
              <a:gd name="connsiteX33" fmla="*/ 101584 w 5210461"/>
              <a:gd name="connsiteY33" fmla="*/ 741844 h 4741466"/>
              <a:gd name="connsiteX34" fmla="*/ 32822 w 5210461"/>
              <a:gd name="connsiteY34" fmla="*/ 724164 h 4741466"/>
              <a:gd name="connsiteX35" fmla="*/ 120438 w 5210461"/>
              <a:gd name="connsiteY35" fmla="*/ 734824 h 4741466"/>
              <a:gd name="connsiteX36" fmla="*/ 696605 w 5210461"/>
              <a:gd name="connsiteY36" fmla="*/ 779296 h 4741466"/>
              <a:gd name="connsiteX37" fmla="*/ 2412341 w 5210461"/>
              <a:gd name="connsiteY37" fmla="*/ 648914 h 4741466"/>
              <a:gd name="connsiteX38" fmla="*/ 2442299 w 5210461"/>
              <a:gd name="connsiteY38" fmla="*/ 637721 h 4741466"/>
              <a:gd name="connsiteX39" fmla="*/ 2452045 w 5210461"/>
              <a:gd name="connsiteY39" fmla="*/ 636017 h 4741466"/>
              <a:gd name="connsiteX40" fmla="*/ 2723474 w 5210461"/>
              <a:gd name="connsiteY40" fmla="*/ 575499 h 4741466"/>
              <a:gd name="connsiteX41" fmla="*/ 3998156 w 5210461"/>
              <a:gd name="connsiteY41" fmla="*/ 91848 h 474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210461" h="4741466">
                <a:moveTo>
                  <a:pt x="4157776" y="0"/>
                </a:moveTo>
                <a:lnTo>
                  <a:pt x="4157776" y="616072"/>
                </a:lnTo>
                <a:lnTo>
                  <a:pt x="4077774" y="597635"/>
                </a:lnTo>
                <a:cubicBezTo>
                  <a:pt x="3966382" y="581470"/>
                  <a:pt x="3847341" y="582828"/>
                  <a:pt x="3726029" y="604574"/>
                </a:cubicBezTo>
                <a:cubicBezTo>
                  <a:pt x="3240779" y="691559"/>
                  <a:pt x="2902929" y="1071810"/>
                  <a:pt x="2971420" y="1453889"/>
                </a:cubicBezTo>
                <a:cubicBezTo>
                  <a:pt x="3031350" y="1788208"/>
                  <a:pt x="3382526" y="2013152"/>
                  <a:pt x="3794463" y="2005891"/>
                </a:cubicBezTo>
                <a:lnTo>
                  <a:pt x="3838635" y="2003336"/>
                </a:lnTo>
                <a:lnTo>
                  <a:pt x="3838635" y="2014602"/>
                </a:lnTo>
                <a:lnTo>
                  <a:pt x="4394869" y="2014602"/>
                </a:lnTo>
                <a:lnTo>
                  <a:pt x="4394869" y="2648352"/>
                </a:lnTo>
                <a:lnTo>
                  <a:pt x="4271599" y="2640976"/>
                </a:lnTo>
                <a:cubicBezTo>
                  <a:pt x="3661059" y="2640976"/>
                  <a:pt x="3166119" y="2934757"/>
                  <a:pt x="3166119" y="3297154"/>
                </a:cubicBezTo>
                <a:cubicBezTo>
                  <a:pt x="3166119" y="3659551"/>
                  <a:pt x="3661059" y="3953332"/>
                  <a:pt x="4271599" y="3953332"/>
                </a:cubicBezTo>
                <a:cubicBezTo>
                  <a:pt x="4500551" y="3953332"/>
                  <a:pt x="4713248" y="3912019"/>
                  <a:pt x="4889684" y="3841267"/>
                </a:cubicBezTo>
                <a:lnTo>
                  <a:pt x="4927787" y="3822607"/>
                </a:lnTo>
                <a:lnTo>
                  <a:pt x="4998203" y="3860827"/>
                </a:lnTo>
                <a:cubicBezTo>
                  <a:pt x="5126264" y="3947344"/>
                  <a:pt x="5210461" y="4093858"/>
                  <a:pt x="5210461" y="4260036"/>
                </a:cubicBezTo>
                <a:cubicBezTo>
                  <a:pt x="5210461" y="4525922"/>
                  <a:pt x="4994917" y="4741466"/>
                  <a:pt x="4729031" y="4741466"/>
                </a:cubicBezTo>
                <a:cubicBezTo>
                  <a:pt x="4662560" y="4741466"/>
                  <a:pt x="4599234" y="4727995"/>
                  <a:pt x="4541637" y="4703633"/>
                </a:cubicBezTo>
                <a:lnTo>
                  <a:pt x="4484668" y="4672711"/>
                </a:lnTo>
                <a:lnTo>
                  <a:pt x="4484668" y="4729609"/>
                </a:lnTo>
                <a:lnTo>
                  <a:pt x="3897245" y="4729609"/>
                </a:lnTo>
                <a:lnTo>
                  <a:pt x="3875204" y="4716344"/>
                </a:lnTo>
                <a:cubicBezTo>
                  <a:pt x="3538789" y="4529260"/>
                  <a:pt x="3120519" y="4385541"/>
                  <a:pt x="2657423" y="4313563"/>
                </a:cubicBezTo>
                <a:cubicBezTo>
                  <a:pt x="2348693" y="4265578"/>
                  <a:pt x="2049267" y="4254022"/>
                  <a:pt x="1772152" y="4274211"/>
                </a:cubicBezTo>
                <a:lnTo>
                  <a:pt x="1630518" y="4288846"/>
                </a:lnTo>
                <a:lnTo>
                  <a:pt x="1452223" y="4283642"/>
                </a:lnTo>
                <a:cubicBezTo>
                  <a:pt x="1269415" y="4280364"/>
                  <a:pt x="1075333" y="4282994"/>
                  <a:pt x="874406" y="4292233"/>
                </a:cubicBezTo>
                <a:cubicBezTo>
                  <a:pt x="606504" y="4304552"/>
                  <a:pt x="351796" y="4327453"/>
                  <a:pt x="120588" y="4358320"/>
                </a:cubicBezTo>
                <a:lnTo>
                  <a:pt x="0" y="4375891"/>
                </a:lnTo>
                <a:lnTo>
                  <a:pt x="0" y="4374330"/>
                </a:lnTo>
                <a:lnTo>
                  <a:pt x="101584" y="4348211"/>
                </a:lnTo>
                <a:cubicBezTo>
                  <a:pt x="870157" y="4109160"/>
                  <a:pt x="1428197" y="3392262"/>
                  <a:pt x="1428197" y="2545027"/>
                </a:cubicBezTo>
                <a:cubicBezTo>
                  <a:pt x="1428197" y="1697792"/>
                  <a:pt x="870157" y="980895"/>
                  <a:pt x="101584" y="741844"/>
                </a:cubicBezTo>
                <a:lnTo>
                  <a:pt x="32822" y="724164"/>
                </a:lnTo>
                <a:lnTo>
                  <a:pt x="120438" y="734824"/>
                </a:lnTo>
                <a:cubicBezTo>
                  <a:pt x="302173" y="754865"/>
                  <a:pt x="495678" y="770056"/>
                  <a:pt x="696605" y="779296"/>
                </a:cubicBezTo>
                <a:cubicBezTo>
                  <a:pt x="1433336" y="813172"/>
                  <a:pt x="2078048" y="758196"/>
                  <a:pt x="2412341" y="648914"/>
                </a:cubicBezTo>
                <a:lnTo>
                  <a:pt x="2442299" y="637721"/>
                </a:lnTo>
                <a:lnTo>
                  <a:pt x="2452045" y="636017"/>
                </a:lnTo>
                <a:cubicBezTo>
                  <a:pt x="2541797" y="618178"/>
                  <a:pt x="2632356" y="598020"/>
                  <a:pt x="2723474" y="575499"/>
                </a:cubicBezTo>
                <a:cubicBezTo>
                  <a:pt x="3201845" y="457261"/>
                  <a:pt x="3636208" y="288562"/>
                  <a:pt x="3998156" y="91848"/>
                </a:cubicBezTo>
                <a:close/>
              </a:path>
            </a:pathLst>
          </a:custGeom>
          <a:solidFill>
            <a:schemeClr val="bg1">
              <a:lumMod val="85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20" eaLnBrk="1" hangingPunct="1">
              <a:defRPr/>
            </a:pPr>
            <a:endParaRPr lang="en-US" sz="1200">
              <a:gradFill>
                <a:gsLst>
                  <a:gs pos="40075">
                    <a:srgbClr val="FFFFFF"/>
                  </a:gs>
                  <a:gs pos="30000">
                    <a:srgbClr val="FFFFFF"/>
                  </a:gs>
                </a:gsLst>
                <a:lin ang="5400000" scaled="0"/>
              </a:gradFill>
              <a:latin typeface="Segoe UI"/>
            </a:endParaRPr>
          </a:p>
        </p:txBody>
      </p:sp>
      <p:sp>
        <p:nvSpPr>
          <p:cNvPr id="369" name="Freeform: Shape 368">
            <a:extLst>
              <a:ext uri="{FF2B5EF4-FFF2-40B4-BE49-F238E27FC236}">
                <a16:creationId xmlns:a16="http://schemas.microsoft.com/office/drawing/2014/main" id="{FFFE32AB-244A-475F-B572-B8A3F757F3D1}"/>
              </a:ext>
            </a:extLst>
          </p:cNvPr>
          <p:cNvSpPr/>
          <p:nvPr/>
        </p:nvSpPr>
        <p:spPr bwMode="auto">
          <a:xfrm rot="17609820">
            <a:off x="1770001" y="106988"/>
            <a:ext cx="749684" cy="2550233"/>
          </a:xfrm>
          <a:custGeom>
            <a:avLst/>
            <a:gdLst>
              <a:gd name="connsiteX0" fmla="*/ 1050915 w 1050915"/>
              <a:gd name="connsiteY0" fmla="*/ 0 h 3400792"/>
              <a:gd name="connsiteX1" fmla="*/ 1050915 w 1050915"/>
              <a:gd name="connsiteY1" fmla="*/ 47296 h 3400792"/>
              <a:gd name="connsiteX2" fmla="*/ 1019362 w 1050915"/>
              <a:gd name="connsiteY2" fmla="*/ 98000 h 3400792"/>
              <a:gd name="connsiteX3" fmla="*/ 666418 w 1050915"/>
              <a:gd name="connsiteY3" fmla="*/ 1660939 h 3400792"/>
              <a:gd name="connsiteX4" fmla="*/ 668437 w 1050915"/>
              <a:gd name="connsiteY4" fmla="*/ 1735296 h 3400792"/>
              <a:gd name="connsiteX5" fmla="*/ 662929 w 1050915"/>
              <a:gd name="connsiteY5" fmla="*/ 1787538 h 3400792"/>
              <a:gd name="connsiteX6" fmla="*/ 660192 w 1050915"/>
              <a:gd name="connsiteY6" fmla="*/ 2179787 h 3400792"/>
              <a:gd name="connsiteX7" fmla="*/ 726698 w 1050915"/>
              <a:gd name="connsiteY7" fmla="*/ 2662208 h 3400792"/>
              <a:gd name="connsiteX8" fmla="*/ 769012 w 1050915"/>
              <a:gd name="connsiteY8" fmla="*/ 2820936 h 3400792"/>
              <a:gd name="connsiteX9" fmla="*/ 777226 w 1050915"/>
              <a:gd name="connsiteY9" fmla="*/ 2835601 h 3400792"/>
              <a:gd name="connsiteX10" fmla="*/ 567795 w 1050915"/>
              <a:gd name="connsiteY10" fmla="*/ 3367190 h 3400792"/>
              <a:gd name="connsiteX11" fmla="*/ 36206 w 1050915"/>
              <a:gd name="connsiteY11" fmla="*/ 3157760 h 3400792"/>
              <a:gd name="connsiteX12" fmla="*/ 114076 w 1050915"/>
              <a:gd name="connsiteY12" fmla="*/ 2717986 h 3400792"/>
              <a:gd name="connsiteX13" fmla="*/ 119508 w 1050915"/>
              <a:gd name="connsiteY13" fmla="*/ 2713307 h 3400792"/>
              <a:gd name="connsiteX14" fmla="*/ 141904 w 1050915"/>
              <a:gd name="connsiteY14" fmla="*/ 2658335 h 3400792"/>
              <a:gd name="connsiteX15" fmla="*/ 290612 w 1050915"/>
              <a:gd name="connsiteY15" fmla="*/ 1562075 h 3400792"/>
              <a:gd name="connsiteX16" fmla="*/ 18063 w 1050915"/>
              <a:gd name="connsiteY16" fmla="*/ 489874 h 3400792"/>
              <a:gd name="connsiteX17" fmla="*/ 0 w 1050915"/>
              <a:gd name="connsiteY17" fmla="*/ 456886 h 3400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50915" h="3400792">
                <a:moveTo>
                  <a:pt x="1050915" y="0"/>
                </a:moveTo>
                <a:lnTo>
                  <a:pt x="1050915" y="47296"/>
                </a:lnTo>
                <a:lnTo>
                  <a:pt x="1019362" y="98000"/>
                </a:lnTo>
                <a:cubicBezTo>
                  <a:pt x="800984" y="487435"/>
                  <a:pt x="668340" y="1041305"/>
                  <a:pt x="666418" y="1660939"/>
                </a:cubicBezTo>
                <a:lnTo>
                  <a:pt x="668437" y="1735296"/>
                </a:lnTo>
                <a:lnTo>
                  <a:pt x="662929" y="1787538"/>
                </a:lnTo>
                <a:cubicBezTo>
                  <a:pt x="653709" y="1914714"/>
                  <a:pt x="652546" y="2045913"/>
                  <a:pt x="660192" y="2179787"/>
                </a:cubicBezTo>
                <a:cubicBezTo>
                  <a:pt x="669749" y="2347130"/>
                  <a:pt x="692504" y="2508752"/>
                  <a:pt x="726698" y="2662208"/>
                </a:cubicBezTo>
                <a:lnTo>
                  <a:pt x="769012" y="2820936"/>
                </a:lnTo>
                <a:lnTo>
                  <a:pt x="777226" y="2835601"/>
                </a:lnTo>
                <a:cubicBezTo>
                  <a:pt x="866188" y="3040229"/>
                  <a:pt x="772423" y="3278229"/>
                  <a:pt x="567795" y="3367190"/>
                </a:cubicBezTo>
                <a:cubicBezTo>
                  <a:pt x="363168" y="3456152"/>
                  <a:pt x="125168" y="3362387"/>
                  <a:pt x="36206" y="3157760"/>
                </a:cubicBezTo>
                <a:cubicBezTo>
                  <a:pt x="-30515" y="3004289"/>
                  <a:pt x="5547" y="2832047"/>
                  <a:pt x="114076" y="2717986"/>
                </a:cubicBezTo>
                <a:lnTo>
                  <a:pt x="119508" y="2713307"/>
                </a:lnTo>
                <a:lnTo>
                  <a:pt x="141904" y="2658335"/>
                </a:lnTo>
                <a:cubicBezTo>
                  <a:pt x="257209" y="2341240"/>
                  <a:pt x="313549" y="1963698"/>
                  <a:pt x="290612" y="1562075"/>
                </a:cubicBezTo>
                <a:cubicBezTo>
                  <a:pt x="267676" y="1160452"/>
                  <a:pt x="168719" y="791779"/>
                  <a:pt x="18063" y="489874"/>
                </a:cubicBezTo>
                <a:lnTo>
                  <a:pt x="0" y="456886"/>
                </a:lnTo>
                <a:close/>
              </a:path>
            </a:pathLst>
          </a:custGeom>
          <a:solidFill>
            <a:schemeClr val="bg1">
              <a:lumMod val="85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20" eaLnBrk="1" hangingPunct="1">
              <a:defRPr/>
            </a:pPr>
            <a:endParaRPr lang="en-US" sz="1200">
              <a:gradFill>
                <a:gsLst>
                  <a:gs pos="40075">
                    <a:srgbClr val="FFFFFF"/>
                  </a:gs>
                  <a:gs pos="30000">
                    <a:srgbClr val="FFFFFF"/>
                  </a:gs>
                </a:gsLst>
                <a:lin ang="5400000" scaled="0"/>
              </a:gradFill>
              <a:latin typeface="Segoe UI"/>
            </a:endParaRPr>
          </a:p>
        </p:txBody>
      </p:sp>
      <p:sp>
        <p:nvSpPr>
          <p:cNvPr id="387" name="Freeform: Shape 386">
            <a:extLst>
              <a:ext uri="{FF2B5EF4-FFF2-40B4-BE49-F238E27FC236}">
                <a16:creationId xmlns:a16="http://schemas.microsoft.com/office/drawing/2014/main" id="{65D2931C-17FA-4D89-95A1-38823AC17636}"/>
              </a:ext>
            </a:extLst>
          </p:cNvPr>
          <p:cNvSpPr/>
          <p:nvPr/>
        </p:nvSpPr>
        <p:spPr bwMode="auto">
          <a:xfrm rot="16877039">
            <a:off x="1572292" y="1339027"/>
            <a:ext cx="943073" cy="2006629"/>
          </a:xfrm>
          <a:custGeom>
            <a:avLst/>
            <a:gdLst>
              <a:gd name="connsiteX0" fmla="*/ 1393582 w 1393582"/>
              <a:gd name="connsiteY0" fmla="*/ 0 h 2675884"/>
              <a:gd name="connsiteX1" fmla="*/ 1393582 w 1393582"/>
              <a:gd name="connsiteY1" fmla="*/ 23544 h 2675884"/>
              <a:gd name="connsiteX2" fmla="*/ 1372714 w 1393582"/>
              <a:gd name="connsiteY2" fmla="*/ 54698 h 2675884"/>
              <a:gd name="connsiteX3" fmla="*/ 996210 w 1393582"/>
              <a:gd name="connsiteY3" fmla="*/ 1092961 h 2675884"/>
              <a:gd name="connsiteX4" fmla="*/ 962287 w 1393582"/>
              <a:gd name="connsiteY4" fmla="*/ 1842718 h 2675884"/>
              <a:gd name="connsiteX5" fmla="*/ 977686 w 1393582"/>
              <a:gd name="connsiteY5" fmla="*/ 1965150 h 2675884"/>
              <a:gd name="connsiteX6" fmla="*/ 993963 w 1393582"/>
              <a:gd name="connsiteY6" fmla="*/ 1979462 h 2675884"/>
              <a:gd name="connsiteX7" fmla="*/ 1100458 w 1393582"/>
              <a:gd name="connsiteY7" fmla="*/ 2196512 h 2675884"/>
              <a:gd name="connsiteX8" fmla="*/ 757922 w 1393582"/>
              <a:gd name="connsiteY8" fmla="*/ 2670562 h 2675884"/>
              <a:gd name="connsiteX9" fmla="*/ 283872 w 1393582"/>
              <a:gd name="connsiteY9" fmla="*/ 2328026 h 2675884"/>
              <a:gd name="connsiteX10" fmla="*/ 356961 w 1393582"/>
              <a:gd name="connsiteY10" fmla="*/ 2020059 h 2675884"/>
              <a:gd name="connsiteX11" fmla="*/ 377230 w 1393582"/>
              <a:gd name="connsiteY11" fmla="*/ 1997009 h 2675884"/>
              <a:gd name="connsiteX12" fmla="*/ 439903 w 1393582"/>
              <a:gd name="connsiteY12" fmla="*/ 1802790 h 2675884"/>
              <a:gd name="connsiteX13" fmla="*/ 465518 w 1393582"/>
              <a:gd name="connsiteY13" fmla="*/ 1133230 h 2675884"/>
              <a:gd name="connsiteX14" fmla="*/ 62030 w 1393582"/>
              <a:gd name="connsiteY14" fmla="*/ 284956 h 2675884"/>
              <a:gd name="connsiteX15" fmla="*/ 0 w 1393582"/>
              <a:gd name="connsiteY15" fmla="*/ 224440 h 267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93582" h="2675884">
                <a:moveTo>
                  <a:pt x="1393582" y="0"/>
                </a:moveTo>
                <a:lnTo>
                  <a:pt x="1393582" y="23544"/>
                </a:lnTo>
                <a:lnTo>
                  <a:pt x="1372714" y="54698"/>
                </a:lnTo>
                <a:cubicBezTo>
                  <a:pt x="1196697" y="339665"/>
                  <a:pt x="1062273" y="696145"/>
                  <a:pt x="996210" y="1092961"/>
                </a:cubicBezTo>
                <a:cubicBezTo>
                  <a:pt x="952855" y="1353372"/>
                  <a:pt x="942982" y="1606887"/>
                  <a:pt x="962287" y="1842718"/>
                </a:cubicBezTo>
                <a:lnTo>
                  <a:pt x="977686" y="1965150"/>
                </a:lnTo>
                <a:lnTo>
                  <a:pt x="993963" y="1979462"/>
                </a:lnTo>
                <a:cubicBezTo>
                  <a:pt x="1048481" y="2037536"/>
                  <a:pt x="1086839" y="2111952"/>
                  <a:pt x="1100458" y="2196512"/>
                </a:cubicBezTo>
                <a:cubicBezTo>
                  <a:pt x="1136774" y="2422006"/>
                  <a:pt x="983416" y="2634245"/>
                  <a:pt x="757922" y="2670562"/>
                </a:cubicBezTo>
                <a:cubicBezTo>
                  <a:pt x="532427" y="2706878"/>
                  <a:pt x="320189" y="2553520"/>
                  <a:pt x="283872" y="2328026"/>
                </a:cubicBezTo>
                <a:cubicBezTo>
                  <a:pt x="265714" y="2215278"/>
                  <a:pt x="294974" y="2105845"/>
                  <a:pt x="356961" y="2020059"/>
                </a:cubicBezTo>
                <a:lnTo>
                  <a:pt x="377230" y="1997009"/>
                </a:lnTo>
                <a:lnTo>
                  <a:pt x="439903" y="1802790"/>
                </a:lnTo>
                <a:cubicBezTo>
                  <a:pt x="491712" y="1594420"/>
                  <a:pt x="503090" y="1366521"/>
                  <a:pt x="465518" y="1133230"/>
                </a:cubicBezTo>
                <a:cubicBezTo>
                  <a:pt x="411414" y="797291"/>
                  <a:pt x="264449" y="503837"/>
                  <a:pt x="62030" y="284956"/>
                </a:cubicBezTo>
                <a:lnTo>
                  <a:pt x="0" y="224440"/>
                </a:lnTo>
                <a:close/>
              </a:path>
            </a:pathLst>
          </a:custGeom>
          <a:solidFill>
            <a:schemeClr val="bg1">
              <a:lumMod val="85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20" eaLnBrk="1" hangingPunct="1">
              <a:defRPr/>
            </a:pPr>
            <a:endParaRPr lang="en-US" sz="1200">
              <a:gradFill>
                <a:gsLst>
                  <a:gs pos="40075">
                    <a:srgbClr val="FFFFFF"/>
                  </a:gs>
                  <a:gs pos="30000">
                    <a:srgbClr val="FFFFFF"/>
                  </a:gs>
                </a:gsLst>
                <a:lin ang="5400000" scaled="0"/>
              </a:gradFill>
              <a:latin typeface="Segoe UI"/>
            </a:endParaRPr>
          </a:p>
        </p:txBody>
      </p:sp>
      <p:sp>
        <p:nvSpPr>
          <p:cNvPr id="336" name="Freeform: Shape 335">
            <a:extLst>
              <a:ext uri="{FF2B5EF4-FFF2-40B4-BE49-F238E27FC236}">
                <a16:creationId xmlns:a16="http://schemas.microsoft.com/office/drawing/2014/main" id="{E7A35EB8-604A-4AE8-89F9-AE94B8998898}"/>
              </a:ext>
            </a:extLst>
          </p:cNvPr>
          <p:cNvSpPr/>
          <p:nvPr/>
        </p:nvSpPr>
        <p:spPr bwMode="auto">
          <a:xfrm rot="15286219">
            <a:off x="1858772" y="3074578"/>
            <a:ext cx="637049" cy="2275406"/>
          </a:xfrm>
          <a:custGeom>
            <a:avLst/>
            <a:gdLst>
              <a:gd name="connsiteX0" fmla="*/ 841144 w 849518"/>
              <a:gd name="connsiteY0" fmla="*/ 2778548 h 3034306"/>
              <a:gd name="connsiteX1" fmla="*/ 812066 w 849518"/>
              <a:gd name="connsiteY1" fmla="*/ 2825471 h 3034306"/>
              <a:gd name="connsiteX2" fmla="*/ 467013 w 849518"/>
              <a:gd name="connsiteY2" fmla="*/ 3034306 h 3034306"/>
              <a:gd name="connsiteX3" fmla="*/ 182390 w 849518"/>
              <a:gd name="connsiteY3" fmla="*/ 2896892 h 3034306"/>
              <a:gd name="connsiteX4" fmla="*/ 123793 w 849518"/>
              <a:gd name="connsiteY4" fmla="*/ 2825138 h 3034306"/>
              <a:gd name="connsiteX5" fmla="*/ 104695 w 849518"/>
              <a:gd name="connsiteY5" fmla="*/ 2753757 h 3034306"/>
              <a:gd name="connsiteX6" fmla="*/ 104057 w 849518"/>
              <a:gd name="connsiteY6" fmla="*/ 2734299 h 3034306"/>
              <a:gd name="connsiteX7" fmla="*/ 94292 w 849518"/>
              <a:gd name="connsiteY7" fmla="*/ 2734299 h 3034306"/>
              <a:gd name="connsiteX8" fmla="*/ 103055 w 849518"/>
              <a:gd name="connsiteY8" fmla="*/ 2703764 h 3034306"/>
              <a:gd name="connsiteX9" fmla="*/ 102110 w 849518"/>
              <a:gd name="connsiteY9" fmla="*/ 2674941 h 3034306"/>
              <a:gd name="connsiteX10" fmla="*/ 114578 w 849518"/>
              <a:gd name="connsiteY10" fmla="*/ 2594774 h 3034306"/>
              <a:gd name="connsiteX11" fmla="*/ 141709 w 849518"/>
              <a:gd name="connsiteY11" fmla="*/ 2518888 h 3034306"/>
              <a:gd name="connsiteX12" fmla="*/ 150498 w 849518"/>
              <a:gd name="connsiteY12" fmla="*/ 2504072 h 3034306"/>
              <a:gd name="connsiteX13" fmla="*/ 172451 w 849518"/>
              <a:gd name="connsiteY13" fmla="*/ 2405386 h 3034306"/>
              <a:gd name="connsiteX14" fmla="*/ 252594 w 849518"/>
              <a:gd name="connsiteY14" fmla="*/ 1565552 h 3034306"/>
              <a:gd name="connsiteX15" fmla="*/ 26975 w 849518"/>
              <a:gd name="connsiteY15" fmla="*/ 104848 h 3034306"/>
              <a:gd name="connsiteX16" fmla="*/ 0 w 849518"/>
              <a:gd name="connsiteY16" fmla="*/ 38047 h 3034306"/>
              <a:gd name="connsiteX17" fmla="*/ 0 w 849518"/>
              <a:gd name="connsiteY17" fmla="*/ 0 h 3034306"/>
              <a:gd name="connsiteX18" fmla="*/ 779224 w 849518"/>
              <a:gd name="connsiteY18" fmla="*/ 227609 h 3034306"/>
              <a:gd name="connsiteX19" fmla="*/ 734634 w 849518"/>
              <a:gd name="connsiteY19" fmla="*/ 319951 h 3034306"/>
              <a:gd name="connsiteX20" fmla="*/ 517482 w 849518"/>
              <a:gd name="connsiteY20" fmla="*/ 1213152 h 3034306"/>
              <a:gd name="connsiteX21" fmla="*/ 673856 w 849518"/>
              <a:gd name="connsiteY21" fmla="*/ 2357687 h 3034306"/>
              <a:gd name="connsiteX22" fmla="*/ 676785 w 849518"/>
              <a:gd name="connsiteY22" fmla="*/ 2364235 h 3034306"/>
              <a:gd name="connsiteX23" fmla="*/ 706419 w 849518"/>
              <a:gd name="connsiteY23" fmla="*/ 2384470 h 3034306"/>
              <a:gd name="connsiteX24" fmla="*/ 847094 w 849518"/>
              <a:gd name="connsiteY24" fmla="*/ 2745408 h 303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49518" h="3034306">
                <a:moveTo>
                  <a:pt x="841144" y="2778548"/>
                </a:moveTo>
                <a:lnTo>
                  <a:pt x="812066" y="2825471"/>
                </a:lnTo>
                <a:cubicBezTo>
                  <a:pt x="717477" y="2958017"/>
                  <a:pt x="595805" y="3034583"/>
                  <a:pt x="467013" y="3034306"/>
                </a:cubicBezTo>
                <a:cubicBezTo>
                  <a:pt x="363980" y="3034086"/>
                  <a:pt x="265713" y="2984706"/>
                  <a:pt x="182390" y="2896892"/>
                </a:cubicBezTo>
                <a:lnTo>
                  <a:pt x="123793" y="2825138"/>
                </a:lnTo>
                <a:lnTo>
                  <a:pt x="104695" y="2753757"/>
                </a:lnTo>
                <a:lnTo>
                  <a:pt x="104057" y="2734299"/>
                </a:lnTo>
                <a:lnTo>
                  <a:pt x="94292" y="2734299"/>
                </a:lnTo>
                <a:lnTo>
                  <a:pt x="103055" y="2703764"/>
                </a:lnTo>
                <a:lnTo>
                  <a:pt x="102110" y="2674941"/>
                </a:lnTo>
                <a:cubicBezTo>
                  <a:pt x="103699" y="2648333"/>
                  <a:pt x="107796" y="2621501"/>
                  <a:pt x="114578" y="2594774"/>
                </a:cubicBezTo>
                <a:cubicBezTo>
                  <a:pt x="121361" y="2568045"/>
                  <a:pt x="130506" y="2542687"/>
                  <a:pt x="141709" y="2518888"/>
                </a:cubicBezTo>
                <a:lnTo>
                  <a:pt x="150498" y="2504072"/>
                </a:lnTo>
                <a:lnTo>
                  <a:pt x="172451" y="2405386"/>
                </a:lnTo>
                <a:cubicBezTo>
                  <a:pt x="221625" y="2145597"/>
                  <a:pt x="249909" y="1862293"/>
                  <a:pt x="252594" y="1565552"/>
                </a:cubicBezTo>
                <a:cubicBezTo>
                  <a:pt x="257604" y="1011637"/>
                  <a:pt x="172579" y="502673"/>
                  <a:pt x="26975" y="104848"/>
                </a:cubicBezTo>
                <a:lnTo>
                  <a:pt x="0" y="38047"/>
                </a:lnTo>
                <a:lnTo>
                  <a:pt x="0" y="0"/>
                </a:lnTo>
                <a:lnTo>
                  <a:pt x="779224" y="227609"/>
                </a:lnTo>
                <a:lnTo>
                  <a:pt x="734634" y="319951"/>
                </a:lnTo>
                <a:cubicBezTo>
                  <a:pt x="619650" y="578584"/>
                  <a:pt x="542161" y="883281"/>
                  <a:pt x="517482" y="1213152"/>
                </a:cubicBezTo>
                <a:cubicBezTo>
                  <a:pt x="485751" y="1637273"/>
                  <a:pt x="546388" y="2035251"/>
                  <a:pt x="673856" y="2357687"/>
                </a:cubicBezTo>
                <a:lnTo>
                  <a:pt x="676785" y="2364235"/>
                </a:lnTo>
                <a:lnTo>
                  <a:pt x="706419" y="2384470"/>
                </a:lnTo>
                <a:cubicBezTo>
                  <a:pt x="806696" y="2469001"/>
                  <a:pt x="862077" y="2605236"/>
                  <a:pt x="847094" y="2745408"/>
                </a:cubicBezTo>
                <a:close/>
              </a:path>
            </a:pathLst>
          </a:custGeom>
          <a:solidFill>
            <a:schemeClr val="bg1">
              <a:lumMod val="85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noAutofit/>
          </a:bodyPr>
          <a:lstStyle/>
          <a:p>
            <a:pPr algn="ctr" defTabSz="699220" eaLnBrk="1" hangingPunct="1">
              <a:defRPr/>
            </a:pPr>
            <a:endParaRPr lang="en-US" sz="1200">
              <a:gradFill>
                <a:gsLst>
                  <a:gs pos="40075">
                    <a:srgbClr val="FFFFFF"/>
                  </a:gs>
                  <a:gs pos="30000">
                    <a:srgbClr val="FFFFFF"/>
                  </a:gs>
                </a:gsLst>
                <a:lin ang="5400000" scaled="0"/>
              </a:gradFill>
              <a:latin typeface="Segoe UI"/>
            </a:endParaRPr>
          </a:p>
        </p:txBody>
      </p:sp>
      <p:sp>
        <p:nvSpPr>
          <p:cNvPr id="407" name="Freeform: Shape 406">
            <a:extLst>
              <a:ext uri="{FF2B5EF4-FFF2-40B4-BE49-F238E27FC236}">
                <a16:creationId xmlns:a16="http://schemas.microsoft.com/office/drawing/2014/main" id="{782D4294-3850-413B-A208-4AAC4A6FF858}"/>
              </a:ext>
            </a:extLst>
          </p:cNvPr>
          <p:cNvSpPr/>
          <p:nvPr/>
        </p:nvSpPr>
        <p:spPr bwMode="auto">
          <a:xfrm rot="15299248">
            <a:off x="1693940" y="2460566"/>
            <a:ext cx="650499" cy="2027122"/>
          </a:xfrm>
          <a:custGeom>
            <a:avLst/>
            <a:gdLst>
              <a:gd name="connsiteX0" fmla="*/ 785282 w 888747"/>
              <a:gd name="connsiteY0" fmla="*/ 2417736 h 2703212"/>
              <a:gd name="connsiteX1" fmla="*/ 313518 w 888747"/>
              <a:gd name="connsiteY1" fmla="*/ 2689971 h 2703212"/>
              <a:gd name="connsiteX2" fmla="*/ 41283 w 888747"/>
              <a:gd name="connsiteY2" fmla="*/ 2218207 h 2703212"/>
              <a:gd name="connsiteX3" fmla="*/ 68946 w 888747"/>
              <a:gd name="connsiteY3" fmla="*/ 2145263 h 2703212"/>
              <a:gd name="connsiteX4" fmla="*/ 101325 w 888747"/>
              <a:gd name="connsiteY4" fmla="*/ 2093962 h 2703212"/>
              <a:gd name="connsiteX5" fmla="*/ 119659 w 888747"/>
              <a:gd name="connsiteY5" fmla="*/ 2034674 h 2703212"/>
              <a:gd name="connsiteX6" fmla="*/ 218343 w 888747"/>
              <a:gd name="connsiteY6" fmla="*/ 1463595 h 2703212"/>
              <a:gd name="connsiteX7" fmla="*/ 40595 w 888747"/>
              <a:gd name="connsiteY7" fmla="*/ 85380 h 2703212"/>
              <a:gd name="connsiteX8" fmla="*/ 0 w 888747"/>
              <a:gd name="connsiteY8" fmla="*/ 0 h 2703212"/>
              <a:gd name="connsiteX9" fmla="*/ 888747 w 888747"/>
              <a:gd name="connsiteY9" fmla="*/ 238347 h 2703212"/>
              <a:gd name="connsiteX10" fmla="*/ 822021 w 888747"/>
              <a:gd name="connsiteY10" fmla="*/ 368819 h 2703212"/>
              <a:gd name="connsiteX11" fmla="*/ 647143 w 888747"/>
              <a:gd name="connsiteY11" fmla="*/ 2002502 h 2703212"/>
              <a:gd name="connsiteX12" fmla="*/ 654575 w 888747"/>
              <a:gd name="connsiteY12" fmla="*/ 2018375 h 2703212"/>
              <a:gd name="connsiteX13" fmla="*/ 703997 w 888747"/>
              <a:gd name="connsiteY13" fmla="*/ 2065283 h 2703212"/>
              <a:gd name="connsiteX14" fmla="*/ 785282 w 888747"/>
              <a:gd name="connsiteY14" fmla="*/ 2417736 h 270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8747" h="2703212">
                <a:moveTo>
                  <a:pt x="785282" y="2417736"/>
                </a:moveTo>
                <a:cubicBezTo>
                  <a:pt x="730184" y="2623186"/>
                  <a:pt x="518968" y="2745070"/>
                  <a:pt x="313518" y="2689971"/>
                </a:cubicBezTo>
                <a:cubicBezTo>
                  <a:pt x="108068" y="2634873"/>
                  <a:pt x="-13816" y="2423657"/>
                  <a:pt x="41283" y="2218207"/>
                </a:cubicBezTo>
                <a:cubicBezTo>
                  <a:pt x="48170" y="2192526"/>
                  <a:pt x="57497" y="2168151"/>
                  <a:pt x="68946" y="2145263"/>
                </a:cubicBezTo>
                <a:lnTo>
                  <a:pt x="101325" y="2093962"/>
                </a:lnTo>
                <a:lnTo>
                  <a:pt x="119659" y="2034674"/>
                </a:lnTo>
                <a:cubicBezTo>
                  <a:pt x="166599" y="1855681"/>
                  <a:pt x="200417" y="1663934"/>
                  <a:pt x="218343" y="1463595"/>
                </a:cubicBezTo>
                <a:cubicBezTo>
                  <a:pt x="265401" y="937707"/>
                  <a:pt x="194192" y="450636"/>
                  <a:pt x="40595" y="85380"/>
                </a:cubicBezTo>
                <a:lnTo>
                  <a:pt x="0" y="0"/>
                </a:lnTo>
                <a:lnTo>
                  <a:pt x="888747" y="238347"/>
                </a:lnTo>
                <a:lnTo>
                  <a:pt x="822021" y="368819"/>
                </a:lnTo>
                <a:cubicBezTo>
                  <a:pt x="541536" y="960939"/>
                  <a:pt x="487328" y="1569605"/>
                  <a:pt x="647143" y="2002502"/>
                </a:cubicBezTo>
                <a:lnTo>
                  <a:pt x="654575" y="2018375"/>
                </a:lnTo>
                <a:lnTo>
                  <a:pt x="703997" y="2065283"/>
                </a:lnTo>
                <a:cubicBezTo>
                  <a:pt x="785021" y="2158671"/>
                  <a:pt x="819718" y="2289330"/>
                  <a:pt x="785282" y="2417736"/>
                </a:cubicBezTo>
                <a:close/>
              </a:path>
            </a:pathLst>
          </a:custGeom>
          <a:solidFill>
            <a:schemeClr val="bg1">
              <a:lumMod val="85000"/>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20" eaLnBrk="1" hangingPunct="1">
              <a:defRPr/>
            </a:pPr>
            <a:endParaRPr lang="en-US" sz="1200">
              <a:gradFill>
                <a:gsLst>
                  <a:gs pos="40075">
                    <a:srgbClr val="FFFFFF"/>
                  </a:gs>
                  <a:gs pos="30000">
                    <a:srgbClr val="FFFFFF"/>
                  </a:gs>
                </a:gsLst>
                <a:lin ang="5400000" scaled="0"/>
              </a:gradFill>
              <a:latin typeface="Segoe UI"/>
            </a:endParaRPr>
          </a:p>
        </p:txBody>
      </p:sp>
      <p:grpSp>
        <p:nvGrpSpPr>
          <p:cNvPr id="4" name="Controls: Allow Block access">
            <a:extLst>
              <a:ext uri="{FF2B5EF4-FFF2-40B4-BE49-F238E27FC236}">
                <a16:creationId xmlns:a16="http://schemas.microsoft.com/office/drawing/2014/main" id="{D0111898-9303-4915-8CEF-4FBD6E74C764}"/>
              </a:ext>
            </a:extLst>
          </p:cNvPr>
          <p:cNvGrpSpPr/>
          <p:nvPr/>
        </p:nvGrpSpPr>
        <p:grpSpPr>
          <a:xfrm>
            <a:off x="5518001" y="1465655"/>
            <a:ext cx="557203" cy="557203"/>
            <a:chOff x="8344162" y="668091"/>
            <a:chExt cx="878803" cy="878803"/>
          </a:xfrm>
        </p:grpSpPr>
        <p:grpSp>
          <p:nvGrpSpPr>
            <p:cNvPr id="353" name="Controls: Allow access">
              <a:extLst>
                <a:ext uri="{FF2B5EF4-FFF2-40B4-BE49-F238E27FC236}">
                  <a16:creationId xmlns:a16="http://schemas.microsoft.com/office/drawing/2014/main" id="{BA20379A-E832-49AD-A83A-70A52281D06F}"/>
                </a:ext>
              </a:extLst>
            </p:cNvPr>
            <p:cNvGrpSpPr/>
            <p:nvPr/>
          </p:nvGrpSpPr>
          <p:grpSpPr>
            <a:xfrm>
              <a:off x="8344162" y="668091"/>
              <a:ext cx="878803" cy="878803"/>
              <a:chOff x="6184395" y="1273877"/>
              <a:chExt cx="896425" cy="896425"/>
            </a:xfrm>
          </p:grpSpPr>
          <p:grpSp>
            <p:nvGrpSpPr>
              <p:cNvPr id="354" name="Group 353">
                <a:extLst>
                  <a:ext uri="{FF2B5EF4-FFF2-40B4-BE49-F238E27FC236}">
                    <a16:creationId xmlns:a16="http://schemas.microsoft.com/office/drawing/2014/main" id="{DD583EB4-227D-4C4F-9597-C4F6AFC55A9E}"/>
                  </a:ext>
                </a:extLst>
              </p:cNvPr>
              <p:cNvGrpSpPr/>
              <p:nvPr/>
            </p:nvGrpSpPr>
            <p:grpSpPr>
              <a:xfrm>
                <a:off x="6184395" y="1273877"/>
                <a:ext cx="896425" cy="896425"/>
                <a:chOff x="8603515" y="2504434"/>
                <a:chExt cx="1600200" cy="1600200"/>
              </a:xfrm>
            </p:grpSpPr>
            <p:sp>
              <p:nvSpPr>
                <p:cNvPr id="356" name="Oval 355">
                  <a:extLst>
                    <a:ext uri="{FF2B5EF4-FFF2-40B4-BE49-F238E27FC236}">
                      <a16:creationId xmlns:a16="http://schemas.microsoft.com/office/drawing/2014/main" id="{C654DD7E-36B7-468C-A9E3-C22C6AE37C93}"/>
                    </a:ext>
                  </a:extLst>
                </p:cNvPr>
                <p:cNvSpPr/>
                <p:nvPr/>
              </p:nvSpPr>
              <p:spPr bwMode="auto">
                <a:xfrm>
                  <a:off x="8672093"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7" name="Circle: Hollow 356">
                  <a:extLst>
                    <a:ext uri="{FF2B5EF4-FFF2-40B4-BE49-F238E27FC236}">
                      <a16:creationId xmlns:a16="http://schemas.microsoft.com/office/drawing/2014/main" id="{04A4E7BB-C5E6-414C-B3D0-C2C811CA7181}"/>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55" name="Freeform: Shape 354">
                <a:extLst>
                  <a:ext uri="{FF2B5EF4-FFF2-40B4-BE49-F238E27FC236}">
                    <a16:creationId xmlns:a16="http://schemas.microsoft.com/office/drawing/2014/main" id="{B0E56790-1126-4687-B135-CF1E9F57FA18}"/>
                  </a:ext>
                </a:extLst>
              </p:cNvPr>
              <p:cNvSpPr>
                <a:spLocks noChangeAspect="1"/>
              </p:cNvSpPr>
              <p:nvPr/>
            </p:nvSpPr>
            <p:spPr bwMode="auto">
              <a:xfrm>
                <a:off x="6280718" y="1557278"/>
                <a:ext cx="329622" cy="329623"/>
              </a:xfrm>
              <a:custGeom>
                <a:avLst/>
                <a:gdLst>
                  <a:gd name="connsiteX0" fmla="*/ 1078302 w 1371600"/>
                  <a:gd name="connsiteY0" fmla="*/ 352791 h 1371600"/>
                  <a:gd name="connsiteX1" fmla="*/ 556967 w 1371600"/>
                  <a:gd name="connsiteY1" fmla="*/ 856238 h 1371600"/>
                  <a:gd name="connsiteX2" fmla="*/ 297534 w 1371600"/>
                  <a:gd name="connsiteY2" fmla="*/ 587588 h 1371600"/>
                  <a:gd name="connsiteX3" fmla="*/ 209258 w 1371600"/>
                  <a:gd name="connsiteY3" fmla="*/ 672836 h 1371600"/>
                  <a:gd name="connsiteX4" fmla="*/ 550630 w 1371600"/>
                  <a:gd name="connsiteY4" fmla="*/ 1026337 h 1371600"/>
                  <a:gd name="connsiteX5" fmla="*/ 1160242 w 1371600"/>
                  <a:gd name="connsiteY5" fmla="*/ 437642 h 1371600"/>
                  <a:gd name="connsiteX6" fmla="*/ 1170734 w 1371600"/>
                  <a:gd name="connsiteY6" fmla="*/ 200866 h 1371600"/>
                  <a:gd name="connsiteX7" fmla="*/ 1371600 w 1371600"/>
                  <a:gd name="connsiteY7" fmla="*/ 685800 h 1371600"/>
                  <a:gd name="connsiteX8" fmla="*/ 685800 w 1371600"/>
                  <a:gd name="connsiteY8" fmla="*/ 1371600 h 1371600"/>
                  <a:gd name="connsiteX9" fmla="*/ 0 w 1371600"/>
                  <a:gd name="connsiteY9" fmla="*/ 685800 h 1371600"/>
                  <a:gd name="connsiteX10" fmla="*/ 685800 w 1371600"/>
                  <a:gd name="connsiteY10" fmla="*/ 0 h 1371600"/>
                  <a:gd name="connsiteX11" fmla="*/ 1170734 w 1371600"/>
                  <a:gd name="connsiteY11" fmla="*/ 200866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71600" h="1371600">
                    <a:moveTo>
                      <a:pt x="1078302" y="352791"/>
                    </a:moveTo>
                    <a:lnTo>
                      <a:pt x="556967" y="856238"/>
                    </a:lnTo>
                    <a:lnTo>
                      <a:pt x="297534" y="587588"/>
                    </a:lnTo>
                    <a:lnTo>
                      <a:pt x="209258" y="672836"/>
                    </a:lnTo>
                    <a:lnTo>
                      <a:pt x="550630" y="1026337"/>
                    </a:lnTo>
                    <a:lnTo>
                      <a:pt x="1160242" y="437642"/>
                    </a:lnTo>
                    <a:close/>
                    <a:moveTo>
                      <a:pt x="1170734" y="200866"/>
                    </a:moveTo>
                    <a:cubicBezTo>
                      <a:pt x="1294839" y="324972"/>
                      <a:pt x="1371600" y="496422"/>
                      <a:pt x="1371600" y="685800"/>
                    </a:cubicBezTo>
                    <a:cubicBezTo>
                      <a:pt x="1371600" y="1064557"/>
                      <a:pt x="1064557" y="1371600"/>
                      <a:pt x="685800" y="1371600"/>
                    </a:cubicBezTo>
                    <a:cubicBezTo>
                      <a:pt x="307043" y="1371600"/>
                      <a:pt x="0" y="1064557"/>
                      <a:pt x="0" y="685800"/>
                    </a:cubicBezTo>
                    <a:cubicBezTo>
                      <a:pt x="0" y="307043"/>
                      <a:pt x="307043" y="0"/>
                      <a:pt x="685800" y="0"/>
                    </a:cubicBezTo>
                    <a:cubicBezTo>
                      <a:pt x="875178" y="0"/>
                      <a:pt x="1046629" y="76761"/>
                      <a:pt x="1170734" y="200866"/>
                    </a:cubicBezTo>
                    <a:close/>
                  </a:path>
                </a:pathLst>
              </a:custGeom>
              <a:no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942" eaLnBrk="1" hangingPunct="1">
                  <a:lnSpc>
                    <a:spcPct val="90000"/>
                  </a:lnSpc>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58" name="Freeform: Shape 357">
              <a:extLst>
                <a:ext uri="{FF2B5EF4-FFF2-40B4-BE49-F238E27FC236}">
                  <a16:creationId xmlns:a16="http://schemas.microsoft.com/office/drawing/2014/main" id="{FBD4FCED-1DE2-4F9A-AD66-C0331D4A3482}"/>
                </a:ext>
              </a:extLst>
            </p:cNvPr>
            <p:cNvSpPr>
              <a:spLocks noChangeAspect="1"/>
            </p:cNvSpPr>
            <p:nvPr/>
          </p:nvSpPr>
          <p:spPr bwMode="auto">
            <a:xfrm>
              <a:off x="8801335" y="946894"/>
              <a:ext cx="320039" cy="320040"/>
            </a:xfrm>
            <a:custGeom>
              <a:avLst/>
              <a:gdLst>
                <a:gd name="connsiteX0" fmla="*/ 368104 w 1250088"/>
                <a:gd name="connsiteY0" fmla="*/ 281747 h 1250088"/>
                <a:gd name="connsiteX1" fmla="*/ 281747 w 1250088"/>
                <a:gd name="connsiteY1" fmla="*/ 368104 h 1250088"/>
                <a:gd name="connsiteX2" fmla="*/ 538687 w 1250088"/>
                <a:gd name="connsiteY2" fmla="*/ 625044 h 1250088"/>
                <a:gd name="connsiteX3" fmla="*/ 281747 w 1250088"/>
                <a:gd name="connsiteY3" fmla="*/ 881984 h 1250088"/>
                <a:gd name="connsiteX4" fmla="*/ 368104 w 1250088"/>
                <a:gd name="connsiteY4" fmla="*/ 968341 h 1250088"/>
                <a:gd name="connsiteX5" fmla="*/ 625044 w 1250088"/>
                <a:gd name="connsiteY5" fmla="*/ 711401 h 1250088"/>
                <a:gd name="connsiteX6" fmla="*/ 881984 w 1250088"/>
                <a:gd name="connsiteY6" fmla="*/ 968341 h 1250088"/>
                <a:gd name="connsiteX7" fmla="*/ 968341 w 1250088"/>
                <a:gd name="connsiteY7" fmla="*/ 881984 h 1250088"/>
                <a:gd name="connsiteX8" fmla="*/ 711401 w 1250088"/>
                <a:gd name="connsiteY8" fmla="*/ 625044 h 1250088"/>
                <a:gd name="connsiteX9" fmla="*/ 968341 w 1250088"/>
                <a:gd name="connsiteY9" fmla="*/ 368104 h 1250088"/>
                <a:gd name="connsiteX10" fmla="*/ 881984 w 1250088"/>
                <a:gd name="connsiteY10" fmla="*/ 281747 h 1250088"/>
                <a:gd name="connsiteX11" fmla="*/ 625044 w 1250088"/>
                <a:gd name="connsiteY11" fmla="*/ 538687 h 1250088"/>
                <a:gd name="connsiteX12" fmla="*/ 625044 w 1250088"/>
                <a:gd name="connsiteY12" fmla="*/ 0 h 1250088"/>
                <a:gd name="connsiteX13" fmla="*/ 1250088 w 1250088"/>
                <a:gd name="connsiteY13" fmla="*/ 625044 h 1250088"/>
                <a:gd name="connsiteX14" fmla="*/ 625044 w 1250088"/>
                <a:gd name="connsiteY14" fmla="*/ 1250088 h 1250088"/>
                <a:gd name="connsiteX15" fmla="*/ 0 w 1250088"/>
                <a:gd name="connsiteY15" fmla="*/ 625044 h 1250088"/>
                <a:gd name="connsiteX16" fmla="*/ 625044 w 1250088"/>
                <a:gd name="connsiteY16" fmla="*/ 0 h 12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88" h="1250088">
                  <a:moveTo>
                    <a:pt x="368104" y="281747"/>
                  </a:moveTo>
                  <a:lnTo>
                    <a:pt x="281747" y="368104"/>
                  </a:lnTo>
                  <a:lnTo>
                    <a:pt x="538687" y="625044"/>
                  </a:lnTo>
                  <a:lnTo>
                    <a:pt x="281747" y="881984"/>
                  </a:lnTo>
                  <a:lnTo>
                    <a:pt x="368104" y="968341"/>
                  </a:lnTo>
                  <a:lnTo>
                    <a:pt x="625044" y="711401"/>
                  </a:lnTo>
                  <a:lnTo>
                    <a:pt x="881984" y="968341"/>
                  </a:lnTo>
                  <a:lnTo>
                    <a:pt x="968341" y="881984"/>
                  </a:lnTo>
                  <a:lnTo>
                    <a:pt x="711401" y="625044"/>
                  </a:lnTo>
                  <a:lnTo>
                    <a:pt x="968341" y="368104"/>
                  </a:lnTo>
                  <a:lnTo>
                    <a:pt x="881984" y="281747"/>
                  </a:lnTo>
                  <a:lnTo>
                    <a:pt x="625044" y="538687"/>
                  </a:lnTo>
                  <a:close/>
                  <a:moveTo>
                    <a:pt x="625044" y="0"/>
                  </a:moveTo>
                  <a:cubicBezTo>
                    <a:pt x="970246" y="0"/>
                    <a:pt x="1250088" y="279842"/>
                    <a:pt x="1250088" y="625044"/>
                  </a:cubicBezTo>
                  <a:cubicBezTo>
                    <a:pt x="1250088" y="970246"/>
                    <a:pt x="970246" y="1250088"/>
                    <a:pt x="625044" y="1250088"/>
                  </a:cubicBezTo>
                  <a:cubicBezTo>
                    <a:pt x="279842" y="1250088"/>
                    <a:pt x="0" y="970246"/>
                    <a:pt x="0" y="625044"/>
                  </a:cubicBezTo>
                  <a:cubicBezTo>
                    <a:pt x="0" y="279842"/>
                    <a:pt x="279842" y="0"/>
                    <a:pt x="625044" y="0"/>
                  </a:cubicBezTo>
                  <a:close/>
                </a:path>
              </a:pathLst>
            </a:custGeom>
            <a:solidFill>
              <a:srgbClr val="0078D7"/>
            </a:solidFill>
            <a:ln w="12700" cap="flat" cmpd="sng" algn="ctr">
              <a:solidFill>
                <a:srgbClr val="FFFFFF"/>
              </a:solid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942" eaLnBrk="1" hangingPunct="1">
                <a:lnSpc>
                  <a:spcPct val="90000"/>
                </a:lnSpc>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2" name="Group 221">
            <a:extLst>
              <a:ext uri="{FF2B5EF4-FFF2-40B4-BE49-F238E27FC236}">
                <a16:creationId xmlns:a16="http://schemas.microsoft.com/office/drawing/2014/main" id="{8B2C76F3-E722-4632-855B-0C72CCDEEB84}"/>
              </a:ext>
            </a:extLst>
          </p:cNvPr>
          <p:cNvGrpSpPr/>
          <p:nvPr/>
        </p:nvGrpSpPr>
        <p:grpSpPr>
          <a:xfrm>
            <a:off x="171213" y="3297882"/>
            <a:ext cx="1028554" cy="773823"/>
            <a:chOff x="227451" y="4117110"/>
            <a:chExt cx="1371600" cy="1031910"/>
          </a:xfrm>
        </p:grpSpPr>
        <p:sp>
          <p:nvSpPr>
            <p:cNvPr id="223" name="Rectangle 222">
              <a:extLst>
                <a:ext uri="{FF2B5EF4-FFF2-40B4-BE49-F238E27FC236}">
                  <a16:creationId xmlns:a16="http://schemas.microsoft.com/office/drawing/2014/main" id="{67034AE7-03D1-460F-94EF-9A0FA7DA95DE}"/>
                </a:ext>
              </a:extLst>
            </p:cNvPr>
            <p:cNvSpPr/>
            <p:nvPr/>
          </p:nvSpPr>
          <p:spPr bwMode="auto">
            <a:xfrm flipH="1">
              <a:off x="227451" y="4117110"/>
              <a:ext cx="1371600" cy="1031910"/>
            </a:xfrm>
            <a:prstGeom prst="rect">
              <a:avLst/>
            </a:prstGeom>
            <a:solidFill>
              <a:schemeClr val="bg1"/>
            </a:solidFill>
            <a:ln w="19050" cap="sq"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302456" tIns="107540" rIns="0" bIns="107540" numCol="1" spcCol="0" rtlCol="0" fromWordArt="0" anchor="ctr" anchorCtr="0" forceAA="0" compatLnSpc="1">
              <a:prstTxWarp prst="textNoShape">
                <a:avLst/>
              </a:prstTxWarp>
              <a:noAutofit/>
            </a:bodyPr>
            <a:lstStyle/>
            <a:p>
              <a:pPr defTabSz="685313" eaLnBrk="1" hangingPunct="1">
                <a:lnSpc>
                  <a:spcPct val="90000"/>
                </a:lnSpc>
                <a:defRPr/>
              </a:pPr>
              <a:endParaRPr lang="en-US" sz="1175" kern="0" spc="-37">
                <a:solidFill>
                  <a:srgbClr val="353535"/>
                </a:solidFill>
                <a:latin typeface="Segoe UI Semilight"/>
                <a:ea typeface="Segoe UI" panose="020B0502040204020203" pitchFamily="34" charset="0"/>
                <a:cs typeface="Segoe UI" panose="020B0502040204020203" pitchFamily="34" charset="0"/>
              </a:endParaRPr>
            </a:p>
          </p:txBody>
        </p:sp>
        <p:sp>
          <p:nvSpPr>
            <p:cNvPr id="224" name="TextBox 223">
              <a:extLst>
                <a:ext uri="{FF2B5EF4-FFF2-40B4-BE49-F238E27FC236}">
                  <a16:creationId xmlns:a16="http://schemas.microsoft.com/office/drawing/2014/main" id="{E4188EE5-DAD3-4F99-8140-78BCB61BF0EB}"/>
                </a:ext>
              </a:extLst>
            </p:cNvPr>
            <p:cNvSpPr txBox="1"/>
            <p:nvPr/>
          </p:nvSpPr>
          <p:spPr>
            <a:xfrm>
              <a:off x="601153" y="4694956"/>
              <a:ext cx="675659" cy="304742"/>
            </a:xfrm>
            <a:prstGeom prst="rect">
              <a:avLst/>
            </a:prstGeom>
          </p:spPr>
          <p:txBody>
            <a:bodyPr wrap="none" lIns="34285" tIns="0" rIns="0" bIns="0" anchor="ctr">
              <a:spAutoFit/>
            </a:bodyPr>
            <a:lstStyle>
              <a:defPPr>
                <a:defRPr lang="en-US"/>
              </a:defPPr>
              <a:lvl1pPr defTabSz="878391">
                <a:lnSpc>
                  <a:spcPct val="90000"/>
                </a:lnSpc>
                <a:defRPr sz="1100" kern="100">
                  <a:solidFill>
                    <a:srgbClr val="353535"/>
                  </a:solidFill>
                  <a:latin typeface="Segoe UI"/>
                  <a:ea typeface="ＭＳ Ｐゴシック" charset="0"/>
                </a:defRPr>
              </a:lvl1pPr>
            </a:lstStyle>
            <a:p>
              <a:pPr defTabSz="658793" eaLnBrk="1" fontAlgn="auto" hangingPunct="1">
                <a:spcBef>
                  <a:spcPts val="0"/>
                </a:spcBef>
                <a:spcAft>
                  <a:spcPts val="0"/>
                </a:spcAft>
                <a:defRPr/>
              </a:pPr>
              <a:r>
                <a:rPr lang="en-US" sz="825"/>
                <a:t>Corporate</a:t>
              </a:r>
              <a:br>
                <a:rPr lang="en-US" sz="825"/>
              </a:br>
              <a:r>
                <a:rPr lang="en-US" sz="825"/>
                <a:t>Network</a:t>
              </a:r>
            </a:p>
          </p:txBody>
        </p:sp>
        <p:sp>
          <p:nvSpPr>
            <p:cNvPr id="225" name="TextBox 224">
              <a:extLst>
                <a:ext uri="{FF2B5EF4-FFF2-40B4-BE49-F238E27FC236}">
                  <a16:creationId xmlns:a16="http://schemas.microsoft.com/office/drawing/2014/main" id="{9B0EAA76-3148-4662-88D6-DCEB53456414}"/>
                </a:ext>
              </a:extLst>
            </p:cNvPr>
            <p:cNvSpPr txBox="1"/>
            <p:nvPr/>
          </p:nvSpPr>
          <p:spPr>
            <a:xfrm>
              <a:off x="601153" y="4298616"/>
              <a:ext cx="854195" cy="152371"/>
            </a:xfrm>
            <a:prstGeom prst="rect">
              <a:avLst/>
            </a:prstGeom>
          </p:spPr>
          <p:txBody>
            <a:bodyPr wrap="none" lIns="34285" tIns="0" rIns="0" bIns="0" anchor="ctr">
              <a:spAutoFit/>
            </a:bodyPr>
            <a:lstStyle>
              <a:defPPr>
                <a:defRPr lang="en-US"/>
              </a:defPPr>
              <a:lvl1pPr defTabSz="878391">
                <a:lnSpc>
                  <a:spcPct val="90000"/>
                </a:lnSpc>
                <a:defRPr sz="1100" kern="100">
                  <a:solidFill>
                    <a:srgbClr val="353535"/>
                  </a:solidFill>
                  <a:latin typeface="Segoe UI"/>
                  <a:ea typeface="ＭＳ Ｐゴシック" charset="0"/>
                </a:defRPr>
              </a:lvl1pPr>
            </a:lstStyle>
            <a:p>
              <a:pPr defTabSz="658793" eaLnBrk="1" fontAlgn="auto" hangingPunct="1">
                <a:spcBef>
                  <a:spcPts val="0"/>
                </a:spcBef>
                <a:spcAft>
                  <a:spcPts val="0"/>
                </a:spcAft>
                <a:defRPr/>
              </a:pPr>
              <a:r>
                <a:rPr lang="en-US" sz="825"/>
                <a:t>Geo-location</a:t>
              </a:r>
            </a:p>
          </p:txBody>
        </p:sp>
        <p:sp>
          <p:nvSpPr>
            <p:cNvPr id="226" name="globe_4">
              <a:extLst>
                <a:ext uri="{FF2B5EF4-FFF2-40B4-BE49-F238E27FC236}">
                  <a16:creationId xmlns:a16="http://schemas.microsoft.com/office/drawing/2014/main" id="{17344FA2-12F8-40F3-A8AC-757C6931A8C4}"/>
                </a:ext>
              </a:extLst>
            </p:cNvPr>
            <p:cNvSpPr>
              <a:spLocks noChangeAspect="1" noEditPoints="1"/>
            </p:cNvSpPr>
            <p:nvPr/>
          </p:nvSpPr>
          <p:spPr bwMode="auto">
            <a:xfrm>
              <a:off x="318790" y="4240201"/>
              <a:ext cx="258210" cy="259088"/>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13" tIns="33606" rIns="67213" bIns="33606" numCol="1" anchor="t" anchorCtr="0" compatLnSpc="1">
              <a:prstTxWarp prst="textNoShape">
                <a:avLst/>
              </a:prstTxWarp>
            </a:bodyPr>
            <a:lstStyle/>
            <a:p>
              <a:pPr defTabSz="685472" eaLnBrk="1" fontAlgn="auto" hangingPunct="1">
                <a:spcBef>
                  <a:spcPts val="0"/>
                </a:spcBef>
                <a:spcAft>
                  <a:spcPts val="0"/>
                </a:spcAft>
                <a:defRPr/>
              </a:pPr>
              <a:endParaRPr lang="en-US" sz="662">
                <a:gradFill>
                  <a:gsLst>
                    <a:gs pos="0">
                      <a:srgbClr val="505050"/>
                    </a:gs>
                    <a:gs pos="100000">
                      <a:srgbClr val="505050"/>
                    </a:gs>
                  </a:gsLst>
                  <a:lin ang="5400000" scaled="1"/>
                </a:gradFill>
                <a:latin typeface="Segoe UI"/>
              </a:endParaRPr>
            </a:p>
          </p:txBody>
        </p:sp>
        <p:pic>
          <p:nvPicPr>
            <p:cNvPr id="227" name="Picture 226" descr="A drawing of a cartoon character&#10;&#10;Description generated with high confidence">
              <a:extLst>
                <a:ext uri="{FF2B5EF4-FFF2-40B4-BE49-F238E27FC236}">
                  <a16:creationId xmlns:a16="http://schemas.microsoft.com/office/drawing/2014/main" id="{22FCECF8-94FD-415C-A0DB-F5443ABBEEE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93888" y="4683523"/>
              <a:ext cx="308014" cy="308014"/>
            </a:xfrm>
            <a:prstGeom prst="rect">
              <a:avLst/>
            </a:prstGeom>
          </p:spPr>
        </p:pic>
      </p:grpSp>
      <p:grpSp>
        <p:nvGrpSpPr>
          <p:cNvPr id="229" name="Group 228">
            <a:extLst>
              <a:ext uri="{FF2B5EF4-FFF2-40B4-BE49-F238E27FC236}">
                <a16:creationId xmlns:a16="http://schemas.microsoft.com/office/drawing/2014/main" id="{AAC94633-0A93-4BE0-991B-54C202FC7121}"/>
              </a:ext>
            </a:extLst>
          </p:cNvPr>
          <p:cNvGrpSpPr/>
          <p:nvPr/>
        </p:nvGrpSpPr>
        <p:grpSpPr>
          <a:xfrm>
            <a:off x="7643712" y="2366642"/>
            <a:ext cx="1199980" cy="1190894"/>
            <a:chOff x="10192198" y="2810690"/>
            <a:chExt cx="1600200" cy="1588084"/>
          </a:xfrm>
        </p:grpSpPr>
        <p:sp>
          <p:nvSpPr>
            <p:cNvPr id="230" name="Freeform 38">
              <a:extLst>
                <a:ext uri="{FF2B5EF4-FFF2-40B4-BE49-F238E27FC236}">
                  <a16:creationId xmlns:a16="http://schemas.microsoft.com/office/drawing/2014/main" id="{EF740F11-2386-4690-AE49-32D7066E8D38}"/>
                </a:ext>
              </a:extLst>
            </p:cNvPr>
            <p:cNvSpPr>
              <a:spLocks/>
            </p:cNvSpPr>
            <p:nvPr/>
          </p:nvSpPr>
          <p:spPr bwMode="auto">
            <a:xfrm>
              <a:off x="10310518" y="2810690"/>
              <a:ext cx="1392531" cy="91566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blipFill>
              <a:blip r:embed="rId4" cstate="print">
                <a:extLst>
                  <a:ext uri="{28A0092B-C50C-407E-A947-70E740481C1C}">
                    <a14:useLocalDpi xmlns:a14="http://schemas.microsoft.com/office/drawing/2010/main"/>
                  </a:ext>
                </a:extLst>
              </a:blip>
              <a:stretch>
                <a:fillRect/>
              </a:stretch>
            </a:blipFill>
            <a:ln w="9525">
              <a:solidFill>
                <a:schemeClr val="bg2">
                  <a:lumMod val="75000"/>
                </a:schemeClr>
              </a:solidFill>
            </a:ln>
          </p:spPr>
          <p:txBody>
            <a:bodyPr vert="horz" wrap="square" lIns="68551" tIns="34275" rIns="68551" bIns="34275" numCol="1" anchor="t" anchorCtr="0" compatLnSpc="1">
              <a:prstTxWarp prst="textNoShape">
                <a:avLst/>
              </a:prstTxWarp>
            </a:bodyPr>
            <a:lstStyle/>
            <a:p>
              <a:pPr defTabSz="685406" eaLnBrk="1" fontAlgn="auto" hangingPunct="1">
                <a:spcBef>
                  <a:spcPts val="0"/>
                </a:spcBef>
                <a:spcAft>
                  <a:spcPts val="0"/>
                </a:spcAft>
                <a:defRPr/>
              </a:pPr>
              <a:endParaRPr lang="en-US" sz="1324" kern="0">
                <a:solidFill>
                  <a:srgbClr val="505050"/>
                </a:solidFill>
                <a:latin typeface="Segoe UI"/>
              </a:endParaRPr>
            </a:p>
          </p:txBody>
        </p:sp>
        <p:sp>
          <p:nvSpPr>
            <p:cNvPr id="231" name="Rectangle 230">
              <a:extLst>
                <a:ext uri="{FF2B5EF4-FFF2-40B4-BE49-F238E27FC236}">
                  <a16:creationId xmlns:a16="http://schemas.microsoft.com/office/drawing/2014/main" id="{21EBCD3D-77BE-4D5B-8224-A4B68BD23DA6}"/>
                </a:ext>
              </a:extLst>
            </p:cNvPr>
            <p:cNvSpPr/>
            <p:nvPr/>
          </p:nvSpPr>
          <p:spPr>
            <a:xfrm>
              <a:off x="10192198" y="3783133"/>
              <a:ext cx="1600200" cy="615641"/>
            </a:xfrm>
            <a:prstGeom prst="rect">
              <a:avLst/>
            </a:prstGeom>
          </p:spPr>
          <p:txBody>
            <a:bodyPr wrap="square">
              <a:spAutoFit/>
            </a:bodyPr>
            <a:lstStyle/>
            <a:p>
              <a:pPr algn="ctr" defTabSz="685775" eaLnBrk="1" fontAlgn="auto" hangingPunct="1">
                <a:spcBef>
                  <a:spcPts val="0"/>
                </a:spcBef>
                <a:spcAft>
                  <a:spcPts val="0"/>
                </a:spcAft>
                <a:defRPr/>
              </a:pPr>
              <a:r>
                <a:rPr lang="en-US" sz="1200" spc="-38">
                  <a:ln w="3175">
                    <a:noFill/>
                  </a:ln>
                  <a:gradFill>
                    <a:gsLst>
                      <a:gs pos="1250">
                        <a:srgbClr val="1A1A1A"/>
                      </a:gs>
                      <a:gs pos="100000">
                        <a:srgbClr val="1A1A1A"/>
                      </a:gs>
                    </a:gsLst>
                    <a:lin ang="5400000" scaled="0"/>
                  </a:gradFill>
                  <a:latin typeface="Segoe UI"/>
                  <a:cs typeface="Segoe UI" pitchFamily="34" charset="0"/>
                </a:rPr>
                <a:t>Cloud SaaS apps</a:t>
              </a:r>
              <a:endParaRPr lang="en-US" sz="750">
                <a:solidFill>
                  <a:srgbClr val="000000"/>
                </a:solidFill>
                <a:latin typeface="Segoe UI"/>
              </a:endParaRPr>
            </a:p>
          </p:txBody>
        </p:sp>
      </p:grpSp>
      <p:grpSp>
        <p:nvGrpSpPr>
          <p:cNvPr id="232" name="Group 231">
            <a:extLst>
              <a:ext uri="{FF2B5EF4-FFF2-40B4-BE49-F238E27FC236}">
                <a16:creationId xmlns:a16="http://schemas.microsoft.com/office/drawing/2014/main" id="{16817E3F-34D9-44B8-BDC9-BE0C0EAF8E3E}"/>
              </a:ext>
            </a:extLst>
          </p:cNvPr>
          <p:cNvGrpSpPr/>
          <p:nvPr/>
        </p:nvGrpSpPr>
        <p:grpSpPr>
          <a:xfrm>
            <a:off x="7084571" y="3818333"/>
            <a:ext cx="2256935" cy="997961"/>
            <a:chOff x="9465619" y="4868079"/>
            <a:chExt cx="3009675" cy="1330803"/>
          </a:xfrm>
        </p:grpSpPr>
        <p:grpSp>
          <p:nvGrpSpPr>
            <p:cNvPr id="233" name="Group 232">
              <a:extLst>
                <a:ext uri="{FF2B5EF4-FFF2-40B4-BE49-F238E27FC236}">
                  <a16:creationId xmlns:a16="http://schemas.microsoft.com/office/drawing/2014/main" id="{FD8C7E42-0E3D-45B1-A993-2C990515660E}"/>
                </a:ext>
              </a:extLst>
            </p:cNvPr>
            <p:cNvGrpSpPr/>
            <p:nvPr/>
          </p:nvGrpSpPr>
          <p:grpSpPr>
            <a:xfrm>
              <a:off x="10221204" y="4868079"/>
              <a:ext cx="1491388" cy="1042782"/>
              <a:chOff x="7467600" y="4990305"/>
              <a:chExt cx="2214565" cy="1548429"/>
            </a:xfrm>
          </p:grpSpPr>
          <p:sp>
            <p:nvSpPr>
              <p:cNvPr id="235" name="Oval 234">
                <a:extLst>
                  <a:ext uri="{FF2B5EF4-FFF2-40B4-BE49-F238E27FC236}">
                    <a16:creationId xmlns:a16="http://schemas.microsoft.com/office/drawing/2014/main" id="{5F787E0F-39A8-437A-A0F1-460DA99FFC64}"/>
                  </a:ext>
                </a:extLst>
              </p:cNvPr>
              <p:cNvSpPr/>
              <p:nvPr/>
            </p:nvSpPr>
            <p:spPr bwMode="auto">
              <a:xfrm>
                <a:off x="8133736" y="4990305"/>
                <a:ext cx="1548429" cy="1548429"/>
              </a:xfrm>
              <a:prstGeom prst="ellipse">
                <a:avLst/>
              </a:prstGeom>
              <a:solidFill>
                <a:schemeClr val="bg1"/>
              </a:solidFill>
              <a:ln w="9525" cap="sq">
                <a:solidFill>
                  <a:schemeClr val="bg2">
                    <a:lumMod val="75000"/>
                  </a:schemeClr>
                </a:solidFill>
                <a:prstDash val="solid"/>
                <a:miter lim="800000"/>
                <a:headEnd/>
                <a:tailEnd/>
              </a:ln>
            </p:spPr>
            <p:txBody>
              <a:bodyPr vert="horz" wrap="square" lIns="68570" tIns="34285" rIns="68570" bIns="34285" numCol="1" anchor="t" anchorCtr="0" compatLnSpc="1">
                <a:prstTxWarp prst="textNoShape">
                  <a:avLst/>
                </a:prstTxWarp>
              </a:bodyPr>
              <a:lstStyle/>
              <a:p>
                <a:pPr defTabSz="685775" eaLnBrk="1" fontAlgn="auto" hangingPunct="1">
                  <a:spcBef>
                    <a:spcPts val="0"/>
                  </a:spcBef>
                  <a:spcAft>
                    <a:spcPts val="0"/>
                  </a:spcAft>
                  <a:defRPr/>
                </a:pPr>
                <a:endParaRPr lang="en-US" sz="1377">
                  <a:gradFill>
                    <a:gsLst>
                      <a:gs pos="0">
                        <a:srgbClr val="505050"/>
                      </a:gs>
                      <a:gs pos="100000">
                        <a:srgbClr val="505050"/>
                      </a:gs>
                    </a:gsLst>
                  </a:gradFill>
                  <a:latin typeface="Segoe UI"/>
                </a:endParaRPr>
              </a:p>
            </p:txBody>
          </p:sp>
          <p:grpSp>
            <p:nvGrpSpPr>
              <p:cNvPr id="236" name="Group 235">
                <a:extLst>
                  <a:ext uri="{FF2B5EF4-FFF2-40B4-BE49-F238E27FC236}">
                    <a16:creationId xmlns:a16="http://schemas.microsoft.com/office/drawing/2014/main" id="{7BB8707F-AE81-4F59-B5F0-C327B3198478}"/>
                  </a:ext>
                </a:extLst>
              </p:cNvPr>
              <p:cNvGrpSpPr/>
              <p:nvPr/>
            </p:nvGrpSpPr>
            <p:grpSpPr>
              <a:xfrm>
                <a:off x="8580166" y="5347140"/>
                <a:ext cx="894919" cy="752296"/>
                <a:chOff x="8554412" y="5299068"/>
                <a:chExt cx="894919" cy="752296"/>
              </a:xfrm>
            </p:grpSpPr>
            <p:sp>
              <p:nvSpPr>
                <p:cNvPr id="266" name="Browser_2" title="Icon of a browser window with a home symbol inside">
                  <a:extLst>
                    <a:ext uri="{FF2B5EF4-FFF2-40B4-BE49-F238E27FC236}">
                      <a16:creationId xmlns:a16="http://schemas.microsoft.com/office/drawing/2014/main" id="{3B069DE6-7E8C-484B-9A88-ADC70BB38ABE}"/>
                    </a:ext>
                  </a:extLst>
                </p:cNvPr>
                <p:cNvSpPr>
                  <a:spLocks noChangeAspect="1" noEditPoints="1"/>
                </p:cNvSpPr>
                <p:nvPr/>
              </p:nvSpPr>
              <p:spPr bwMode="auto">
                <a:xfrm>
                  <a:off x="9071755" y="5443515"/>
                  <a:ext cx="377576" cy="321004"/>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95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85775" eaLnBrk="1" fontAlgn="auto" hangingPunct="1">
                    <a:spcBef>
                      <a:spcPts val="0"/>
                    </a:spcBef>
                    <a:spcAft>
                      <a:spcPts val="0"/>
                    </a:spcAft>
                    <a:defRPr/>
                  </a:pPr>
                  <a:endParaRPr lang="en-US" sz="1377">
                    <a:solidFill>
                      <a:srgbClr val="000000"/>
                    </a:solidFill>
                    <a:latin typeface="Segoe UI"/>
                  </a:endParaRPr>
                </a:p>
              </p:txBody>
            </p:sp>
            <p:sp>
              <p:nvSpPr>
                <p:cNvPr id="267" name="GenericApp_EB3B" title="Icon of an app window">
                  <a:extLst>
                    <a:ext uri="{FF2B5EF4-FFF2-40B4-BE49-F238E27FC236}">
                      <a16:creationId xmlns:a16="http://schemas.microsoft.com/office/drawing/2014/main" id="{F12A124B-6A5C-41F3-B5F7-34AF389A1194}"/>
                    </a:ext>
                  </a:extLst>
                </p:cNvPr>
                <p:cNvSpPr>
                  <a:spLocks noChangeAspect="1" noEditPoints="1"/>
                </p:cNvSpPr>
                <p:nvPr/>
              </p:nvSpPr>
              <p:spPr bwMode="auto">
                <a:xfrm>
                  <a:off x="8554412" y="5299068"/>
                  <a:ext cx="401098" cy="321004"/>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95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85775" eaLnBrk="1" fontAlgn="auto" hangingPunct="1">
                    <a:spcBef>
                      <a:spcPts val="0"/>
                    </a:spcBef>
                    <a:spcAft>
                      <a:spcPts val="0"/>
                    </a:spcAft>
                    <a:defRPr/>
                  </a:pPr>
                  <a:endParaRPr lang="en-US" sz="1377">
                    <a:solidFill>
                      <a:srgbClr val="000000"/>
                    </a:solidFill>
                    <a:latin typeface="Segoe UI"/>
                  </a:endParaRPr>
                </a:p>
              </p:txBody>
            </p:sp>
            <p:sp>
              <p:nvSpPr>
                <p:cNvPr id="268" name="Website" title="Icon of multiple app windows">
                  <a:extLst>
                    <a:ext uri="{FF2B5EF4-FFF2-40B4-BE49-F238E27FC236}">
                      <a16:creationId xmlns:a16="http://schemas.microsoft.com/office/drawing/2014/main" id="{7310457B-21E6-445B-B423-65C87D1CEDCA}"/>
                    </a:ext>
                  </a:extLst>
                </p:cNvPr>
                <p:cNvSpPr>
                  <a:spLocks noChangeAspect="1" noEditPoints="1"/>
                </p:cNvSpPr>
                <p:nvPr/>
              </p:nvSpPr>
              <p:spPr bwMode="auto">
                <a:xfrm>
                  <a:off x="8623010" y="5730360"/>
                  <a:ext cx="366352" cy="321004"/>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95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85775" eaLnBrk="1" fontAlgn="auto" hangingPunct="1">
                    <a:spcBef>
                      <a:spcPts val="0"/>
                    </a:spcBef>
                    <a:spcAft>
                      <a:spcPts val="0"/>
                    </a:spcAft>
                    <a:defRPr/>
                  </a:pPr>
                  <a:endParaRPr lang="en-US" sz="1377">
                    <a:solidFill>
                      <a:srgbClr val="000000"/>
                    </a:solidFill>
                    <a:latin typeface="Segoe UI"/>
                  </a:endParaRPr>
                </a:p>
              </p:txBody>
            </p:sp>
          </p:grpSp>
          <p:grpSp>
            <p:nvGrpSpPr>
              <p:cNvPr id="237" name="Group 207">
                <a:extLst>
                  <a:ext uri="{FF2B5EF4-FFF2-40B4-BE49-F238E27FC236}">
                    <a16:creationId xmlns:a16="http://schemas.microsoft.com/office/drawing/2014/main" id="{F07221EC-39DD-4C11-A3AB-9BA2E8217074}"/>
                  </a:ext>
                </a:extLst>
              </p:cNvPr>
              <p:cNvGrpSpPr>
                <a:grpSpLocks noChangeAspect="1"/>
              </p:cNvGrpSpPr>
              <p:nvPr/>
            </p:nvGrpSpPr>
            <p:grpSpPr bwMode="auto">
              <a:xfrm>
                <a:off x="7467600" y="5496188"/>
                <a:ext cx="1071415" cy="1042546"/>
                <a:chOff x="3750" y="2040"/>
                <a:chExt cx="334" cy="325"/>
              </a:xfrm>
              <a:solidFill>
                <a:srgbClr val="0078D7"/>
              </a:solidFill>
            </p:grpSpPr>
            <p:sp>
              <p:nvSpPr>
                <p:cNvPr id="238" name="Rectangle 208">
                  <a:extLst>
                    <a:ext uri="{FF2B5EF4-FFF2-40B4-BE49-F238E27FC236}">
                      <a16:creationId xmlns:a16="http://schemas.microsoft.com/office/drawing/2014/main" id="{C9E68447-BC6A-4A70-B75E-6B7DF292F7EE}"/>
                    </a:ext>
                  </a:extLst>
                </p:cNvPr>
                <p:cNvSpPr>
                  <a:spLocks noChangeArrowheads="1"/>
                </p:cNvSpPr>
                <p:nvPr/>
              </p:nvSpPr>
              <p:spPr bwMode="auto">
                <a:xfrm>
                  <a:off x="3860" y="2071"/>
                  <a:ext cx="150" cy="294"/>
                </a:xfrm>
                <a:prstGeom prst="rect">
                  <a:avLst/>
                </a:prstGeom>
                <a:solidFill>
                  <a:srgbClr val="FFFFFF"/>
                </a:solidFill>
                <a:ln w="15875" cap="flat">
                  <a:solidFill>
                    <a:srgbClr val="0078D7"/>
                  </a:solidFill>
                  <a:prstDash val="solid"/>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39" name="Freeform 209">
                  <a:extLst>
                    <a:ext uri="{FF2B5EF4-FFF2-40B4-BE49-F238E27FC236}">
                      <a16:creationId xmlns:a16="http://schemas.microsoft.com/office/drawing/2014/main" id="{5FAB3B9C-479B-4F0A-A600-F5DB0DAC46DC}"/>
                    </a:ext>
                  </a:extLst>
                </p:cNvPr>
                <p:cNvSpPr>
                  <a:spLocks/>
                </p:cNvSpPr>
                <p:nvPr/>
              </p:nvSpPr>
              <p:spPr bwMode="auto">
                <a:xfrm>
                  <a:off x="3750" y="2146"/>
                  <a:ext cx="83" cy="219"/>
                </a:xfrm>
                <a:custGeom>
                  <a:avLst/>
                  <a:gdLst>
                    <a:gd name="T0" fmla="*/ 83 w 83"/>
                    <a:gd name="T1" fmla="*/ 219 h 219"/>
                    <a:gd name="T2" fmla="*/ 0 w 83"/>
                    <a:gd name="T3" fmla="*/ 219 h 219"/>
                    <a:gd name="T4" fmla="*/ 0 w 83"/>
                    <a:gd name="T5" fmla="*/ 0 h 219"/>
                    <a:gd name="T6" fmla="*/ 83 w 83"/>
                    <a:gd name="T7" fmla="*/ 0 h 219"/>
                  </a:gdLst>
                  <a:ahLst/>
                  <a:cxnLst>
                    <a:cxn ang="0">
                      <a:pos x="T0" y="T1"/>
                    </a:cxn>
                    <a:cxn ang="0">
                      <a:pos x="T2" y="T3"/>
                    </a:cxn>
                    <a:cxn ang="0">
                      <a:pos x="T4" y="T5"/>
                    </a:cxn>
                    <a:cxn ang="0">
                      <a:pos x="T6" y="T7"/>
                    </a:cxn>
                  </a:cxnLst>
                  <a:rect l="0" t="0" r="r" b="b"/>
                  <a:pathLst>
                    <a:path w="83" h="219">
                      <a:moveTo>
                        <a:pt x="83" y="219"/>
                      </a:moveTo>
                      <a:lnTo>
                        <a:pt x="0" y="219"/>
                      </a:lnTo>
                      <a:lnTo>
                        <a:pt x="0" y="0"/>
                      </a:lnTo>
                      <a:lnTo>
                        <a:pt x="83" y="0"/>
                      </a:lnTo>
                    </a:path>
                  </a:pathLst>
                </a:custGeom>
                <a:solidFill>
                  <a:srgbClr val="FFFFFF"/>
                </a:solidFill>
                <a:ln w="15875" cap="flat">
                  <a:solidFill>
                    <a:srgbClr val="0078D7"/>
                  </a:solidFill>
                  <a:prstDash val="solid"/>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40" name="Freeform 210">
                  <a:extLst>
                    <a:ext uri="{FF2B5EF4-FFF2-40B4-BE49-F238E27FC236}">
                      <a16:creationId xmlns:a16="http://schemas.microsoft.com/office/drawing/2014/main" id="{CA3D67B3-D104-4145-A83A-ECBA22A0FEF4}"/>
                    </a:ext>
                  </a:extLst>
                </p:cNvPr>
                <p:cNvSpPr>
                  <a:spLocks/>
                </p:cNvSpPr>
                <p:nvPr/>
              </p:nvSpPr>
              <p:spPr bwMode="auto">
                <a:xfrm>
                  <a:off x="4037" y="2224"/>
                  <a:ext cx="47" cy="141"/>
                </a:xfrm>
                <a:custGeom>
                  <a:avLst/>
                  <a:gdLst>
                    <a:gd name="T0" fmla="*/ 0 w 47"/>
                    <a:gd name="T1" fmla="*/ 141 h 141"/>
                    <a:gd name="T2" fmla="*/ 47 w 47"/>
                    <a:gd name="T3" fmla="*/ 141 h 141"/>
                    <a:gd name="T4" fmla="*/ 47 w 47"/>
                    <a:gd name="T5" fmla="*/ 0 h 141"/>
                    <a:gd name="T6" fmla="*/ 0 w 47"/>
                    <a:gd name="T7" fmla="*/ 0 h 141"/>
                  </a:gdLst>
                  <a:ahLst/>
                  <a:cxnLst>
                    <a:cxn ang="0">
                      <a:pos x="T0" y="T1"/>
                    </a:cxn>
                    <a:cxn ang="0">
                      <a:pos x="T2" y="T3"/>
                    </a:cxn>
                    <a:cxn ang="0">
                      <a:pos x="T4" y="T5"/>
                    </a:cxn>
                    <a:cxn ang="0">
                      <a:pos x="T6" y="T7"/>
                    </a:cxn>
                  </a:cxnLst>
                  <a:rect l="0" t="0" r="r" b="b"/>
                  <a:pathLst>
                    <a:path w="47" h="141">
                      <a:moveTo>
                        <a:pt x="0" y="141"/>
                      </a:moveTo>
                      <a:lnTo>
                        <a:pt x="47" y="141"/>
                      </a:lnTo>
                      <a:lnTo>
                        <a:pt x="47" y="0"/>
                      </a:lnTo>
                      <a:lnTo>
                        <a:pt x="0" y="0"/>
                      </a:lnTo>
                    </a:path>
                  </a:pathLst>
                </a:custGeom>
                <a:solidFill>
                  <a:srgbClr val="FFFFFF"/>
                </a:solidFill>
                <a:ln w="15875" cap="flat">
                  <a:solidFill>
                    <a:srgbClr val="0078D7"/>
                  </a:solidFill>
                  <a:prstDash val="solid"/>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41" name="Freeform 211">
                  <a:extLst>
                    <a:ext uri="{FF2B5EF4-FFF2-40B4-BE49-F238E27FC236}">
                      <a16:creationId xmlns:a16="http://schemas.microsoft.com/office/drawing/2014/main" id="{D5200C91-E1FE-4132-BFDA-3E439E45D354}"/>
                    </a:ext>
                  </a:extLst>
                </p:cNvPr>
                <p:cNvSpPr>
                  <a:spLocks/>
                </p:cNvSpPr>
                <p:nvPr/>
              </p:nvSpPr>
              <p:spPr bwMode="auto">
                <a:xfrm>
                  <a:off x="3917" y="2312"/>
                  <a:ext cx="36" cy="53"/>
                </a:xfrm>
                <a:custGeom>
                  <a:avLst/>
                  <a:gdLst>
                    <a:gd name="T0" fmla="*/ 19 w 19"/>
                    <a:gd name="T1" fmla="*/ 28 h 28"/>
                    <a:gd name="T2" fmla="*/ 19 w 19"/>
                    <a:gd name="T3" fmla="*/ 10 h 28"/>
                    <a:gd name="T4" fmla="*/ 9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9" y="0"/>
                      </a:cubicBezTo>
                      <a:cubicBezTo>
                        <a:pt x="4" y="0"/>
                        <a:pt x="0" y="5"/>
                        <a:pt x="0" y="10"/>
                      </a:cubicBezTo>
                      <a:cubicBezTo>
                        <a:pt x="0" y="28"/>
                        <a:pt x="0" y="28"/>
                        <a:pt x="0" y="28"/>
                      </a:cubicBezTo>
                    </a:path>
                  </a:pathLst>
                </a:custGeom>
                <a:solidFill>
                  <a:srgbClr val="FFFFFF"/>
                </a:solidFill>
                <a:ln w="15875" cap="flat">
                  <a:solidFill>
                    <a:srgbClr val="0078D7"/>
                  </a:solidFill>
                  <a:prstDash val="solid"/>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42" name="Rectangle 212">
                  <a:extLst>
                    <a:ext uri="{FF2B5EF4-FFF2-40B4-BE49-F238E27FC236}">
                      <a16:creationId xmlns:a16="http://schemas.microsoft.com/office/drawing/2014/main" id="{92851590-0BDD-4BA7-9964-A9AB7564AAC1}"/>
                    </a:ext>
                  </a:extLst>
                </p:cNvPr>
                <p:cNvSpPr>
                  <a:spLocks noChangeArrowheads="1"/>
                </p:cNvSpPr>
                <p:nvPr/>
              </p:nvSpPr>
              <p:spPr bwMode="auto">
                <a:xfrm>
                  <a:off x="3888" y="2040"/>
                  <a:ext cx="42" cy="31"/>
                </a:xfrm>
                <a:prstGeom prst="rect">
                  <a:avLst/>
                </a:prstGeom>
                <a:solidFill>
                  <a:srgbClr val="FFFFFF"/>
                </a:solidFill>
                <a:ln w="15875" cap="flat">
                  <a:solidFill>
                    <a:srgbClr val="0078D7"/>
                  </a:solidFill>
                  <a:prstDash val="solid"/>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43" name="Rectangle 213">
                  <a:extLst>
                    <a:ext uri="{FF2B5EF4-FFF2-40B4-BE49-F238E27FC236}">
                      <a16:creationId xmlns:a16="http://schemas.microsoft.com/office/drawing/2014/main" id="{4E376732-63E9-4445-8683-0DFDDB339728}"/>
                    </a:ext>
                  </a:extLst>
                </p:cNvPr>
                <p:cNvSpPr>
                  <a:spLocks noChangeArrowheads="1"/>
                </p:cNvSpPr>
                <p:nvPr/>
              </p:nvSpPr>
              <p:spPr bwMode="auto">
                <a:xfrm>
                  <a:off x="3970" y="2098"/>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44" name="Rectangle 214">
                  <a:extLst>
                    <a:ext uri="{FF2B5EF4-FFF2-40B4-BE49-F238E27FC236}">
                      <a16:creationId xmlns:a16="http://schemas.microsoft.com/office/drawing/2014/main" id="{E66E3132-FCBF-49CF-9E0B-ECB7553745D0}"/>
                    </a:ext>
                  </a:extLst>
                </p:cNvPr>
                <p:cNvSpPr>
                  <a:spLocks noChangeArrowheads="1"/>
                </p:cNvSpPr>
                <p:nvPr/>
              </p:nvSpPr>
              <p:spPr bwMode="auto">
                <a:xfrm>
                  <a:off x="3970" y="2138"/>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45" name="Rectangle 215">
                  <a:extLst>
                    <a:ext uri="{FF2B5EF4-FFF2-40B4-BE49-F238E27FC236}">
                      <a16:creationId xmlns:a16="http://schemas.microsoft.com/office/drawing/2014/main" id="{F062F5D3-D92B-404D-AD53-C461B0DBDFD4}"/>
                    </a:ext>
                  </a:extLst>
                </p:cNvPr>
                <p:cNvSpPr>
                  <a:spLocks noChangeArrowheads="1"/>
                </p:cNvSpPr>
                <p:nvPr/>
              </p:nvSpPr>
              <p:spPr bwMode="auto">
                <a:xfrm>
                  <a:off x="3970" y="2176"/>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46" name="Rectangle 216">
                  <a:extLst>
                    <a:ext uri="{FF2B5EF4-FFF2-40B4-BE49-F238E27FC236}">
                      <a16:creationId xmlns:a16="http://schemas.microsoft.com/office/drawing/2014/main" id="{D15E5565-E52F-4087-A3AB-3B80B168DB34}"/>
                    </a:ext>
                  </a:extLst>
                </p:cNvPr>
                <p:cNvSpPr>
                  <a:spLocks noChangeArrowheads="1"/>
                </p:cNvSpPr>
                <p:nvPr/>
              </p:nvSpPr>
              <p:spPr bwMode="auto">
                <a:xfrm>
                  <a:off x="3970" y="2216"/>
                  <a:ext cx="15" cy="16"/>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47" name="Rectangle 217">
                  <a:extLst>
                    <a:ext uri="{FF2B5EF4-FFF2-40B4-BE49-F238E27FC236}">
                      <a16:creationId xmlns:a16="http://schemas.microsoft.com/office/drawing/2014/main" id="{0CFB64E5-54F9-497C-B07D-C38BCA21F4AD}"/>
                    </a:ext>
                  </a:extLst>
                </p:cNvPr>
                <p:cNvSpPr>
                  <a:spLocks noChangeArrowheads="1"/>
                </p:cNvSpPr>
                <p:nvPr/>
              </p:nvSpPr>
              <p:spPr bwMode="auto">
                <a:xfrm>
                  <a:off x="3970" y="2254"/>
                  <a:ext cx="15" cy="16"/>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48" name="Rectangle 218">
                  <a:extLst>
                    <a:ext uri="{FF2B5EF4-FFF2-40B4-BE49-F238E27FC236}">
                      <a16:creationId xmlns:a16="http://schemas.microsoft.com/office/drawing/2014/main" id="{4CB0A919-0E75-4A71-A9C5-83144FC27481}"/>
                    </a:ext>
                  </a:extLst>
                </p:cNvPr>
                <p:cNvSpPr>
                  <a:spLocks noChangeArrowheads="1"/>
                </p:cNvSpPr>
                <p:nvPr/>
              </p:nvSpPr>
              <p:spPr bwMode="auto">
                <a:xfrm>
                  <a:off x="3885" y="2098"/>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49" name="Rectangle 219">
                  <a:extLst>
                    <a:ext uri="{FF2B5EF4-FFF2-40B4-BE49-F238E27FC236}">
                      <a16:creationId xmlns:a16="http://schemas.microsoft.com/office/drawing/2014/main" id="{425AD521-367B-4C5C-919F-182D11CBFEEF}"/>
                    </a:ext>
                  </a:extLst>
                </p:cNvPr>
                <p:cNvSpPr>
                  <a:spLocks noChangeArrowheads="1"/>
                </p:cNvSpPr>
                <p:nvPr/>
              </p:nvSpPr>
              <p:spPr bwMode="auto">
                <a:xfrm>
                  <a:off x="3885" y="2138"/>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50" name="Rectangle 220">
                  <a:extLst>
                    <a:ext uri="{FF2B5EF4-FFF2-40B4-BE49-F238E27FC236}">
                      <a16:creationId xmlns:a16="http://schemas.microsoft.com/office/drawing/2014/main" id="{56D76E39-C1FD-4765-BF22-EFB99D253D2D}"/>
                    </a:ext>
                  </a:extLst>
                </p:cNvPr>
                <p:cNvSpPr>
                  <a:spLocks noChangeArrowheads="1"/>
                </p:cNvSpPr>
                <p:nvPr/>
              </p:nvSpPr>
              <p:spPr bwMode="auto">
                <a:xfrm>
                  <a:off x="3885" y="2176"/>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51" name="Rectangle 221">
                  <a:extLst>
                    <a:ext uri="{FF2B5EF4-FFF2-40B4-BE49-F238E27FC236}">
                      <a16:creationId xmlns:a16="http://schemas.microsoft.com/office/drawing/2014/main" id="{F631D89D-22DA-4F80-81F3-DFFD863CB531}"/>
                    </a:ext>
                  </a:extLst>
                </p:cNvPr>
                <p:cNvSpPr>
                  <a:spLocks noChangeArrowheads="1"/>
                </p:cNvSpPr>
                <p:nvPr/>
              </p:nvSpPr>
              <p:spPr bwMode="auto">
                <a:xfrm>
                  <a:off x="3885" y="2216"/>
                  <a:ext cx="15" cy="16"/>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52" name="Rectangle 222">
                  <a:extLst>
                    <a:ext uri="{FF2B5EF4-FFF2-40B4-BE49-F238E27FC236}">
                      <a16:creationId xmlns:a16="http://schemas.microsoft.com/office/drawing/2014/main" id="{C71F8AC3-6E68-43AF-8A64-E80AA87A24F8}"/>
                    </a:ext>
                  </a:extLst>
                </p:cNvPr>
                <p:cNvSpPr>
                  <a:spLocks noChangeArrowheads="1"/>
                </p:cNvSpPr>
                <p:nvPr/>
              </p:nvSpPr>
              <p:spPr bwMode="auto">
                <a:xfrm>
                  <a:off x="3885" y="2254"/>
                  <a:ext cx="15" cy="16"/>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53" name="Rectangle 223">
                  <a:extLst>
                    <a:ext uri="{FF2B5EF4-FFF2-40B4-BE49-F238E27FC236}">
                      <a16:creationId xmlns:a16="http://schemas.microsoft.com/office/drawing/2014/main" id="{B881225E-8BB3-4E95-B1F2-9FC9274B2CEA}"/>
                    </a:ext>
                  </a:extLst>
                </p:cNvPr>
                <p:cNvSpPr>
                  <a:spLocks noChangeArrowheads="1"/>
                </p:cNvSpPr>
                <p:nvPr/>
              </p:nvSpPr>
              <p:spPr bwMode="auto">
                <a:xfrm>
                  <a:off x="3927" y="2098"/>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54" name="Rectangle 224">
                  <a:extLst>
                    <a:ext uri="{FF2B5EF4-FFF2-40B4-BE49-F238E27FC236}">
                      <a16:creationId xmlns:a16="http://schemas.microsoft.com/office/drawing/2014/main" id="{EC3E3BCE-A4DB-4444-BB6C-24ECE135CF27}"/>
                    </a:ext>
                  </a:extLst>
                </p:cNvPr>
                <p:cNvSpPr>
                  <a:spLocks noChangeArrowheads="1"/>
                </p:cNvSpPr>
                <p:nvPr/>
              </p:nvSpPr>
              <p:spPr bwMode="auto">
                <a:xfrm>
                  <a:off x="3927" y="2138"/>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55" name="Rectangle 225">
                  <a:extLst>
                    <a:ext uri="{FF2B5EF4-FFF2-40B4-BE49-F238E27FC236}">
                      <a16:creationId xmlns:a16="http://schemas.microsoft.com/office/drawing/2014/main" id="{46197DB4-A043-4198-8119-5E36D7AB0745}"/>
                    </a:ext>
                  </a:extLst>
                </p:cNvPr>
                <p:cNvSpPr>
                  <a:spLocks noChangeArrowheads="1"/>
                </p:cNvSpPr>
                <p:nvPr/>
              </p:nvSpPr>
              <p:spPr bwMode="auto">
                <a:xfrm>
                  <a:off x="3927" y="2176"/>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56" name="Rectangle 226">
                  <a:extLst>
                    <a:ext uri="{FF2B5EF4-FFF2-40B4-BE49-F238E27FC236}">
                      <a16:creationId xmlns:a16="http://schemas.microsoft.com/office/drawing/2014/main" id="{254EA572-0F22-4940-88A2-C78F641BD643}"/>
                    </a:ext>
                  </a:extLst>
                </p:cNvPr>
                <p:cNvSpPr>
                  <a:spLocks noChangeArrowheads="1"/>
                </p:cNvSpPr>
                <p:nvPr/>
              </p:nvSpPr>
              <p:spPr bwMode="auto">
                <a:xfrm>
                  <a:off x="3927" y="2216"/>
                  <a:ext cx="15" cy="16"/>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57" name="Rectangle 227">
                  <a:extLst>
                    <a:ext uri="{FF2B5EF4-FFF2-40B4-BE49-F238E27FC236}">
                      <a16:creationId xmlns:a16="http://schemas.microsoft.com/office/drawing/2014/main" id="{0AB51E31-628A-45C6-A7E3-94FE1486A4C2}"/>
                    </a:ext>
                  </a:extLst>
                </p:cNvPr>
                <p:cNvSpPr>
                  <a:spLocks noChangeArrowheads="1"/>
                </p:cNvSpPr>
                <p:nvPr/>
              </p:nvSpPr>
              <p:spPr bwMode="auto">
                <a:xfrm>
                  <a:off x="3927" y="2254"/>
                  <a:ext cx="15" cy="16"/>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58" name="Rectangle 228">
                  <a:extLst>
                    <a:ext uri="{FF2B5EF4-FFF2-40B4-BE49-F238E27FC236}">
                      <a16:creationId xmlns:a16="http://schemas.microsoft.com/office/drawing/2014/main" id="{7963073A-E58B-42D6-82B9-705D0329C40B}"/>
                    </a:ext>
                  </a:extLst>
                </p:cNvPr>
                <p:cNvSpPr>
                  <a:spLocks noChangeArrowheads="1"/>
                </p:cNvSpPr>
                <p:nvPr/>
              </p:nvSpPr>
              <p:spPr bwMode="auto">
                <a:xfrm>
                  <a:off x="3776" y="2176"/>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59" name="Rectangle 229">
                  <a:extLst>
                    <a:ext uri="{FF2B5EF4-FFF2-40B4-BE49-F238E27FC236}">
                      <a16:creationId xmlns:a16="http://schemas.microsoft.com/office/drawing/2014/main" id="{46C757B2-19D7-4B4C-9C84-D3B377F3971D}"/>
                    </a:ext>
                  </a:extLst>
                </p:cNvPr>
                <p:cNvSpPr>
                  <a:spLocks noChangeArrowheads="1"/>
                </p:cNvSpPr>
                <p:nvPr/>
              </p:nvSpPr>
              <p:spPr bwMode="auto">
                <a:xfrm>
                  <a:off x="3776" y="2216"/>
                  <a:ext cx="15" cy="16"/>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60" name="Rectangle 230">
                  <a:extLst>
                    <a:ext uri="{FF2B5EF4-FFF2-40B4-BE49-F238E27FC236}">
                      <a16:creationId xmlns:a16="http://schemas.microsoft.com/office/drawing/2014/main" id="{FE76747F-8B71-479F-87F5-B1FC2CA71C1B}"/>
                    </a:ext>
                  </a:extLst>
                </p:cNvPr>
                <p:cNvSpPr>
                  <a:spLocks noChangeArrowheads="1"/>
                </p:cNvSpPr>
                <p:nvPr/>
              </p:nvSpPr>
              <p:spPr bwMode="auto">
                <a:xfrm>
                  <a:off x="3776" y="2254"/>
                  <a:ext cx="15" cy="16"/>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61" name="Rectangle 231">
                  <a:extLst>
                    <a:ext uri="{FF2B5EF4-FFF2-40B4-BE49-F238E27FC236}">
                      <a16:creationId xmlns:a16="http://schemas.microsoft.com/office/drawing/2014/main" id="{48F50BC3-828B-49BA-98AE-CDA25629AF9A}"/>
                    </a:ext>
                  </a:extLst>
                </p:cNvPr>
                <p:cNvSpPr>
                  <a:spLocks noChangeArrowheads="1"/>
                </p:cNvSpPr>
                <p:nvPr/>
              </p:nvSpPr>
              <p:spPr bwMode="auto">
                <a:xfrm>
                  <a:off x="3818" y="2176"/>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62" name="Rectangle 232">
                  <a:extLst>
                    <a:ext uri="{FF2B5EF4-FFF2-40B4-BE49-F238E27FC236}">
                      <a16:creationId xmlns:a16="http://schemas.microsoft.com/office/drawing/2014/main" id="{BF3A6716-FF4F-4115-8B78-2FD85909FD5C}"/>
                    </a:ext>
                  </a:extLst>
                </p:cNvPr>
                <p:cNvSpPr>
                  <a:spLocks noChangeArrowheads="1"/>
                </p:cNvSpPr>
                <p:nvPr/>
              </p:nvSpPr>
              <p:spPr bwMode="auto">
                <a:xfrm>
                  <a:off x="3818" y="2216"/>
                  <a:ext cx="15" cy="16"/>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63" name="Rectangle 233">
                  <a:extLst>
                    <a:ext uri="{FF2B5EF4-FFF2-40B4-BE49-F238E27FC236}">
                      <a16:creationId xmlns:a16="http://schemas.microsoft.com/office/drawing/2014/main" id="{D795882D-D8BE-4DC6-A005-B38A6F893E7A}"/>
                    </a:ext>
                  </a:extLst>
                </p:cNvPr>
                <p:cNvSpPr>
                  <a:spLocks noChangeArrowheads="1"/>
                </p:cNvSpPr>
                <p:nvPr/>
              </p:nvSpPr>
              <p:spPr bwMode="auto">
                <a:xfrm>
                  <a:off x="3818" y="2254"/>
                  <a:ext cx="15" cy="16"/>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64" name="Rectangle 234">
                  <a:extLst>
                    <a:ext uri="{FF2B5EF4-FFF2-40B4-BE49-F238E27FC236}">
                      <a16:creationId xmlns:a16="http://schemas.microsoft.com/office/drawing/2014/main" id="{909F1DB4-F24B-4FFD-B8D4-9A3A3DAB7AC9}"/>
                    </a:ext>
                  </a:extLst>
                </p:cNvPr>
                <p:cNvSpPr>
                  <a:spLocks noChangeArrowheads="1"/>
                </p:cNvSpPr>
                <p:nvPr/>
              </p:nvSpPr>
              <p:spPr bwMode="auto">
                <a:xfrm>
                  <a:off x="3776" y="2295"/>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sp>
              <p:nvSpPr>
                <p:cNvPr id="265" name="Rectangle 235">
                  <a:extLst>
                    <a:ext uri="{FF2B5EF4-FFF2-40B4-BE49-F238E27FC236}">
                      <a16:creationId xmlns:a16="http://schemas.microsoft.com/office/drawing/2014/main" id="{A341A261-4A72-43A3-B67A-CF2BFA8FE495}"/>
                    </a:ext>
                  </a:extLst>
                </p:cNvPr>
                <p:cNvSpPr>
                  <a:spLocks noChangeArrowheads="1"/>
                </p:cNvSpPr>
                <p:nvPr/>
              </p:nvSpPr>
              <p:spPr bwMode="auto">
                <a:xfrm>
                  <a:off x="3818" y="2295"/>
                  <a:ext cx="15" cy="15"/>
                </a:xfrm>
                <a:prstGeom prst="rect">
                  <a:avLst/>
                </a:prstGeom>
                <a:grpFill/>
                <a:ln w="31750">
                  <a:noFill/>
                  <a:miter lim="800000"/>
                  <a:headEnd/>
                  <a:tailEnd/>
                </a:ln>
              </p:spPr>
              <p:txBody>
                <a:bodyPr vert="horz" wrap="square" lIns="68570" tIns="34285" rIns="68570" bIns="34285" numCol="1" anchor="t" anchorCtr="0" compatLnSpc="1">
                  <a:prstTxWarp prst="textNoShape">
                    <a:avLst/>
                  </a:prstTxWarp>
                </a:bodyPr>
                <a:lstStyle/>
                <a:p>
                  <a:pPr defTabSz="685669" eaLnBrk="1" fontAlgn="auto" hangingPunct="1">
                    <a:spcBef>
                      <a:spcPts val="0"/>
                    </a:spcBef>
                    <a:spcAft>
                      <a:spcPts val="0"/>
                    </a:spcAft>
                    <a:defRPr/>
                  </a:pPr>
                  <a:endParaRPr lang="en-US" sz="1324" kern="0">
                    <a:solidFill>
                      <a:srgbClr val="353535"/>
                    </a:solidFill>
                    <a:latin typeface="Segoe UI"/>
                  </a:endParaRPr>
                </a:p>
              </p:txBody>
            </p:sp>
          </p:grpSp>
        </p:grpSp>
        <p:sp>
          <p:nvSpPr>
            <p:cNvPr id="234" name="Rectangle 233">
              <a:extLst>
                <a:ext uri="{FF2B5EF4-FFF2-40B4-BE49-F238E27FC236}">
                  <a16:creationId xmlns:a16="http://schemas.microsoft.com/office/drawing/2014/main" id="{404F2276-0CD5-422B-8937-1D6560C0C9DA}"/>
                </a:ext>
              </a:extLst>
            </p:cNvPr>
            <p:cNvSpPr/>
            <p:nvPr/>
          </p:nvSpPr>
          <p:spPr>
            <a:xfrm>
              <a:off x="9465619" y="5829498"/>
              <a:ext cx="3009675" cy="369384"/>
            </a:xfrm>
            <a:prstGeom prst="rect">
              <a:avLst/>
            </a:prstGeom>
          </p:spPr>
          <p:txBody>
            <a:bodyPr wrap="square">
              <a:spAutoFit/>
            </a:bodyPr>
            <a:lstStyle/>
            <a:p>
              <a:pPr algn="ctr" defTabSz="685775" eaLnBrk="1" fontAlgn="auto" hangingPunct="1">
                <a:spcBef>
                  <a:spcPts val="0"/>
                </a:spcBef>
                <a:spcAft>
                  <a:spcPts val="0"/>
                </a:spcAft>
                <a:defRPr/>
              </a:pPr>
              <a:r>
                <a:rPr lang="en-US" sz="1200" spc="-38">
                  <a:ln w="3175">
                    <a:noFill/>
                  </a:ln>
                  <a:gradFill>
                    <a:gsLst>
                      <a:gs pos="1250">
                        <a:srgbClr val="1A1A1A"/>
                      </a:gs>
                      <a:gs pos="100000">
                        <a:srgbClr val="1A1A1A"/>
                      </a:gs>
                    </a:gsLst>
                    <a:lin ang="5400000" scaled="0"/>
                  </a:gradFill>
                  <a:latin typeface="Segoe UI"/>
                  <a:cs typeface="Segoe UI" pitchFamily="34" charset="0"/>
                </a:rPr>
                <a:t>On-premises &amp; web apps</a:t>
              </a:r>
              <a:endParaRPr lang="en-US" sz="750">
                <a:solidFill>
                  <a:srgbClr val="000000"/>
                </a:solidFill>
                <a:latin typeface="Segoe UI"/>
              </a:endParaRPr>
            </a:p>
          </p:txBody>
        </p:sp>
      </p:grpSp>
      <p:grpSp>
        <p:nvGrpSpPr>
          <p:cNvPr id="269" name="Group 268">
            <a:extLst>
              <a:ext uri="{FF2B5EF4-FFF2-40B4-BE49-F238E27FC236}">
                <a16:creationId xmlns:a16="http://schemas.microsoft.com/office/drawing/2014/main" id="{62DC8444-A9F5-44A5-BB01-37A14C3F5E6C}"/>
              </a:ext>
            </a:extLst>
          </p:cNvPr>
          <p:cNvGrpSpPr/>
          <p:nvPr/>
        </p:nvGrpSpPr>
        <p:grpSpPr>
          <a:xfrm>
            <a:off x="7339780" y="2114880"/>
            <a:ext cx="759908" cy="627430"/>
            <a:chOff x="9786897" y="2615538"/>
            <a:chExt cx="1013354" cy="836692"/>
          </a:xfrm>
        </p:grpSpPr>
        <p:sp>
          <p:nvSpPr>
            <p:cNvPr id="270" name="Rectangle 269">
              <a:extLst>
                <a:ext uri="{FF2B5EF4-FFF2-40B4-BE49-F238E27FC236}">
                  <a16:creationId xmlns:a16="http://schemas.microsoft.com/office/drawing/2014/main" id="{ACF871EE-EC16-4F1C-A2D4-8C5BFA9E68FF}"/>
                </a:ext>
              </a:extLst>
            </p:cNvPr>
            <p:cNvSpPr/>
            <p:nvPr/>
          </p:nvSpPr>
          <p:spPr>
            <a:xfrm>
              <a:off x="9786897" y="2615538"/>
              <a:ext cx="1013354" cy="332190"/>
            </a:xfrm>
            <a:prstGeom prst="rect">
              <a:avLst/>
            </a:prstGeom>
          </p:spPr>
          <p:txBody>
            <a:bodyPr wrap="square" lIns="0" tIns="0" rIns="0" bIns="0">
              <a:spAutoFit/>
            </a:bodyPr>
            <a:lstStyle/>
            <a:p>
              <a:pPr defTabSz="658793" eaLnBrk="1" fontAlgn="auto" hangingPunct="1">
                <a:lnSpc>
                  <a:spcPct val="90000"/>
                </a:lnSpc>
                <a:spcBef>
                  <a:spcPts val="0"/>
                </a:spcBef>
                <a:spcAft>
                  <a:spcPts val="0"/>
                </a:spcAft>
                <a:defRPr/>
              </a:pPr>
              <a:r>
                <a:rPr lang="en-US" sz="1028" kern="0" spc="-37">
                  <a:solidFill>
                    <a:srgbClr val="0078D4"/>
                  </a:solidFill>
                  <a:latin typeface="Segoe UI"/>
                  <a:ea typeface="ＭＳ Ｐゴシック" charset="0"/>
                </a:rPr>
                <a:t>Microsoft</a:t>
              </a:r>
              <a:br>
                <a:rPr lang="en-US" sz="881" kern="0" spc="-37">
                  <a:solidFill>
                    <a:srgbClr val="0078D4"/>
                  </a:solidFill>
                  <a:latin typeface="Segoe UI"/>
                  <a:ea typeface="ＭＳ Ｐゴシック" charset="0"/>
                </a:rPr>
              </a:br>
              <a:r>
                <a:rPr lang="en-US" sz="771" kern="0" spc="-37">
                  <a:solidFill>
                    <a:srgbClr val="0078D4"/>
                  </a:solidFill>
                  <a:latin typeface="Segoe UI"/>
                  <a:ea typeface="ＭＳ Ｐゴシック" charset="0"/>
                </a:rPr>
                <a:t>Cloud App Security</a:t>
              </a:r>
              <a:endParaRPr lang="en-US" sz="881" kern="0" spc="-37">
                <a:solidFill>
                  <a:srgbClr val="0078D4"/>
                </a:solidFill>
                <a:latin typeface="Segoe UI"/>
                <a:ea typeface="ＭＳ Ｐゴシック" charset="0"/>
              </a:endParaRPr>
            </a:p>
          </p:txBody>
        </p:sp>
        <p:grpSp>
          <p:nvGrpSpPr>
            <p:cNvPr id="271" name="Group 270">
              <a:extLst>
                <a:ext uri="{FF2B5EF4-FFF2-40B4-BE49-F238E27FC236}">
                  <a16:creationId xmlns:a16="http://schemas.microsoft.com/office/drawing/2014/main" id="{591E1115-7766-4BB2-AFF9-0CB447B99F3B}"/>
                </a:ext>
              </a:extLst>
            </p:cNvPr>
            <p:cNvGrpSpPr/>
            <p:nvPr/>
          </p:nvGrpSpPr>
          <p:grpSpPr>
            <a:xfrm>
              <a:off x="10055359" y="3004018"/>
              <a:ext cx="448212" cy="448212"/>
              <a:chOff x="9868268" y="3067903"/>
              <a:chExt cx="448212" cy="448212"/>
            </a:xfrm>
          </p:grpSpPr>
          <p:grpSp>
            <p:nvGrpSpPr>
              <p:cNvPr id="272" name="Group 271">
                <a:extLst>
                  <a:ext uri="{FF2B5EF4-FFF2-40B4-BE49-F238E27FC236}">
                    <a16:creationId xmlns:a16="http://schemas.microsoft.com/office/drawing/2014/main" id="{869B81CA-834A-498E-B354-B61424CAD4CD}"/>
                  </a:ext>
                </a:extLst>
              </p:cNvPr>
              <p:cNvGrpSpPr/>
              <p:nvPr/>
            </p:nvGrpSpPr>
            <p:grpSpPr>
              <a:xfrm>
                <a:off x="9868268" y="3067903"/>
                <a:ext cx="448212" cy="448212"/>
                <a:chOff x="8603515" y="2504434"/>
                <a:chExt cx="1600200" cy="1600200"/>
              </a:xfrm>
            </p:grpSpPr>
            <p:sp>
              <p:nvSpPr>
                <p:cNvPr id="274" name="Oval 273">
                  <a:extLst>
                    <a:ext uri="{FF2B5EF4-FFF2-40B4-BE49-F238E27FC236}">
                      <a16:creationId xmlns:a16="http://schemas.microsoft.com/office/drawing/2014/main" id="{6C00DFA5-AA56-4B65-8C0A-0314CE672230}"/>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5" name="Circle: Hollow 274">
                  <a:extLst>
                    <a:ext uri="{FF2B5EF4-FFF2-40B4-BE49-F238E27FC236}">
                      <a16:creationId xmlns:a16="http://schemas.microsoft.com/office/drawing/2014/main" id="{2E343973-B1F4-449B-8BB9-F0F30F8F1E8C}"/>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73" name="Freeform: Shape 272">
                <a:extLst>
                  <a:ext uri="{FF2B5EF4-FFF2-40B4-BE49-F238E27FC236}">
                    <a16:creationId xmlns:a16="http://schemas.microsoft.com/office/drawing/2014/main" id="{3C4BA52B-4DF9-4A41-8E7A-F6509561A1FE}"/>
                  </a:ext>
                </a:extLst>
              </p:cNvPr>
              <p:cNvSpPr>
                <a:spLocks noChangeAspect="1"/>
              </p:cNvSpPr>
              <p:nvPr/>
            </p:nvSpPr>
            <p:spPr bwMode="auto">
              <a:xfrm>
                <a:off x="9950723" y="3156818"/>
                <a:ext cx="283303" cy="232283"/>
              </a:xfrm>
              <a:custGeom>
                <a:avLst/>
                <a:gdLst>
                  <a:gd name="connsiteX0" fmla="*/ 2175329 w 4360190"/>
                  <a:gd name="connsiteY0" fmla="*/ 1996622 h 3574944"/>
                  <a:gd name="connsiteX1" fmla="*/ 2510323 w 4360190"/>
                  <a:gd name="connsiteY1" fmla="*/ 2331616 h 3574944"/>
                  <a:gd name="connsiteX2" fmla="*/ 2242842 w 4360190"/>
                  <a:gd name="connsiteY2" fmla="*/ 2659804 h 3574944"/>
                  <a:gd name="connsiteX3" fmla="*/ 2239308 w 4360190"/>
                  <a:gd name="connsiteY3" fmla="*/ 2660160 h 3574944"/>
                  <a:gd name="connsiteX4" fmla="*/ 2239308 w 4360190"/>
                  <a:gd name="connsiteY4" fmla="*/ 3014241 h 3574944"/>
                  <a:gd name="connsiteX5" fmla="*/ 2200729 w 4360190"/>
                  <a:gd name="connsiteY5" fmla="*/ 3052820 h 3574944"/>
                  <a:gd name="connsiteX6" fmla="*/ 2149929 w 4360190"/>
                  <a:gd name="connsiteY6" fmla="*/ 3052820 h 3574944"/>
                  <a:gd name="connsiteX7" fmla="*/ 2111350 w 4360190"/>
                  <a:gd name="connsiteY7" fmla="*/ 3014241 h 3574944"/>
                  <a:gd name="connsiteX8" fmla="*/ 2111350 w 4360190"/>
                  <a:gd name="connsiteY8" fmla="*/ 2660160 h 3574944"/>
                  <a:gd name="connsiteX9" fmla="*/ 2107816 w 4360190"/>
                  <a:gd name="connsiteY9" fmla="*/ 2659804 h 3574944"/>
                  <a:gd name="connsiteX10" fmla="*/ 1840335 w 4360190"/>
                  <a:gd name="connsiteY10" fmla="*/ 2331616 h 3574944"/>
                  <a:gd name="connsiteX11" fmla="*/ 2175329 w 4360190"/>
                  <a:gd name="connsiteY11" fmla="*/ 1996622 h 3574944"/>
                  <a:gd name="connsiteX12" fmla="*/ 1764864 w 4360190"/>
                  <a:gd name="connsiteY12" fmla="*/ 1325944 h 3574944"/>
                  <a:gd name="connsiteX13" fmla="*/ 948670 w 4360190"/>
                  <a:gd name="connsiteY13" fmla="*/ 2142138 h 3574944"/>
                  <a:gd name="connsiteX14" fmla="*/ 964235 w 4360190"/>
                  <a:gd name="connsiteY14" fmla="*/ 2296543 h 3574944"/>
                  <a:gd name="connsiteX15" fmla="*/ 754296 w 4360190"/>
                  <a:gd name="connsiteY15" fmla="*/ 2296543 h 3574944"/>
                  <a:gd name="connsiteX16" fmla="*/ 250601 w 4360190"/>
                  <a:gd name="connsiteY16" fmla="*/ 2800238 h 3574944"/>
                  <a:gd name="connsiteX17" fmla="*/ 754296 w 4360190"/>
                  <a:gd name="connsiteY17" fmla="*/ 3303933 h 3574944"/>
                  <a:gd name="connsiteX18" fmla="*/ 3595256 w 4360190"/>
                  <a:gd name="connsiteY18" fmla="*/ 3303933 h 3574944"/>
                  <a:gd name="connsiteX19" fmla="*/ 4098951 w 4360190"/>
                  <a:gd name="connsiteY19" fmla="*/ 2800238 h 3574944"/>
                  <a:gd name="connsiteX20" fmla="*/ 3595256 w 4360190"/>
                  <a:gd name="connsiteY20" fmla="*/ 2296543 h 3574944"/>
                  <a:gd name="connsiteX21" fmla="*/ 3440809 w 4360190"/>
                  <a:gd name="connsiteY21" fmla="*/ 2296543 h 3574944"/>
                  <a:gd name="connsiteX22" fmla="*/ 3456508 w 4360190"/>
                  <a:gd name="connsiteY22" fmla="*/ 2245970 h 3574944"/>
                  <a:gd name="connsiteX23" fmla="*/ 3466930 w 4360190"/>
                  <a:gd name="connsiteY23" fmla="*/ 2142582 h 3574944"/>
                  <a:gd name="connsiteX24" fmla="*/ 2953925 w 4360190"/>
                  <a:gd name="connsiteY24" fmla="*/ 1629577 h 3574944"/>
                  <a:gd name="connsiteX25" fmla="*/ 2528533 w 4360190"/>
                  <a:gd name="connsiteY25" fmla="*/ 1855756 h 3574944"/>
                  <a:gd name="connsiteX26" fmla="*/ 2527328 w 4360190"/>
                  <a:gd name="connsiteY26" fmla="*/ 1857976 h 3574944"/>
                  <a:gd name="connsiteX27" fmla="*/ 2516917 w 4360190"/>
                  <a:gd name="connsiteY27" fmla="*/ 1824439 h 3574944"/>
                  <a:gd name="connsiteX28" fmla="*/ 1764864 w 4360190"/>
                  <a:gd name="connsiteY28" fmla="*/ 1325944 h 3574944"/>
                  <a:gd name="connsiteX29" fmla="*/ 2183747 w 4360190"/>
                  <a:gd name="connsiteY29" fmla="*/ 275601 h 3574944"/>
                  <a:gd name="connsiteX30" fmla="*/ 1678922 w 4360190"/>
                  <a:gd name="connsiteY30" fmla="*/ 780425 h 3574944"/>
                  <a:gd name="connsiteX31" fmla="*/ 1678922 w 4360190"/>
                  <a:gd name="connsiteY31" fmla="*/ 1082427 h 3574944"/>
                  <a:gd name="connsiteX32" fmla="*/ 1766833 w 4360190"/>
                  <a:gd name="connsiteY32" fmla="*/ 1077988 h 3574944"/>
                  <a:gd name="connsiteX33" fmla="*/ 2578792 w 4360190"/>
                  <a:gd name="connsiteY33" fmla="*/ 1449070 h 3574944"/>
                  <a:gd name="connsiteX34" fmla="*/ 2602937 w 4360190"/>
                  <a:gd name="connsiteY34" fmla="*/ 1480566 h 3574944"/>
                  <a:gd name="connsiteX35" fmla="*/ 2688571 w 4360190"/>
                  <a:gd name="connsiteY35" fmla="*/ 1434086 h 3574944"/>
                  <a:gd name="connsiteX36" fmla="*/ 2688571 w 4360190"/>
                  <a:gd name="connsiteY36" fmla="*/ 780426 h 3574944"/>
                  <a:gd name="connsiteX37" fmla="*/ 2183747 w 4360190"/>
                  <a:gd name="connsiteY37" fmla="*/ 275602 h 3574944"/>
                  <a:gd name="connsiteX38" fmla="*/ 2169808 w 4360190"/>
                  <a:gd name="connsiteY38" fmla="*/ 0 h 3574944"/>
                  <a:gd name="connsiteX39" fmla="*/ 2169808 w 4360190"/>
                  <a:gd name="connsiteY39" fmla="*/ 1 h 3574944"/>
                  <a:gd name="connsiteX40" fmla="*/ 2921478 w 4360190"/>
                  <a:gd name="connsiteY40" fmla="*/ 751671 h 3574944"/>
                  <a:gd name="connsiteX41" fmla="*/ 2921478 w 4360190"/>
                  <a:gd name="connsiteY41" fmla="*/ 1395406 h 3574944"/>
                  <a:gd name="connsiteX42" fmla="*/ 2987934 w 4360190"/>
                  <a:gd name="connsiteY42" fmla="*/ 1388707 h 3574944"/>
                  <a:gd name="connsiteX43" fmla="*/ 3670504 w 4360190"/>
                  <a:gd name="connsiteY43" fmla="*/ 1945017 h 3574944"/>
                  <a:gd name="connsiteX44" fmla="*/ 3681173 w 4360190"/>
                  <a:gd name="connsiteY44" fmla="*/ 2050854 h 3574944"/>
                  <a:gd name="connsiteX45" fmla="*/ 3749697 w 4360190"/>
                  <a:gd name="connsiteY45" fmla="*/ 2061312 h 3574944"/>
                  <a:gd name="connsiteX46" fmla="*/ 4360190 w 4360190"/>
                  <a:gd name="connsiteY46" fmla="*/ 2810361 h 3574944"/>
                  <a:gd name="connsiteX47" fmla="*/ 3595607 w 4360190"/>
                  <a:gd name="connsiteY47" fmla="*/ 3574944 h 3574944"/>
                  <a:gd name="connsiteX48" fmla="*/ 764583 w 4360190"/>
                  <a:gd name="connsiteY48" fmla="*/ 3574944 h 3574944"/>
                  <a:gd name="connsiteX49" fmla="*/ 0 w 4360190"/>
                  <a:gd name="connsiteY49" fmla="*/ 2810361 h 3574944"/>
                  <a:gd name="connsiteX50" fmla="*/ 686409 w 4360190"/>
                  <a:gd name="connsiteY50" fmla="*/ 2049725 h 3574944"/>
                  <a:gd name="connsiteX51" fmla="*/ 689664 w 4360190"/>
                  <a:gd name="connsiteY51" fmla="*/ 2049561 h 3574944"/>
                  <a:gd name="connsiteX52" fmla="*/ 691975 w 4360190"/>
                  <a:gd name="connsiteY52" fmla="*/ 2019023 h 3574944"/>
                  <a:gd name="connsiteX53" fmla="*/ 1346677 w 4360190"/>
                  <a:gd name="connsiteY53" fmla="*/ 1178701 h 3574944"/>
                  <a:gd name="connsiteX54" fmla="*/ 1418138 w 4360190"/>
                  <a:gd name="connsiteY54" fmla="*/ 1152546 h 3574944"/>
                  <a:gd name="connsiteX55" fmla="*/ 1418138 w 4360190"/>
                  <a:gd name="connsiteY55" fmla="*/ 751670 h 3574944"/>
                  <a:gd name="connsiteX56" fmla="*/ 2169808 w 4360190"/>
                  <a:gd name="connsiteY56" fmla="*/ 0 h 357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60190" h="3574944">
                    <a:moveTo>
                      <a:pt x="2175329" y="1996622"/>
                    </a:moveTo>
                    <a:cubicBezTo>
                      <a:pt x="2360341" y="1996622"/>
                      <a:pt x="2510323" y="2146604"/>
                      <a:pt x="2510323" y="2331616"/>
                    </a:cubicBezTo>
                    <a:cubicBezTo>
                      <a:pt x="2510323" y="2493502"/>
                      <a:pt x="2395493" y="2628567"/>
                      <a:pt x="2242842" y="2659804"/>
                    </a:cubicBezTo>
                    <a:lnTo>
                      <a:pt x="2239308" y="2660160"/>
                    </a:lnTo>
                    <a:lnTo>
                      <a:pt x="2239308" y="3014241"/>
                    </a:lnTo>
                    <a:cubicBezTo>
                      <a:pt x="2239308" y="3035548"/>
                      <a:pt x="2222036" y="3052820"/>
                      <a:pt x="2200729" y="3052820"/>
                    </a:cubicBezTo>
                    <a:lnTo>
                      <a:pt x="2149929" y="3052820"/>
                    </a:lnTo>
                    <a:cubicBezTo>
                      <a:pt x="2128622" y="3052820"/>
                      <a:pt x="2111350" y="3035548"/>
                      <a:pt x="2111350" y="3014241"/>
                    </a:cubicBezTo>
                    <a:lnTo>
                      <a:pt x="2111350" y="2660160"/>
                    </a:lnTo>
                    <a:lnTo>
                      <a:pt x="2107816" y="2659804"/>
                    </a:lnTo>
                    <a:cubicBezTo>
                      <a:pt x="1955165" y="2628567"/>
                      <a:pt x="1840335" y="2493502"/>
                      <a:pt x="1840335" y="2331616"/>
                    </a:cubicBezTo>
                    <a:cubicBezTo>
                      <a:pt x="1840335" y="2146604"/>
                      <a:pt x="1990317" y="1996622"/>
                      <a:pt x="2175329" y="1996622"/>
                    </a:cubicBezTo>
                    <a:close/>
                    <a:moveTo>
                      <a:pt x="1764864" y="1325944"/>
                    </a:moveTo>
                    <a:cubicBezTo>
                      <a:pt x="1314093" y="1325944"/>
                      <a:pt x="948670" y="1691367"/>
                      <a:pt x="948670" y="2142138"/>
                    </a:cubicBezTo>
                    <a:lnTo>
                      <a:pt x="964235" y="2296543"/>
                    </a:lnTo>
                    <a:lnTo>
                      <a:pt x="754296" y="2296543"/>
                    </a:lnTo>
                    <a:cubicBezTo>
                      <a:pt x="476113" y="2296543"/>
                      <a:pt x="250601" y="2522055"/>
                      <a:pt x="250601" y="2800238"/>
                    </a:cubicBezTo>
                    <a:cubicBezTo>
                      <a:pt x="250601" y="3078421"/>
                      <a:pt x="476113" y="3303933"/>
                      <a:pt x="754296" y="3303933"/>
                    </a:cubicBezTo>
                    <a:lnTo>
                      <a:pt x="3595256" y="3303933"/>
                    </a:lnTo>
                    <a:cubicBezTo>
                      <a:pt x="3873439" y="3303933"/>
                      <a:pt x="4098951" y="3078421"/>
                      <a:pt x="4098951" y="2800238"/>
                    </a:cubicBezTo>
                    <a:cubicBezTo>
                      <a:pt x="4098951" y="2522055"/>
                      <a:pt x="3873439" y="2296543"/>
                      <a:pt x="3595256" y="2296543"/>
                    </a:cubicBezTo>
                    <a:lnTo>
                      <a:pt x="3440809" y="2296543"/>
                    </a:lnTo>
                    <a:lnTo>
                      <a:pt x="3456508" y="2245970"/>
                    </a:lnTo>
                    <a:cubicBezTo>
                      <a:pt x="3463341" y="2212575"/>
                      <a:pt x="3466930" y="2177998"/>
                      <a:pt x="3466930" y="2142582"/>
                    </a:cubicBezTo>
                    <a:cubicBezTo>
                      <a:pt x="3466930" y="1859257"/>
                      <a:pt x="3237250" y="1629577"/>
                      <a:pt x="2953925" y="1629577"/>
                    </a:cubicBezTo>
                    <a:cubicBezTo>
                      <a:pt x="2776847" y="1629577"/>
                      <a:pt x="2620724" y="1719296"/>
                      <a:pt x="2528533" y="1855756"/>
                    </a:cubicBezTo>
                    <a:lnTo>
                      <a:pt x="2527328" y="1857976"/>
                    </a:lnTo>
                    <a:lnTo>
                      <a:pt x="2516917" y="1824439"/>
                    </a:lnTo>
                    <a:cubicBezTo>
                      <a:pt x="2393012" y="1531494"/>
                      <a:pt x="2102942" y="1325944"/>
                      <a:pt x="1764864" y="1325944"/>
                    </a:cubicBezTo>
                    <a:close/>
                    <a:moveTo>
                      <a:pt x="2183747" y="275601"/>
                    </a:moveTo>
                    <a:cubicBezTo>
                      <a:pt x="1904941" y="275601"/>
                      <a:pt x="1678922" y="501618"/>
                      <a:pt x="1678922" y="780425"/>
                    </a:cubicBezTo>
                    <a:lnTo>
                      <a:pt x="1678922" y="1082427"/>
                    </a:lnTo>
                    <a:lnTo>
                      <a:pt x="1766833" y="1077988"/>
                    </a:lnTo>
                    <a:cubicBezTo>
                      <a:pt x="2091157" y="1077988"/>
                      <a:pt x="2381898" y="1221771"/>
                      <a:pt x="2578792" y="1449070"/>
                    </a:cubicBezTo>
                    <a:lnTo>
                      <a:pt x="2602937" y="1480566"/>
                    </a:lnTo>
                    <a:lnTo>
                      <a:pt x="2688571" y="1434086"/>
                    </a:lnTo>
                    <a:lnTo>
                      <a:pt x="2688571" y="780426"/>
                    </a:lnTo>
                    <a:cubicBezTo>
                      <a:pt x="2688571" y="501619"/>
                      <a:pt x="2462555" y="275602"/>
                      <a:pt x="2183747" y="275602"/>
                    </a:cubicBezTo>
                    <a:close/>
                    <a:moveTo>
                      <a:pt x="2169808" y="0"/>
                    </a:moveTo>
                    <a:lnTo>
                      <a:pt x="2169808" y="1"/>
                    </a:lnTo>
                    <a:cubicBezTo>
                      <a:pt x="2584944" y="1"/>
                      <a:pt x="2921478" y="336535"/>
                      <a:pt x="2921478" y="751671"/>
                    </a:cubicBezTo>
                    <a:lnTo>
                      <a:pt x="2921478" y="1395406"/>
                    </a:lnTo>
                    <a:lnTo>
                      <a:pt x="2987934" y="1388707"/>
                    </a:lnTo>
                    <a:cubicBezTo>
                      <a:pt x="3324626" y="1388707"/>
                      <a:pt x="3605537" y="1627532"/>
                      <a:pt x="3670504" y="1945017"/>
                    </a:cubicBezTo>
                    <a:lnTo>
                      <a:pt x="3681173" y="2050854"/>
                    </a:lnTo>
                    <a:lnTo>
                      <a:pt x="3749697" y="2061312"/>
                    </a:lnTo>
                    <a:cubicBezTo>
                      <a:pt x="4098105" y="2132606"/>
                      <a:pt x="4360190" y="2440876"/>
                      <a:pt x="4360190" y="2810361"/>
                    </a:cubicBezTo>
                    <a:cubicBezTo>
                      <a:pt x="4360190" y="3232629"/>
                      <a:pt x="4017875" y="3574944"/>
                      <a:pt x="3595607" y="3574944"/>
                    </a:cubicBezTo>
                    <a:lnTo>
                      <a:pt x="764583" y="3574944"/>
                    </a:lnTo>
                    <a:cubicBezTo>
                      <a:pt x="342315" y="3574944"/>
                      <a:pt x="0" y="3232629"/>
                      <a:pt x="0" y="2810361"/>
                    </a:cubicBezTo>
                    <a:cubicBezTo>
                      <a:pt x="0" y="2414485"/>
                      <a:pt x="300863" y="2088880"/>
                      <a:pt x="686409" y="2049725"/>
                    </a:cubicBezTo>
                    <a:lnTo>
                      <a:pt x="689664" y="2049561"/>
                    </a:lnTo>
                    <a:lnTo>
                      <a:pt x="691975" y="2019023"/>
                    </a:lnTo>
                    <a:cubicBezTo>
                      <a:pt x="750002" y="1639256"/>
                      <a:pt x="1003555" y="1323829"/>
                      <a:pt x="1346677" y="1178701"/>
                    </a:cubicBezTo>
                    <a:lnTo>
                      <a:pt x="1418138" y="1152546"/>
                    </a:lnTo>
                    <a:lnTo>
                      <a:pt x="1418138" y="751670"/>
                    </a:lnTo>
                    <a:cubicBezTo>
                      <a:pt x="1418138" y="336534"/>
                      <a:pt x="1754672" y="0"/>
                      <a:pt x="2169808"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765"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85" name="Group 284">
            <a:extLst>
              <a:ext uri="{FF2B5EF4-FFF2-40B4-BE49-F238E27FC236}">
                <a16:creationId xmlns:a16="http://schemas.microsoft.com/office/drawing/2014/main" id="{EC3E02C6-5E5C-48D8-B8A8-28840858EC69}"/>
              </a:ext>
            </a:extLst>
          </p:cNvPr>
          <p:cNvGrpSpPr/>
          <p:nvPr/>
        </p:nvGrpSpPr>
        <p:grpSpPr>
          <a:xfrm>
            <a:off x="171213" y="1606218"/>
            <a:ext cx="1028554" cy="1317976"/>
            <a:chOff x="227451" y="1689099"/>
            <a:chExt cx="1371600" cy="1757551"/>
          </a:xfrm>
        </p:grpSpPr>
        <p:sp>
          <p:nvSpPr>
            <p:cNvPr id="286" name="Rectangle 285">
              <a:extLst>
                <a:ext uri="{FF2B5EF4-FFF2-40B4-BE49-F238E27FC236}">
                  <a16:creationId xmlns:a16="http://schemas.microsoft.com/office/drawing/2014/main" id="{2A2B1C13-1205-472A-9582-45FEF566A07F}"/>
                </a:ext>
              </a:extLst>
            </p:cNvPr>
            <p:cNvSpPr/>
            <p:nvPr/>
          </p:nvSpPr>
          <p:spPr bwMode="auto">
            <a:xfrm flipH="1">
              <a:off x="227451" y="1689099"/>
              <a:ext cx="1371600" cy="1757551"/>
            </a:xfrm>
            <a:prstGeom prst="rect">
              <a:avLst/>
            </a:prstGeom>
            <a:solidFill>
              <a:schemeClr val="bg1"/>
            </a:solidFill>
            <a:ln w="19050" cap="sq"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302456" tIns="107540" rIns="0" bIns="107540" numCol="1" spcCol="0" rtlCol="0" fromWordArt="0" anchor="ctr" anchorCtr="0" forceAA="0" compatLnSpc="1">
              <a:prstTxWarp prst="textNoShape">
                <a:avLst/>
              </a:prstTxWarp>
              <a:noAutofit/>
            </a:bodyPr>
            <a:lstStyle/>
            <a:p>
              <a:pPr defTabSz="685313" eaLnBrk="1" hangingPunct="1">
                <a:lnSpc>
                  <a:spcPct val="90000"/>
                </a:lnSpc>
                <a:defRPr/>
              </a:pPr>
              <a:endParaRPr lang="en-US" sz="1175" kern="0" spc="-37">
                <a:solidFill>
                  <a:srgbClr val="353535"/>
                </a:solidFill>
                <a:latin typeface="Segoe UI Semilight"/>
                <a:ea typeface="Segoe UI" panose="020B0502040204020203" pitchFamily="34" charset="0"/>
                <a:cs typeface="Segoe UI" panose="020B0502040204020203" pitchFamily="34" charset="0"/>
              </a:endParaRPr>
            </a:p>
          </p:txBody>
        </p:sp>
        <p:grpSp>
          <p:nvGrpSpPr>
            <p:cNvPr id="287" name="Group 286">
              <a:extLst>
                <a:ext uri="{FF2B5EF4-FFF2-40B4-BE49-F238E27FC236}">
                  <a16:creationId xmlns:a16="http://schemas.microsoft.com/office/drawing/2014/main" id="{91823938-129A-40B7-95A1-E7D83BDAA95D}"/>
                </a:ext>
              </a:extLst>
            </p:cNvPr>
            <p:cNvGrpSpPr/>
            <p:nvPr/>
          </p:nvGrpSpPr>
          <p:grpSpPr>
            <a:xfrm>
              <a:off x="342501" y="2443053"/>
              <a:ext cx="774189" cy="232946"/>
              <a:chOff x="342501" y="2360592"/>
              <a:chExt cx="774189" cy="232946"/>
            </a:xfrm>
          </p:grpSpPr>
          <p:sp>
            <p:nvSpPr>
              <p:cNvPr id="304" name="TextBox 303">
                <a:extLst>
                  <a:ext uri="{FF2B5EF4-FFF2-40B4-BE49-F238E27FC236}">
                    <a16:creationId xmlns:a16="http://schemas.microsoft.com/office/drawing/2014/main" id="{1AC4840B-F05C-445B-83C4-D24ED9775163}"/>
                  </a:ext>
                </a:extLst>
              </p:cNvPr>
              <p:cNvSpPr txBox="1"/>
              <p:nvPr/>
            </p:nvSpPr>
            <p:spPr>
              <a:xfrm>
                <a:off x="585279" y="2419366"/>
                <a:ext cx="531411" cy="166223"/>
              </a:xfrm>
              <a:prstGeom prst="rect">
                <a:avLst/>
              </a:prstGeom>
            </p:spPr>
            <p:txBody>
              <a:bodyPr wrap="none" lIns="34285"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667" eaLnBrk="1" fontAlgn="auto" hangingPunct="1">
                  <a:spcBef>
                    <a:spcPts val="0"/>
                  </a:spcBef>
                  <a:spcAft>
                    <a:spcPts val="0"/>
                  </a:spcAft>
                  <a:defRPr/>
                </a:pPr>
                <a:r>
                  <a:rPr lang="en-US" sz="900"/>
                  <a:t>MacOS</a:t>
                </a:r>
              </a:p>
            </p:txBody>
          </p:sp>
          <p:pic>
            <p:nvPicPr>
              <p:cNvPr id="305" name="Picture 2" descr="See the source image">
                <a:extLst>
                  <a:ext uri="{FF2B5EF4-FFF2-40B4-BE49-F238E27FC236}">
                    <a16:creationId xmlns:a16="http://schemas.microsoft.com/office/drawing/2014/main" id="{B9C50718-044F-4EB4-95C1-2F43F8B6B2C1}"/>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42501" y="2360592"/>
                <a:ext cx="232946" cy="2329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8" name="Group 287">
              <a:extLst>
                <a:ext uri="{FF2B5EF4-FFF2-40B4-BE49-F238E27FC236}">
                  <a16:creationId xmlns:a16="http://schemas.microsoft.com/office/drawing/2014/main" id="{4F489676-C6B3-4B0F-AEA3-30FC69BA317F}"/>
                </a:ext>
              </a:extLst>
            </p:cNvPr>
            <p:cNvGrpSpPr/>
            <p:nvPr/>
          </p:nvGrpSpPr>
          <p:grpSpPr>
            <a:xfrm>
              <a:off x="359430" y="1791053"/>
              <a:ext cx="824586" cy="218138"/>
              <a:chOff x="359430" y="1713007"/>
              <a:chExt cx="824586" cy="218138"/>
            </a:xfrm>
          </p:grpSpPr>
          <p:sp>
            <p:nvSpPr>
              <p:cNvPr id="302" name="TextBox 301">
                <a:extLst>
                  <a:ext uri="{FF2B5EF4-FFF2-40B4-BE49-F238E27FC236}">
                    <a16:creationId xmlns:a16="http://schemas.microsoft.com/office/drawing/2014/main" id="{FB805A09-5475-4B37-84AE-397794594D90}"/>
                  </a:ext>
                </a:extLst>
              </p:cNvPr>
              <p:cNvSpPr txBox="1"/>
              <p:nvPr/>
            </p:nvSpPr>
            <p:spPr>
              <a:xfrm>
                <a:off x="594803" y="1738977"/>
                <a:ext cx="589213" cy="166224"/>
              </a:xfrm>
              <a:prstGeom prst="rect">
                <a:avLst/>
              </a:prstGeom>
            </p:spPr>
            <p:txBody>
              <a:bodyPr wrap="none" lIns="34285"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667" eaLnBrk="1" fontAlgn="auto" hangingPunct="1">
                  <a:spcBef>
                    <a:spcPts val="0"/>
                  </a:spcBef>
                  <a:spcAft>
                    <a:spcPts val="0"/>
                  </a:spcAft>
                  <a:defRPr/>
                </a:pPr>
                <a:r>
                  <a:rPr lang="en-US" sz="900"/>
                  <a:t>Android</a:t>
                </a:r>
              </a:p>
            </p:txBody>
          </p:sp>
          <p:pic>
            <p:nvPicPr>
              <p:cNvPr id="303" name="Picture 2">
                <a:extLst>
                  <a:ext uri="{FF2B5EF4-FFF2-40B4-BE49-F238E27FC236}">
                    <a16:creationId xmlns:a16="http://schemas.microsoft.com/office/drawing/2014/main" id="{E3E07F11-6BF3-4B35-88E7-67FBC034000D}"/>
                  </a:ext>
                </a:extLst>
              </p:cNvPr>
              <p:cNvPicPr>
                <a:picLocks noChangeAspect="1" noChangeArrowheads="1"/>
              </p:cNvPicPr>
              <p:nvPr/>
            </p:nvPicPr>
            <p:blipFill>
              <a:blip r:embed="rId6" cstate="print">
                <a:extLst>
                  <a:ext uri="{28A0092B-C50C-407E-A947-70E740481C1C}">
                    <a14:useLocalDpi xmlns:a14="http://schemas.microsoft.com/office/drawing/2010/main"/>
                  </a:ext>
                </a:extLst>
              </a:blip>
              <a:stretch>
                <a:fillRect/>
              </a:stretch>
            </p:blipFill>
            <p:spPr bwMode="auto">
              <a:xfrm>
                <a:off x="359430" y="1713007"/>
                <a:ext cx="218138" cy="2181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9" name="Group 288">
              <a:extLst>
                <a:ext uri="{FF2B5EF4-FFF2-40B4-BE49-F238E27FC236}">
                  <a16:creationId xmlns:a16="http://schemas.microsoft.com/office/drawing/2014/main" id="{B6A731CE-20D4-439C-BE8C-35AE95A5896A}"/>
                </a:ext>
              </a:extLst>
            </p:cNvPr>
            <p:cNvGrpSpPr/>
            <p:nvPr/>
          </p:nvGrpSpPr>
          <p:grpSpPr>
            <a:xfrm>
              <a:off x="342501" y="2109649"/>
              <a:ext cx="521948" cy="232946"/>
              <a:chOff x="342501" y="2020430"/>
              <a:chExt cx="521948" cy="232946"/>
            </a:xfrm>
          </p:grpSpPr>
          <p:sp>
            <p:nvSpPr>
              <p:cNvPr id="300" name="TextBox 299">
                <a:extLst>
                  <a:ext uri="{FF2B5EF4-FFF2-40B4-BE49-F238E27FC236}">
                    <a16:creationId xmlns:a16="http://schemas.microsoft.com/office/drawing/2014/main" id="{13C7E940-560B-43A5-8ED0-255CCD70E9B4}"/>
                  </a:ext>
                </a:extLst>
              </p:cNvPr>
              <p:cNvSpPr txBox="1"/>
              <p:nvPr/>
            </p:nvSpPr>
            <p:spPr>
              <a:xfrm>
                <a:off x="585279" y="2079204"/>
                <a:ext cx="279170" cy="166223"/>
              </a:xfrm>
              <a:prstGeom prst="rect">
                <a:avLst/>
              </a:prstGeom>
            </p:spPr>
            <p:txBody>
              <a:bodyPr wrap="none" lIns="34285"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667" eaLnBrk="1" fontAlgn="auto" hangingPunct="1">
                  <a:spcBef>
                    <a:spcPts val="0"/>
                  </a:spcBef>
                  <a:spcAft>
                    <a:spcPts val="0"/>
                  </a:spcAft>
                  <a:defRPr/>
                </a:pPr>
                <a:r>
                  <a:rPr lang="en-US" sz="900"/>
                  <a:t>iOS</a:t>
                </a:r>
              </a:p>
            </p:txBody>
          </p:sp>
          <p:pic>
            <p:nvPicPr>
              <p:cNvPr id="301" name="Picture 2" descr="See the source image">
                <a:extLst>
                  <a:ext uri="{FF2B5EF4-FFF2-40B4-BE49-F238E27FC236}">
                    <a16:creationId xmlns:a16="http://schemas.microsoft.com/office/drawing/2014/main" id="{5F3B8250-44A0-43FB-8ACE-A29A66CB93B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42501" y="2020430"/>
                <a:ext cx="232946" cy="2329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0" name="Group 289">
              <a:extLst>
                <a:ext uri="{FF2B5EF4-FFF2-40B4-BE49-F238E27FC236}">
                  <a16:creationId xmlns:a16="http://schemas.microsoft.com/office/drawing/2014/main" id="{45787E0C-01BF-4AFE-AC79-DE9F8E83A1E6}"/>
                </a:ext>
              </a:extLst>
            </p:cNvPr>
            <p:cNvGrpSpPr/>
            <p:nvPr/>
          </p:nvGrpSpPr>
          <p:grpSpPr>
            <a:xfrm>
              <a:off x="366356" y="2776457"/>
              <a:ext cx="889281" cy="184484"/>
              <a:chOff x="366356" y="2735226"/>
              <a:chExt cx="889281" cy="184484"/>
            </a:xfrm>
          </p:grpSpPr>
          <p:sp>
            <p:nvSpPr>
              <p:cNvPr id="298" name="TextBox 297">
                <a:extLst>
                  <a:ext uri="{FF2B5EF4-FFF2-40B4-BE49-F238E27FC236}">
                    <a16:creationId xmlns:a16="http://schemas.microsoft.com/office/drawing/2014/main" id="{FF7B3984-1502-414F-9FC8-63EAE24CB2CF}"/>
                  </a:ext>
                </a:extLst>
              </p:cNvPr>
              <p:cNvSpPr txBox="1"/>
              <p:nvPr/>
            </p:nvSpPr>
            <p:spPr>
              <a:xfrm>
                <a:off x="585279" y="2744369"/>
                <a:ext cx="670358" cy="166224"/>
              </a:xfrm>
              <a:prstGeom prst="rect">
                <a:avLst/>
              </a:prstGeom>
            </p:spPr>
            <p:txBody>
              <a:bodyPr wrap="none" lIns="34285"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667" eaLnBrk="1" fontAlgn="auto" hangingPunct="1">
                  <a:spcBef>
                    <a:spcPts val="0"/>
                  </a:spcBef>
                  <a:spcAft>
                    <a:spcPts val="0"/>
                  </a:spcAft>
                  <a:defRPr/>
                </a:pPr>
                <a:r>
                  <a:rPr lang="en-US" sz="900"/>
                  <a:t>Windows</a:t>
                </a:r>
              </a:p>
            </p:txBody>
          </p:sp>
          <p:sp>
            <p:nvSpPr>
              <p:cNvPr id="299" name="Freeform 15">
                <a:extLst>
                  <a:ext uri="{FF2B5EF4-FFF2-40B4-BE49-F238E27FC236}">
                    <a16:creationId xmlns:a16="http://schemas.microsoft.com/office/drawing/2014/main" id="{584D6E0E-0AF3-4EC9-B98E-A59A990B281D}"/>
                  </a:ext>
                </a:extLst>
              </p:cNvPr>
              <p:cNvSpPr>
                <a:spLocks noChangeAspect="1" noEditPoints="1"/>
              </p:cNvSpPr>
              <p:nvPr/>
            </p:nvSpPr>
            <p:spPr bwMode="black">
              <a:xfrm>
                <a:off x="366356" y="2735226"/>
                <a:ext cx="185236" cy="18448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defTabSz="685775" eaLnBrk="1" fontAlgn="auto" hangingPunct="1">
                  <a:spcBef>
                    <a:spcPts val="0"/>
                  </a:spcBef>
                  <a:spcAft>
                    <a:spcPts val="0"/>
                  </a:spcAft>
                  <a:defRPr/>
                </a:pPr>
                <a:endParaRPr lang="en-US" sz="900">
                  <a:solidFill>
                    <a:srgbClr val="000000"/>
                  </a:solidFill>
                  <a:latin typeface="Segoe UI"/>
                </a:endParaRPr>
              </a:p>
            </p:txBody>
          </p:sp>
        </p:grpSp>
        <p:grpSp>
          <p:nvGrpSpPr>
            <p:cNvPr id="291" name="Group 290">
              <a:extLst>
                <a:ext uri="{FF2B5EF4-FFF2-40B4-BE49-F238E27FC236}">
                  <a16:creationId xmlns:a16="http://schemas.microsoft.com/office/drawing/2014/main" id="{D4BA5691-D7B3-41E0-88C1-68F9215B2859}"/>
                </a:ext>
              </a:extLst>
            </p:cNvPr>
            <p:cNvGrpSpPr/>
            <p:nvPr/>
          </p:nvGrpSpPr>
          <p:grpSpPr>
            <a:xfrm>
              <a:off x="345415" y="3061399"/>
              <a:ext cx="1130023" cy="304741"/>
              <a:chOff x="345415" y="3061399"/>
              <a:chExt cx="1130023" cy="304741"/>
            </a:xfrm>
          </p:grpSpPr>
          <p:sp>
            <p:nvSpPr>
              <p:cNvPr id="292" name="TextBox 291">
                <a:extLst>
                  <a:ext uri="{FF2B5EF4-FFF2-40B4-BE49-F238E27FC236}">
                    <a16:creationId xmlns:a16="http://schemas.microsoft.com/office/drawing/2014/main" id="{E07F22C5-5098-4E84-B57E-884FC952CF0A}"/>
                  </a:ext>
                </a:extLst>
              </p:cNvPr>
              <p:cNvSpPr txBox="1"/>
              <p:nvPr/>
            </p:nvSpPr>
            <p:spPr>
              <a:xfrm>
                <a:off x="575754" y="3061399"/>
                <a:ext cx="899684" cy="304741"/>
              </a:xfrm>
              <a:prstGeom prst="rect">
                <a:avLst/>
              </a:prstGeom>
            </p:spPr>
            <p:txBody>
              <a:bodyPr wrap="none" lIns="34285"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667" eaLnBrk="1" fontAlgn="auto" hangingPunct="1">
                  <a:spcBef>
                    <a:spcPts val="0"/>
                  </a:spcBef>
                  <a:spcAft>
                    <a:spcPts val="0"/>
                  </a:spcAft>
                  <a:defRPr/>
                </a:pPr>
                <a:r>
                  <a:rPr lang="en-US" sz="825"/>
                  <a:t>Windows</a:t>
                </a:r>
                <a:br>
                  <a:rPr lang="en-US" sz="825"/>
                </a:br>
                <a:r>
                  <a:rPr lang="en-US" sz="825"/>
                  <a:t>Defender ATP</a:t>
                </a:r>
              </a:p>
            </p:txBody>
          </p:sp>
          <p:grpSp>
            <p:nvGrpSpPr>
              <p:cNvPr id="293" name="Group 292">
                <a:extLst>
                  <a:ext uri="{FF2B5EF4-FFF2-40B4-BE49-F238E27FC236}">
                    <a16:creationId xmlns:a16="http://schemas.microsoft.com/office/drawing/2014/main" id="{5451CF2A-4666-46CF-A6ED-90E073D7CF1A}"/>
                  </a:ext>
                </a:extLst>
              </p:cNvPr>
              <p:cNvGrpSpPr>
                <a:grpSpLocks noChangeAspect="1"/>
              </p:cNvGrpSpPr>
              <p:nvPr/>
            </p:nvGrpSpPr>
            <p:grpSpPr>
              <a:xfrm>
                <a:off x="345415" y="3069624"/>
                <a:ext cx="211010" cy="265148"/>
                <a:chOff x="675965" y="5002817"/>
                <a:chExt cx="420971" cy="528978"/>
              </a:xfrm>
            </p:grpSpPr>
            <p:sp>
              <p:nvSpPr>
                <p:cNvPr id="294" name="Shield_EA18" title="Icon of a shield">
                  <a:extLst>
                    <a:ext uri="{FF2B5EF4-FFF2-40B4-BE49-F238E27FC236}">
                      <a16:creationId xmlns:a16="http://schemas.microsoft.com/office/drawing/2014/main" id="{C7A2E578-8E3D-4DE6-B75A-3552E67030F6}"/>
                    </a:ext>
                  </a:extLst>
                </p:cNvPr>
                <p:cNvSpPr>
                  <a:spLocks noChangeAspect="1"/>
                </p:cNvSpPr>
                <p:nvPr/>
              </p:nvSpPr>
              <p:spPr bwMode="auto">
                <a:xfrm>
                  <a:off x="693357" y="5012775"/>
                  <a:ext cx="386187" cy="509064"/>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1"/>
                </a:solidFill>
                <a:ln w="15875" cap="sq">
                  <a:noFill/>
                  <a:prstDash val="solid"/>
                  <a:miter lim="800000"/>
                  <a:headEnd/>
                  <a:tailEnd/>
                </a:ln>
              </p:spPr>
              <p:txBody>
                <a:bodyPr vert="horz" wrap="square" lIns="68570" tIns="34285" rIns="68570" bIns="34285" numCol="1" anchor="t" anchorCtr="0" compatLnSpc="1">
                  <a:prstTxWarp prst="textNoShape">
                    <a:avLst/>
                  </a:prstTxWarp>
                </a:bodyPr>
                <a:lstStyle/>
                <a:p>
                  <a:pPr defTabSz="685775" eaLnBrk="1" fontAlgn="auto" hangingPunct="1">
                    <a:spcBef>
                      <a:spcPts val="0"/>
                    </a:spcBef>
                    <a:spcAft>
                      <a:spcPts val="0"/>
                    </a:spcAft>
                    <a:defRPr/>
                  </a:pPr>
                  <a:endParaRPr lang="en-US" sz="900">
                    <a:gradFill>
                      <a:gsLst>
                        <a:gs pos="0">
                          <a:srgbClr val="505050"/>
                        </a:gs>
                        <a:gs pos="100000">
                          <a:srgbClr val="505050"/>
                        </a:gs>
                      </a:gsLst>
                    </a:gradFill>
                    <a:latin typeface="Segoe UI"/>
                  </a:endParaRPr>
                </a:p>
              </p:txBody>
            </p:sp>
            <p:grpSp>
              <p:nvGrpSpPr>
                <p:cNvPr id="295" name="Group 294">
                  <a:extLst>
                    <a:ext uri="{FF2B5EF4-FFF2-40B4-BE49-F238E27FC236}">
                      <a16:creationId xmlns:a16="http://schemas.microsoft.com/office/drawing/2014/main" id="{4DD7B952-D67A-4C1A-AED7-95E17D721D30}"/>
                    </a:ext>
                  </a:extLst>
                </p:cNvPr>
                <p:cNvGrpSpPr>
                  <a:grpSpLocks noChangeAspect="1"/>
                </p:cNvGrpSpPr>
                <p:nvPr/>
              </p:nvGrpSpPr>
              <p:grpSpPr>
                <a:xfrm>
                  <a:off x="675965" y="5002817"/>
                  <a:ext cx="420971" cy="528978"/>
                  <a:chOff x="7121029" y="7062921"/>
                  <a:chExt cx="511078" cy="642200"/>
                </a:xfrm>
              </p:grpSpPr>
              <p:cxnSp>
                <p:nvCxnSpPr>
                  <p:cNvPr id="296" name="Straight Connector 295">
                    <a:extLst>
                      <a:ext uri="{FF2B5EF4-FFF2-40B4-BE49-F238E27FC236}">
                        <a16:creationId xmlns:a16="http://schemas.microsoft.com/office/drawing/2014/main" id="{3913FC34-9021-440F-90EA-13601EEB3E43}"/>
                      </a:ext>
                    </a:extLst>
                  </p:cNvPr>
                  <p:cNvCxnSpPr>
                    <a:cxnSpLocks/>
                  </p:cNvCxnSpPr>
                  <p:nvPr/>
                </p:nvCxnSpPr>
                <p:spPr>
                  <a:xfrm>
                    <a:off x="7377467" y="7062921"/>
                    <a:ext cx="0" cy="642200"/>
                  </a:xfrm>
                  <a:prstGeom prst="line">
                    <a:avLst/>
                  </a:prstGeom>
                  <a:ln w="1905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4E71943C-2C52-45D1-B26F-3E29C4DF9CA2}"/>
                      </a:ext>
                    </a:extLst>
                  </p:cNvPr>
                  <p:cNvCxnSpPr>
                    <a:cxnSpLocks/>
                  </p:cNvCxnSpPr>
                  <p:nvPr/>
                </p:nvCxnSpPr>
                <p:spPr>
                  <a:xfrm>
                    <a:off x="7121029" y="7384021"/>
                    <a:ext cx="511078" cy="0"/>
                  </a:xfrm>
                  <a:prstGeom prst="line">
                    <a:avLst/>
                  </a:prstGeom>
                  <a:ln w="19050">
                    <a:solidFill>
                      <a:srgbClr val="FFFFFF"/>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grpSp>
        <p:nvGrpSpPr>
          <p:cNvPr id="306" name="Group 305">
            <a:extLst>
              <a:ext uri="{FF2B5EF4-FFF2-40B4-BE49-F238E27FC236}">
                <a16:creationId xmlns:a16="http://schemas.microsoft.com/office/drawing/2014/main" id="{DB5B23B3-1D4B-4B85-B093-80C3ED318EF6}"/>
              </a:ext>
            </a:extLst>
          </p:cNvPr>
          <p:cNvGrpSpPr/>
          <p:nvPr/>
        </p:nvGrpSpPr>
        <p:grpSpPr>
          <a:xfrm>
            <a:off x="171213" y="4126439"/>
            <a:ext cx="1028554" cy="773823"/>
            <a:chOff x="227451" y="5049872"/>
            <a:chExt cx="1371600" cy="1031910"/>
          </a:xfrm>
        </p:grpSpPr>
        <p:grpSp>
          <p:nvGrpSpPr>
            <p:cNvPr id="307" name="Group 306">
              <a:extLst>
                <a:ext uri="{FF2B5EF4-FFF2-40B4-BE49-F238E27FC236}">
                  <a16:creationId xmlns:a16="http://schemas.microsoft.com/office/drawing/2014/main" id="{60B9F475-4E16-4192-98C3-467C2CCE3F4C}"/>
                </a:ext>
              </a:extLst>
            </p:cNvPr>
            <p:cNvGrpSpPr/>
            <p:nvPr/>
          </p:nvGrpSpPr>
          <p:grpSpPr>
            <a:xfrm>
              <a:off x="227451" y="5049872"/>
              <a:ext cx="1371600" cy="1031910"/>
              <a:chOff x="227451" y="4117110"/>
              <a:chExt cx="1371600" cy="1031910"/>
            </a:xfrm>
          </p:grpSpPr>
          <p:sp>
            <p:nvSpPr>
              <p:cNvPr id="314" name="Rectangle 313">
                <a:extLst>
                  <a:ext uri="{FF2B5EF4-FFF2-40B4-BE49-F238E27FC236}">
                    <a16:creationId xmlns:a16="http://schemas.microsoft.com/office/drawing/2014/main" id="{C403C665-2249-4276-846B-EBAFC7F2D2DB}"/>
                  </a:ext>
                </a:extLst>
              </p:cNvPr>
              <p:cNvSpPr/>
              <p:nvPr/>
            </p:nvSpPr>
            <p:spPr bwMode="auto">
              <a:xfrm flipH="1">
                <a:off x="227451" y="4117110"/>
                <a:ext cx="1371600" cy="1031910"/>
              </a:xfrm>
              <a:prstGeom prst="rect">
                <a:avLst/>
              </a:prstGeom>
              <a:solidFill>
                <a:schemeClr val="bg1"/>
              </a:solidFill>
              <a:ln w="19050" cap="sq"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302456" tIns="107540" rIns="0" bIns="107540" numCol="1" spcCol="0" rtlCol="0" fromWordArt="0" anchor="ctr" anchorCtr="0" forceAA="0" compatLnSpc="1">
                <a:prstTxWarp prst="textNoShape">
                  <a:avLst/>
                </a:prstTxWarp>
                <a:noAutofit/>
              </a:bodyPr>
              <a:lstStyle/>
              <a:p>
                <a:pPr defTabSz="685313" eaLnBrk="1" hangingPunct="1">
                  <a:lnSpc>
                    <a:spcPct val="90000"/>
                  </a:lnSpc>
                  <a:defRPr/>
                </a:pPr>
                <a:endParaRPr lang="en-US" sz="1175" kern="0" spc="-37">
                  <a:solidFill>
                    <a:srgbClr val="353535"/>
                  </a:solidFill>
                  <a:latin typeface="Segoe UI Semilight"/>
                  <a:ea typeface="Segoe UI" panose="020B0502040204020203" pitchFamily="34" charset="0"/>
                  <a:cs typeface="Segoe UI" panose="020B0502040204020203" pitchFamily="34" charset="0"/>
                </a:endParaRPr>
              </a:p>
            </p:txBody>
          </p:sp>
          <p:sp>
            <p:nvSpPr>
              <p:cNvPr id="315" name="TextBox 314">
                <a:extLst>
                  <a:ext uri="{FF2B5EF4-FFF2-40B4-BE49-F238E27FC236}">
                    <a16:creationId xmlns:a16="http://schemas.microsoft.com/office/drawing/2014/main" id="{232E94A4-3BCA-4B73-9E07-88F26EBE2DC0}"/>
                  </a:ext>
                </a:extLst>
              </p:cNvPr>
              <p:cNvSpPr txBox="1"/>
              <p:nvPr/>
            </p:nvSpPr>
            <p:spPr>
              <a:xfrm>
                <a:off x="601153" y="4771140"/>
                <a:ext cx="740900" cy="152371"/>
              </a:xfrm>
              <a:prstGeom prst="rect">
                <a:avLst/>
              </a:prstGeom>
            </p:spPr>
            <p:txBody>
              <a:bodyPr wrap="none" lIns="34285" tIns="0" rIns="0" bIns="0" anchor="ctr">
                <a:spAutoFit/>
              </a:bodyPr>
              <a:lstStyle>
                <a:defPPr>
                  <a:defRPr lang="en-US"/>
                </a:defPPr>
                <a:lvl1pPr defTabSz="878391">
                  <a:lnSpc>
                    <a:spcPct val="90000"/>
                  </a:lnSpc>
                  <a:defRPr sz="1100" kern="100">
                    <a:solidFill>
                      <a:srgbClr val="353535"/>
                    </a:solidFill>
                    <a:latin typeface="Segoe UI"/>
                    <a:ea typeface="ＭＳ Ｐゴシック" charset="0"/>
                  </a:defRPr>
                </a:lvl1pPr>
              </a:lstStyle>
              <a:p>
                <a:pPr defTabSz="658793" eaLnBrk="1" fontAlgn="auto" hangingPunct="1">
                  <a:spcBef>
                    <a:spcPts val="0"/>
                  </a:spcBef>
                  <a:spcAft>
                    <a:spcPts val="0"/>
                  </a:spcAft>
                  <a:defRPr/>
                </a:pPr>
                <a:r>
                  <a:rPr lang="en-US" sz="825"/>
                  <a:t>Client apps</a:t>
                </a:r>
              </a:p>
            </p:txBody>
          </p:sp>
          <p:sp>
            <p:nvSpPr>
              <p:cNvPr id="316" name="TextBox 315">
                <a:extLst>
                  <a:ext uri="{FF2B5EF4-FFF2-40B4-BE49-F238E27FC236}">
                    <a16:creationId xmlns:a16="http://schemas.microsoft.com/office/drawing/2014/main" id="{8C652B4F-EE4C-4E33-99DA-A4B5E7EB07DA}"/>
                  </a:ext>
                </a:extLst>
              </p:cNvPr>
              <p:cNvSpPr txBox="1"/>
              <p:nvPr/>
            </p:nvSpPr>
            <p:spPr>
              <a:xfrm>
                <a:off x="601153" y="4298616"/>
                <a:ext cx="882240" cy="152371"/>
              </a:xfrm>
              <a:prstGeom prst="rect">
                <a:avLst/>
              </a:prstGeom>
            </p:spPr>
            <p:txBody>
              <a:bodyPr wrap="none" lIns="34285" tIns="0" rIns="0" bIns="0" anchor="ctr">
                <a:spAutoFit/>
              </a:bodyPr>
              <a:lstStyle>
                <a:defPPr>
                  <a:defRPr lang="en-US"/>
                </a:defPPr>
                <a:lvl1pPr defTabSz="878391">
                  <a:lnSpc>
                    <a:spcPct val="90000"/>
                  </a:lnSpc>
                  <a:defRPr sz="1100" kern="100">
                    <a:solidFill>
                      <a:srgbClr val="353535"/>
                    </a:solidFill>
                    <a:latin typeface="Segoe UI"/>
                    <a:ea typeface="ＭＳ Ｐゴシック" charset="0"/>
                  </a:defRPr>
                </a:lvl1pPr>
              </a:lstStyle>
              <a:p>
                <a:pPr defTabSz="658793" eaLnBrk="1" fontAlgn="auto" hangingPunct="1">
                  <a:spcBef>
                    <a:spcPts val="0"/>
                  </a:spcBef>
                  <a:spcAft>
                    <a:spcPts val="0"/>
                  </a:spcAft>
                  <a:defRPr/>
                </a:pPr>
                <a:r>
                  <a:rPr lang="en-US" sz="825"/>
                  <a:t>Browser apps</a:t>
                </a:r>
              </a:p>
            </p:txBody>
          </p:sp>
        </p:grpSp>
        <p:sp>
          <p:nvSpPr>
            <p:cNvPr id="308" name="Browser_2" title="Icon of a browser window with a home symbol inside">
              <a:extLst>
                <a:ext uri="{FF2B5EF4-FFF2-40B4-BE49-F238E27FC236}">
                  <a16:creationId xmlns:a16="http://schemas.microsoft.com/office/drawing/2014/main" id="{F732CB7E-99D1-4363-9C5C-B4886AF382BB}"/>
                </a:ext>
              </a:extLst>
            </p:cNvPr>
            <p:cNvSpPr>
              <a:spLocks noChangeAspect="1" noEditPoints="1"/>
            </p:cNvSpPr>
            <p:nvPr/>
          </p:nvSpPr>
          <p:spPr bwMode="auto">
            <a:xfrm>
              <a:off x="321469" y="5196534"/>
              <a:ext cx="244436" cy="207812"/>
            </a:xfrm>
            <a:custGeom>
              <a:avLst/>
              <a:gdLst>
                <a:gd name="T0" fmla="*/ 0 w 335"/>
                <a:gd name="T1" fmla="*/ 0 h 285"/>
                <a:gd name="T2" fmla="*/ 335 w 335"/>
                <a:gd name="T3" fmla="*/ 0 h 285"/>
                <a:gd name="T4" fmla="*/ 335 w 335"/>
                <a:gd name="T5" fmla="*/ 285 h 285"/>
                <a:gd name="T6" fmla="*/ 0 w 335"/>
                <a:gd name="T7" fmla="*/ 285 h 285"/>
                <a:gd name="T8" fmla="*/ 0 w 335"/>
                <a:gd name="T9" fmla="*/ 0 h 285"/>
                <a:gd name="T10" fmla="*/ 0 w 335"/>
                <a:gd name="T11" fmla="*/ 64 h 285"/>
                <a:gd name="T12" fmla="*/ 335 w 335"/>
                <a:gd name="T13" fmla="*/ 64 h 285"/>
                <a:gd name="T14" fmla="*/ 293 w 335"/>
                <a:gd name="T15" fmla="*/ 36 h 285"/>
                <a:gd name="T16" fmla="*/ 298 w 335"/>
                <a:gd name="T17" fmla="*/ 31 h 285"/>
                <a:gd name="T18" fmla="*/ 293 w 335"/>
                <a:gd name="T19" fmla="*/ 27 h 285"/>
                <a:gd name="T20" fmla="*/ 289 w 335"/>
                <a:gd name="T21" fmla="*/ 31 h 285"/>
                <a:gd name="T22" fmla="*/ 293 w 335"/>
                <a:gd name="T23" fmla="*/ 36 h 285"/>
                <a:gd name="T24" fmla="*/ 240 w 335"/>
                <a:gd name="T25" fmla="*/ 36 h 285"/>
                <a:gd name="T26" fmla="*/ 245 w 335"/>
                <a:gd name="T27" fmla="*/ 31 h 285"/>
                <a:gd name="T28" fmla="*/ 240 w 335"/>
                <a:gd name="T29" fmla="*/ 27 h 285"/>
                <a:gd name="T30" fmla="*/ 235 w 335"/>
                <a:gd name="T31" fmla="*/ 31 h 285"/>
                <a:gd name="T32" fmla="*/ 240 w 335"/>
                <a:gd name="T33" fmla="*/ 36 h 285"/>
                <a:gd name="T34" fmla="*/ 187 w 335"/>
                <a:gd name="T35" fmla="*/ 36 h 285"/>
                <a:gd name="T36" fmla="*/ 192 w 335"/>
                <a:gd name="T37" fmla="*/ 31 h 285"/>
                <a:gd name="T38" fmla="*/ 187 w 335"/>
                <a:gd name="T39" fmla="*/ 27 h 285"/>
                <a:gd name="T40" fmla="*/ 182 w 335"/>
                <a:gd name="T41" fmla="*/ 31 h 285"/>
                <a:gd name="T42" fmla="*/ 187 w 335"/>
                <a:gd name="T43" fmla="*/ 36 h 285"/>
                <a:gd name="T44" fmla="*/ 157 w 335"/>
                <a:gd name="T45" fmla="*/ 233 h 285"/>
                <a:gd name="T46" fmla="*/ 157 w 335"/>
                <a:gd name="T47" fmla="*/ 190 h 285"/>
                <a:gd name="T48" fmla="*/ 185 w 335"/>
                <a:gd name="T49" fmla="*/ 190 h 285"/>
                <a:gd name="T50" fmla="*/ 185 w 335"/>
                <a:gd name="T51" fmla="*/ 233 h 285"/>
                <a:gd name="T52" fmla="*/ 232 w 335"/>
                <a:gd name="T53" fmla="*/ 233 h 285"/>
                <a:gd name="T54" fmla="*/ 232 w 335"/>
                <a:gd name="T55" fmla="*/ 165 h 285"/>
                <a:gd name="T56" fmla="*/ 171 w 335"/>
                <a:gd name="T57" fmla="*/ 105 h 285"/>
                <a:gd name="T58" fmla="*/ 111 w 335"/>
                <a:gd name="T59" fmla="*/ 165 h 285"/>
                <a:gd name="T60" fmla="*/ 111 w 335"/>
                <a:gd name="T61" fmla="*/ 233 h 285"/>
                <a:gd name="T62" fmla="*/ 157 w 335"/>
                <a:gd name="T63" fmla="*/ 23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5" h="285">
                  <a:moveTo>
                    <a:pt x="0" y="0"/>
                  </a:moveTo>
                  <a:cubicBezTo>
                    <a:pt x="335" y="0"/>
                    <a:pt x="335" y="0"/>
                    <a:pt x="335" y="0"/>
                  </a:cubicBezTo>
                  <a:cubicBezTo>
                    <a:pt x="335" y="285"/>
                    <a:pt x="335" y="285"/>
                    <a:pt x="335" y="285"/>
                  </a:cubicBezTo>
                  <a:cubicBezTo>
                    <a:pt x="0" y="285"/>
                    <a:pt x="0" y="285"/>
                    <a:pt x="0" y="285"/>
                  </a:cubicBezTo>
                  <a:cubicBezTo>
                    <a:pt x="0" y="0"/>
                    <a:pt x="0" y="0"/>
                    <a:pt x="0" y="0"/>
                  </a:cubicBezTo>
                  <a:close/>
                  <a:moveTo>
                    <a:pt x="0" y="64"/>
                  </a:moveTo>
                  <a:cubicBezTo>
                    <a:pt x="335" y="64"/>
                    <a:pt x="335" y="64"/>
                    <a:pt x="335" y="64"/>
                  </a:cubicBezTo>
                  <a:moveTo>
                    <a:pt x="293" y="36"/>
                  </a:moveTo>
                  <a:cubicBezTo>
                    <a:pt x="296" y="36"/>
                    <a:pt x="298" y="34"/>
                    <a:pt x="298" y="31"/>
                  </a:cubicBezTo>
                  <a:cubicBezTo>
                    <a:pt x="298" y="29"/>
                    <a:pt x="296" y="27"/>
                    <a:pt x="293" y="27"/>
                  </a:cubicBezTo>
                  <a:cubicBezTo>
                    <a:pt x="291" y="27"/>
                    <a:pt x="289" y="29"/>
                    <a:pt x="289" y="31"/>
                  </a:cubicBezTo>
                  <a:cubicBezTo>
                    <a:pt x="289" y="34"/>
                    <a:pt x="291" y="36"/>
                    <a:pt x="293" y="36"/>
                  </a:cubicBezTo>
                  <a:close/>
                  <a:moveTo>
                    <a:pt x="240" y="36"/>
                  </a:moveTo>
                  <a:cubicBezTo>
                    <a:pt x="243" y="36"/>
                    <a:pt x="245" y="34"/>
                    <a:pt x="245" y="31"/>
                  </a:cubicBezTo>
                  <a:cubicBezTo>
                    <a:pt x="245" y="29"/>
                    <a:pt x="243" y="27"/>
                    <a:pt x="240" y="27"/>
                  </a:cubicBezTo>
                  <a:cubicBezTo>
                    <a:pt x="238" y="27"/>
                    <a:pt x="235" y="29"/>
                    <a:pt x="235" y="31"/>
                  </a:cubicBezTo>
                  <a:cubicBezTo>
                    <a:pt x="235" y="34"/>
                    <a:pt x="238" y="36"/>
                    <a:pt x="240" y="36"/>
                  </a:cubicBezTo>
                  <a:close/>
                  <a:moveTo>
                    <a:pt x="187" y="36"/>
                  </a:moveTo>
                  <a:cubicBezTo>
                    <a:pt x="189" y="36"/>
                    <a:pt x="192" y="34"/>
                    <a:pt x="192" y="31"/>
                  </a:cubicBezTo>
                  <a:cubicBezTo>
                    <a:pt x="192" y="29"/>
                    <a:pt x="189" y="27"/>
                    <a:pt x="187" y="27"/>
                  </a:cubicBezTo>
                  <a:cubicBezTo>
                    <a:pt x="184" y="27"/>
                    <a:pt x="182" y="29"/>
                    <a:pt x="182" y="31"/>
                  </a:cubicBezTo>
                  <a:cubicBezTo>
                    <a:pt x="182" y="34"/>
                    <a:pt x="184" y="36"/>
                    <a:pt x="187" y="36"/>
                  </a:cubicBezTo>
                  <a:close/>
                  <a:moveTo>
                    <a:pt x="157" y="233"/>
                  </a:moveTo>
                  <a:cubicBezTo>
                    <a:pt x="157" y="190"/>
                    <a:pt x="157" y="190"/>
                    <a:pt x="157" y="190"/>
                  </a:cubicBezTo>
                  <a:cubicBezTo>
                    <a:pt x="185" y="190"/>
                    <a:pt x="185" y="190"/>
                    <a:pt x="185" y="190"/>
                  </a:cubicBezTo>
                  <a:cubicBezTo>
                    <a:pt x="185" y="233"/>
                    <a:pt x="185" y="233"/>
                    <a:pt x="185" y="233"/>
                  </a:cubicBezTo>
                  <a:cubicBezTo>
                    <a:pt x="232" y="233"/>
                    <a:pt x="232" y="233"/>
                    <a:pt x="232" y="233"/>
                  </a:cubicBezTo>
                  <a:cubicBezTo>
                    <a:pt x="232" y="165"/>
                    <a:pt x="232" y="165"/>
                    <a:pt x="232" y="165"/>
                  </a:cubicBezTo>
                  <a:cubicBezTo>
                    <a:pt x="171" y="105"/>
                    <a:pt x="171" y="105"/>
                    <a:pt x="171" y="105"/>
                  </a:cubicBezTo>
                  <a:cubicBezTo>
                    <a:pt x="111" y="165"/>
                    <a:pt x="111" y="165"/>
                    <a:pt x="111" y="165"/>
                  </a:cubicBezTo>
                  <a:cubicBezTo>
                    <a:pt x="111" y="233"/>
                    <a:pt x="111" y="233"/>
                    <a:pt x="111" y="233"/>
                  </a:cubicBezTo>
                  <a:lnTo>
                    <a:pt x="157" y="233"/>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85775" eaLnBrk="1" fontAlgn="auto" hangingPunct="1">
                <a:spcBef>
                  <a:spcPts val="0"/>
                </a:spcBef>
                <a:spcAft>
                  <a:spcPts val="0"/>
                </a:spcAft>
                <a:defRPr/>
              </a:pPr>
              <a:endParaRPr lang="en-US" sz="1377">
                <a:solidFill>
                  <a:srgbClr val="000000"/>
                </a:solidFill>
                <a:latin typeface="Segoe UI"/>
              </a:endParaRPr>
            </a:p>
          </p:txBody>
        </p:sp>
        <p:grpSp>
          <p:nvGrpSpPr>
            <p:cNvPr id="309" name="Group 308">
              <a:extLst>
                <a:ext uri="{FF2B5EF4-FFF2-40B4-BE49-F238E27FC236}">
                  <a16:creationId xmlns:a16="http://schemas.microsoft.com/office/drawing/2014/main" id="{87289D29-5346-4784-9214-CC366681A56F}"/>
                </a:ext>
              </a:extLst>
            </p:cNvPr>
            <p:cNvGrpSpPr/>
            <p:nvPr/>
          </p:nvGrpSpPr>
          <p:grpSpPr>
            <a:xfrm>
              <a:off x="322450" y="5643007"/>
              <a:ext cx="241012" cy="237560"/>
              <a:chOff x="9168011" y="5170684"/>
              <a:chExt cx="665163" cy="655637"/>
            </a:xfrm>
          </p:grpSpPr>
          <p:sp>
            <p:nvSpPr>
              <p:cNvPr id="310" name="Freeform 44">
                <a:extLst>
                  <a:ext uri="{FF2B5EF4-FFF2-40B4-BE49-F238E27FC236}">
                    <a16:creationId xmlns:a16="http://schemas.microsoft.com/office/drawing/2014/main" id="{2D4A87CE-4B9E-4C1E-A147-C1C0349FC437}"/>
                  </a:ext>
                </a:extLst>
              </p:cNvPr>
              <p:cNvSpPr>
                <a:spLocks/>
              </p:cNvSpPr>
              <p:nvPr/>
            </p:nvSpPr>
            <p:spPr bwMode="auto">
              <a:xfrm>
                <a:off x="9168012" y="5170684"/>
                <a:ext cx="244474" cy="266700"/>
              </a:xfrm>
              <a:custGeom>
                <a:avLst/>
                <a:gdLst>
                  <a:gd name="T0" fmla="*/ 82 w 82"/>
                  <a:gd name="T1" fmla="*/ 76 h 82"/>
                  <a:gd name="T2" fmla="*/ 76 w 82"/>
                  <a:gd name="T3" fmla="*/ 82 h 82"/>
                  <a:gd name="T4" fmla="*/ 6 w 82"/>
                  <a:gd name="T5" fmla="*/ 82 h 82"/>
                  <a:gd name="T6" fmla="*/ 0 w 82"/>
                  <a:gd name="T7" fmla="*/ 76 h 82"/>
                  <a:gd name="T8" fmla="*/ 0 w 82"/>
                  <a:gd name="T9" fmla="*/ 5 h 82"/>
                  <a:gd name="T10" fmla="*/ 6 w 82"/>
                  <a:gd name="T11" fmla="*/ 0 h 82"/>
                  <a:gd name="T12" fmla="*/ 76 w 82"/>
                  <a:gd name="T13" fmla="*/ 0 h 82"/>
                  <a:gd name="T14" fmla="*/ 82 w 82"/>
                  <a:gd name="T15" fmla="*/ 5 h 82"/>
                  <a:gd name="T16" fmla="*/ 82 w 82"/>
                  <a:gd name="T1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2">
                    <a:moveTo>
                      <a:pt x="82" y="76"/>
                    </a:moveTo>
                    <a:cubicBezTo>
                      <a:pt x="82" y="79"/>
                      <a:pt x="79" y="82"/>
                      <a:pt x="76" y="82"/>
                    </a:cubicBezTo>
                    <a:cubicBezTo>
                      <a:pt x="6" y="82"/>
                      <a:pt x="6" y="82"/>
                      <a:pt x="6" y="82"/>
                    </a:cubicBezTo>
                    <a:cubicBezTo>
                      <a:pt x="2" y="82"/>
                      <a:pt x="0" y="79"/>
                      <a:pt x="0" y="76"/>
                    </a:cubicBezTo>
                    <a:cubicBezTo>
                      <a:pt x="0" y="5"/>
                      <a:pt x="0" y="5"/>
                      <a:pt x="0" y="5"/>
                    </a:cubicBezTo>
                    <a:cubicBezTo>
                      <a:pt x="0" y="2"/>
                      <a:pt x="2" y="0"/>
                      <a:pt x="6" y="0"/>
                    </a:cubicBezTo>
                    <a:cubicBezTo>
                      <a:pt x="76" y="0"/>
                      <a:pt x="76" y="0"/>
                      <a:pt x="76" y="0"/>
                    </a:cubicBezTo>
                    <a:cubicBezTo>
                      <a:pt x="79" y="0"/>
                      <a:pt x="82" y="2"/>
                      <a:pt x="82" y="5"/>
                    </a:cubicBezTo>
                    <a:lnTo>
                      <a:pt x="82" y="76"/>
                    </a:lnTo>
                    <a:close/>
                  </a:path>
                </a:pathLst>
              </a:custGeom>
              <a:solidFill>
                <a:srgbClr val="0078D7"/>
              </a:solidFill>
              <a:ln w="9525" cap="flat">
                <a:solidFill>
                  <a:srgbClr val="0078D7"/>
                </a:solidFill>
                <a:prstDash val="solid"/>
                <a:miter lim="800000"/>
                <a:headEnd/>
                <a:tailEnd/>
              </a:ln>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ln w="12700">
                    <a:solidFill>
                      <a:srgbClr val="505050"/>
                    </a:solidFill>
                  </a:ln>
                  <a:solidFill>
                    <a:srgbClr val="002050"/>
                  </a:solidFill>
                  <a:latin typeface="Segoe UI"/>
                </a:endParaRPr>
              </a:p>
            </p:txBody>
          </p:sp>
          <p:sp>
            <p:nvSpPr>
              <p:cNvPr id="311" name="Freeform 45">
                <a:extLst>
                  <a:ext uri="{FF2B5EF4-FFF2-40B4-BE49-F238E27FC236}">
                    <a16:creationId xmlns:a16="http://schemas.microsoft.com/office/drawing/2014/main" id="{EC2D26FE-BC31-421B-B668-9F889889F66A}"/>
                  </a:ext>
                </a:extLst>
              </p:cNvPr>
              <p:cNvSpPr>
                <a:spLocks/>
              </p:cNvSpPr>
              <p:nvPr/>
            </p:nvSpPr>
            <p:spPr bwMode="auto">
              <a:xfrm>
                <a:off x="9168014" y="5481833"/>
                <a:ext cx="244474" cy="133350"/>
              </a:xfrm>
              <a:custGeom>
                <a:avLst/>
                <a:gdLst>
                  <a:gd name="T0" fmla="*/ 82 w 82"/>
                  <a:gd name="T1" fmla="*/ 38 h 41"/>
                  <a:gd name="T2" fmla="*/ 76 w 82"/>
                  <a:gd name="T3" fmla="*/ 41 h 41"/>
                  <a:gd name="T4" fmla="*/ 6 w 82"/>
                  <a:gd name="T5" fmla="*/ 41 h 41"/>
                  <a:gd name="T6" fmla="*/ 0 w 82"/>
                  <a:gd name="T7" fmla="*/ 38 h 41"/>
                  <a:gd name="T8" fmla="*/ 0 w 82"/>
                  <a:gd name="T9" fmla="*/ 3 h 41"/>
                  <a:gd name="T10" fmla="*/ 6 w 82"/>
                  <a:gd name="T11" fmla="*/ 0 h 41"/>
                  <a:gd name="T12" fmla="*/ 76 w 82"/>
                  <a:gd name="T13" fmla="*/ 0 h 41"/>
                  <a:gd name="T14" fmla="*/ 82 w 82"/>
                  <a:gd name="T15" fmla="*/ 3 h 41"/>
                  <a:gd name="T16" fmla="*/ 82 w 82"/>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1">
                    <a:moveTo>
                      <a:pt x="82" y="38"/>
                    </a:moveTo>
                    <a:cubicBezTo>
                      <a:pt x="82" y="39"/>
                      <a:pt x="79" y="41"/>
                      <a:pt x="76" y="41"/>
                    </a:cubicBezTo>
                    <a:cubicBezTo>
                      <a:pt x="6" y="41"/>
                      <a:pt x="6" y="41"/>
                      <a:pt x="6" y="41"/>
                    </a:cubicBezTo>
                    <a:cubicBezTo>
                      <a:pt x="2" y="41"/>
                      <a:pt x="0" y="39"/>
                      <a:pt x="0" y="38"/>
                    </a:cubicBezTo>
                    <a:cubicBezTo>
                      <a:pt x="0" y="3"/>
                      <a:pt x="0" y="3"/>
                      <a:pt x="0" y="3"/>
                    </a:cubicBezTo>
                    <a:cubicBezTo>
                      <a:pt x="0" y="1"/>
                      <a:pt x="2" y="0"/>
                      <a:pt x="6" y="0"/>
                    </a:cubicBezTo>
                    <a:cubicBezTo>
                      <a:pt x="76" y="0"/>
                      <a:pt x="76" y="0"/>
                      <a:pt x="76" y="0"/>
                    </a:cubicBezTo>
                    <a:cubicBezTo>
                      <a:pt x="79" y="0"/>
                      <a:pt x="82" y="1"/>
                      <a:pt x="82" y="3"/>
                    </a:cubicBezTo>
                    <a:lnTo>
                      <a:pt x="82" y="38"/>
                    </a:lnTo>
                    <a:close/>
                  </a:path>
                </a:pathLst>
              </a:custGeom>
              <a:noFill/>
              <a:ln w="95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ln w="12700">
                    <a:solidFill>
                      <a:srgbClr val="505050"/>
                    </a:solidFill>
                  </a:ln>
                  <a:solidFill>
                    <a:srgbClr val="002050"/>
                  </a:solidFill>
                  <a:latin typeface="Segoe UI"/>
                </a:endParaRPr>
              </a:p>
            </p:txBody>
          </p:sp>
          <p:sp>
            <p:nvSpPr>
              <p:cNvPr id="312" name="Freeform 46">
                <a:extLst>
                  <a:ext uri="{FF2B5EF4-FFF2-40B4-BE49-F238E27FC236}">
                    <a16:creationId xmlns:a16="http://schemas.microsoft.com/office/drawing/2014/main" id="{86B9F686-0338-4FA5-9117-7AC750A4FAB7}"/>
                  </a:ext>
                </a:extLst>
              </p:cNvPr>
              <p:cNvSpPr>
                <a:spLocks/>
              </p:cNvSpPr>
              <p:nvPr/>
            </p:nvSpPr>
            <p:spPr bwMode="auto">
              <a:xfrm>
                <a:off x="9456935" y="5170684"/>
                <a:ext cx="376238" cy="444499"/>
              </a:xfrm>
              <a:custGeom>
                <a:avLst/>
                <a:gdLst>
                  <a:gd name="T0" fmla="*/ 126 w 126"/>
                  <a:gd name="T1" fmla="*/ 127 h 137"/>
                  <a:gd name="T2" fmla="*/ 117 w 126"/>
                  <a:gd name="T3" fmla="*/ 137 h 137"/>
                  <a:gd name="T4" fmla="*/ 9 w 126"/>
                  <a:gd name="T5" fmla="*/ 137 h 137"/>
                  <a:gd name="T6" fmla="*/ 0 w 126"/>
                  <a:gd name="T7" fmla="*/ 127 h 137"/>
                  <a:gd name="T8" fmla="*/ 0 w 126"/>
                  <a:gd name="T9" fmla="*/ 9 h 137"/>
                  <a:gd name="T10" fmla="*/ 9 w 126"/>
                  <a:gd name="T11" fmla="*/ 0 h 137"/>
                  <a:gd name="T12" fmla="*/ 117 w 126"/>
                  <a:gd name="T13" fmla="*/ 0 h 137"/>
                  <a:gd name="T14" fmla="*/ 126 w 126"/>
                  <a:gd name="T15" fmla="*/ 9 h 137"/>
                  <a:gd name="T16" fmla="*/ 126 w 126"/>
                  <a:gd name="T17"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7">
                    <a:moveTo>
                      <a:pt x="126" y="127"/>
                    </a:moveTo>
                    <a:cubicBezTo>
                      <a:pt x="126" y="133"/>
                      <a:pt x="122" y="137"/>
                      <a:pt x="117" y="137"/>
                    </a:cubicBezTo>
                    <a:cubicBezTo>
                      <a:pt x="9" y="137"/>
                      <a:pt x="9" y="137"/>
                      <a:pt x="9" y="137"/>
                    </a:cubicBezTo>
                    <a:cubicBezTo>
                      <a:pt x="4" y="137"/>
                      <a:pt x="0" y="133"/>
                      <a:pt x="0" y="127"/>
                    </a:cubicBezTo>
                    <a:cubicBezTo>
                      <a:pt x="0" y="9"/>
                      <a:pt x="0" y="9"/>
                      <a:pt x="0" y="9"/>
                    </a:cubicBezTo>
                    <a:cubicBezTo>
                      <a:pt x="0" y="4"/>
                      <a:pt x="4" y="0"/>
                      <a:pt x="9" y="0"/>
                    </a:cubicBezTo>
                    <a:cubicBezTo>
                      <a:pt x="117" y="0"/>
                      <a:pt x="117" y="0"/>
                      <a:pt x="117" y="0"/>
                    </a:cubicBezTo>
                    <a:cubicBezTo>
                      <a:pt x="122" y="0"/>
                      <a:pt x="126" y="4"/>
                      <a:pt x="126" y="9"/>
                    </a:cubicBezTo>
                    <a:lnTo>
                      <a:pt x="126" y="127"/>
                    </a:lnTo>
                    <a:close/>
                  </a:path>
                </a:pathLst>
              </a:custGeom>
              <a:noFill/>
              <a:ln w="9525"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ln w="12700">
                    <a:solidFill>
                      <a:srgbClr val="505050"/>
                    </a:solidFill>
                  </a:ln>
                  <a:solidFill>
                    <a:srgbClr val="002050"/>
                  </a:solidFill>
                  <a:latin typeface="Segoe UI"/>
                </a:endParaRPr>
              </a:p>
            </p:txBody>
          </p:sp>
          <p:sp>
            <p:nvSpPr>
              <p:cNvPr id="313" name="Freeform 47">
                <a:extLst>
                  <a:ext uri="{FF2B5EF4-FFF2-40B4-BE49-F238E27FC236}">
                    <a16:creationId xmlns:a16="http://schemas.microsoft.com/office/drawing/2014/main" id="{C8178B88-775F-4F7F-9374-7041557856BB}"/>
                  </a:ext>
                </a:extLst>
              </p:cNvPr>
              <p:cNvSpPr>
                <a:spLocks/>
              </p:cNvSpPr>
              <p:nvPr/>
            </p:nvSpPr>
            <p:spPr bwMode="auto">
              <a:xfrm>
                <a:off x="9168011" y="5667570"/>
                <a:ext cx="665163" cy="158751"/>
              </a:xfrm>
              <a:custGeom>
                <a:avLst/>
                <a:gdLst>
                  <a:gd name="T0" fmla="*/ 223 w 223"/>
                  <a:gd name="T1" fmla="*/ 46 h 49"/>
                  <a:gd name="T2" fmla="*/ 208 w 223"/>
                  <a:gd name="T3" fmla="*/ 49 h 49"/>
                  <a:gd name="T4" fmla="*/ 15 w 223"/>
                  <a:gd name="T5" fmla="*/ 49 h 49"/>
                  <a:gd name="T6" fmla="*/ 0 w 223"/>
                  <a:gd name="T7" fmla="*/ 46 h 49"/>
                  <a:gd name="T8" fmla="*/ 0 w 223"/>
                  <a:gd name="T9" fmla="*/ 3 h 49"/>
                  <a:gd name="T10" fmla="*/ 15 w 223"/>
                  <a:gd name="T11" fmla="*/ 0 h 49"/>
                  <a:gd name="T12" fmla="*/ 208 w 223"/>
                  <a:gd name="T13" fmla="*/ 0 h 49"/>
                  <a:gd name="T14" fmla="*/ 223 w 223"/>
                  <a:gd name="T15" fmla="*/ 3 h 49"/>
                  <a:gd name="T16" fmla="*/ 223 w 223"/>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9">
                    <a:moveTo>
                      <a:pt x="223" y="46"/>
                    </a:moveTo>
                    <a:cubicBezTo>
                      <a:pt x="223" y="48"/>
                      <a:pt x="216" y="49"/>
                      <a:pt x="208" y="49"/>
                    </a:cubicBezTo>
                    <a:cubicBezTo>
                      <a:pt x="15" y="49"/>
                      <a:pt x="15" y="49"/>
                      <a:pt x="15" y="49"/>
                    </a:cubicBezTo>
                    <a:cubicBezTo>
                      <a:pt x="7" y="49"/>
                      <a:pt x="0" y="48"/>
                      <a:pt x="0" y="46"/>
                    </a:cubicBezTo>
                    <a:cubicBezTo>
                      <a:pt x="0" y="3"/>
                      <a:pt x="0" y="3"/>
                      <a:pt x="0" y="3"/>
                    </a:cubicBezTo>
                    <a:cubicBezTo>
                      <a:pt x="0" y="1"/>
                      <a:pt x="7" y="0"/>
                      <a:pt x="15" y="0"/>
                    </a:cubicBezTo>
                    <a:cubicBezTo>
                      <a:pt x="208" y="0"/>
                      <a:pt x="208" y="0"/>
                      <a:pt x="208" y="0"/>
                    </a:cubicBezTo>
                    <a:cubicBezTo>
                      <a:pt x="216" y="0"/>
                      <a:pt x="223" y="1"/>
                      <a:pt x="223" y="3"/>
                    </a:cubicBezTo>
                    <a:lnTo>
                      <a:pt x="223" y="46"/>
                    </a:lnTo>
                    <a:close/>
                  </a:path>
                </a:pathLst>
              </a:custGeom>
              <a:noFill/>
              <a:ln w="9525" cap="flat">
                <a:solidFill>
                  <a:srgbClr val="0078D7"/>
                </a:solidFill>
                <a:prstDash val="solid"/>
                <a:miter lim="800000"/>
                <a:headEnd/>
                <a:tailEnd/>
              </a:ln>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ln w="12700">
                    <a:solidFill>
                      <a:srgbClr val="505050"/>
                    </a:solidFill>
                  </a:ln>
                  <a:solidFill>
                    <a:srgbClr val="002050"/>
                  </a:solidFill>
                  <a:latin typeface="Segoe UI"/>
                </a:endParaRPr>
              </a:p>
            </p:txBody>
          </p:sp>
        </p:grpSp>
      </p:grpSp>
      <p:sp>
        <p:nvSpPr>
          <p:cNvPr id="318" name="Rectangle 317">
            <a:extLst>
              <a:ext uri="{FF2B5EF4-FFF2-40B4-BE49-F238E27FC236}">
                <a16:creationId xmlns:a16="http://schemas.microsoft.com/office/drawing/2014/main" id="{38943C70-5F75-4B1F-9E4D-37391669497A}"/>
              </a:ext>
            </a:extLst>
          </p:cNvPr>
          <p:cNvSpPr/>
          <p:nvPr/>
        </p:nvSpPr>
        <p:spPr bwMode="auto">
          <a:xfrm flipH="1">
            <a:off x="171213" y="446713"/>
            <a:ext cx="1028554" cy="1013534"/>
          </a:xfrm>
          <a:prstGeom prst="rect">
            <a:avLst/>
          </a:prstGeom>
          <a:solidFill>
            <a:schemeClr val="bg1"/>
          </a:solidFill>
          <a:ln w="19050" cap="sq" cmpd="sng" algn="ctr">
            <a:solidFill>
              <a:srgbClr val="E6E6E6"/>
            </a:solidFill>
            <a:prstDash val="solid"/>
            <a:miter lim="800000"/>
            <a:headEnd type="none" w="med" len="med"/>
            <a:tailEnd type="none" w="med" len="med"/>
          </a:ln>
          <a:effectLst/>
        </p:spPr>
        <p:txBody>
          <a:bodyPr rot="0" spcFirstLastPara="0" vertOverflow="overflow" horzOverflow="overflow" vert="horz" wrap="square" lIns="302456" tIns="107540" rIns="0" bIns="107540" numCol="1" spcCol="0" rtlCol="0" fromWordArt="0" anchor="ctr" anchorCtr="0" forceAA="0" compatLnSpc="1">
            <a:prstTxWarp prst="textNoShape">
              <a:avLst/>
            </a:prstTxWarp>
            <a:noAutofit/>
          </a:bodyPr>
          <a:lstStyle/>
          <a:p>
            <a:pPr defTabSz="685313" eaLnBrk="1" hangingPunct="1">
              <a:lnSpc>
                <a:spcPct val="90000"/>
              </a:lnSpc>
              <a:defRPr/>
            </a:pPr>
            <a:endParaRPr lang="en-US" sz="1175" kern="0" spc="-37">
              <a:solidFill>
                <a:srgbClr val="353535"/>
              </a:solidFill>
              <a:latin typeface="Segoe UI Semilight"/>
              <a:ea typeface="Segoe UI" panose="020B0502040204020203" pitchFamily="34" charset="0"/>
              <a:cs typeface="Segoe UI" panose="020B0502040204020203" pitchFamily="34" charset="0"/>
            </a:endParaRPr>
          </a:p>
        </p:txBody>
      </p:sp>
      <p:grpSp>
        <p:nvGrpSpPr>
          <p:cNvPr id="319" name="Group 318">
            <a:extLst>
              <a:ext uri="{FF2B5EF4-FFF2-40B4-BE49-F238E27FC236}">
                <a16:creationId xmlns:a16="http://schemas.microsoft.com/office/drawing/2014/main" id="{ACA278A2-07DB-4680-A636-829B5D5BA534}"/>
              </a:ext>
            </a:extLst>
          </p:cNvPr>
          <p:cNvGrpSpPr/>
          <p:nvPr/>
        </p:nvGrpSpPr>
        <p:grpSpPr>
          <a:xfrm>
            <a:off x="269846" y="1221911"/>
            <a:ext cx="715677" cy="171426"/>
            <a:chOff x="358981" y="1224358"/>
            <a:chExt cx="954371" cy="228600"/>
          </a:xfrm>
        </p:grpSpPr>
        <p:sp>
          <p:nvSpPr>
            <p:cNvPr id="334" name="TextBox 333">
              <a:extLst>
                <a:ext uri="{FF2B5EF4-FFF2-40B4-BE49-F238E27FC236}">
                  <a16:creationId xmlns:a16="http://schemas.microsoft.com/office/drawing/2014/main" id="{2FB00E98-64C0-4F40-9CC4-D611821DE3B9}"/>
                </a:ext>
              </a:extLst>
            </p:cNvPr>
            <p:cNvSpPr txBox="1"/>
            <p:nvPr/>
          </p:nvSpPr>
          <p:spPr>
            <a:xfrm>
              <a:off x="585278" y="1261297"/>
              <a:ext cx="728074" cy="166223"/>
            </a:xfrm>
            <a:prstGeom prst="rect">
              <a:avLst/>
            </a:prstGeom>
          </p:spPr>
          <p:txBody>
            <a:bodyPr wrap="none" lIns="34285"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667" eaLnBrk="1" fontAlgn="auto" hangingPunct="1">
                <a:spcBef>
                  <a:spcPts val="0"/>
                </a:spcBef>
                <a:spcAft>
                  <a:spcPts val="0"/>
                </a:spcAft>
                <a:defRPr/>
              </a:pPr>
              <a:r>
                <a:rPr lang="en-US" sz="900"/>
                <a:t>Google ID</a:t>
              </a:r>
            </a:p>
          </p:txBody>
        </p:sp>
        <p:pic>
          <p:nvPicPr>
            <p:cNvPr id="335" name="Picture 334">
              <a:extLst>
                <a:ext uri="{FF2B5EF4-FFF2-40B4-BE49-F238E27FC236}">
                  <a16:creationId xmlns:a16="http://schemas.microsoft.com/office/drawing/2014/main" id="{5AF0E435-5AC8-48D9-A021-39D4E0FCFA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58981" y="1224358"/>
              <a:ext cx="228600" cy="228600"/>
            </a:xfrm>
            <a:prstGeom prst="rect">
              <a:avLst/>
            </a:prstGeom>
          </p:spPr>
        </p:pic>
      </p:grpSp>
      <p:grpSp>
        <p:nvGrpSpPr>
          <p:cNvPr id="320" name="Group 319">
            <a:extLst>
              <a:ext uri="{FF2B5EF4-FFF2-40B4-BE49-F238E27FC236}">
                <a16:creationId xmlns:a16="http://schemas.microsoft.com/office/drawing/2014/main" id="{1F469B27-67CD-496E-88E0-785DEDF2DFE5}"/>
              </a:ext>
            </a:extLst>
          </p:cNvPr>
          <p:cNvGrpSpPr/>
          <p:nvPr/>
        </p:nvGrpSpPr>
        <p:grpSpPr>
          <a:xfrm>
            <a:off x="283978" y="999303"/>
            <a:ext cx="429036" cy="143275"/>
            <a:chOff x="377825" y="907298"/>
            <a:chExt cx="572130" cy="191060"/>
          </a:xfrm>
        </p:grpSpPr>
        <p:sp>
          <p:nvSpPr>
            <p:cNvPr id="332" name="TextBox 331">
              <a:extLst>
                <a:ext uri="{FF2B5EF4-FFF2-40B4-BE49-F238E27FC236}">
                  <a16:creationId xmlns:a16="http://schemas.microsoft.com/office/drawing/2014/main" id="{13584CE5-1B74-4688-8537-33B1E05FABCE}"/>
                </a:ext>
              </a:extLst>
            </p:cNvPr>
            <p:cNvSpPr txBox="1"/>
            <p:nvPr/>
          </p:nvSpPr>
          <p:spPr>
            <a:xfrm>
              <a:off x="585279" y="919729"/>
              <a:ext cx="364676" cy="166223"/>
            </a:xfrm>
            <a:prstGeom prst="rect">
              <a:avLst/>
            </a:prstGeom>
          </p:spPr>
          <p:txBody>
            <a:bodyPr wrap="none" lIns="34285"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667" eaLnBrk="1" fontAlgn="auto" hangingPunct="1">
                <a:spcBef>
                  <a:spcPts val="0"/>
                </a:spcBef>
                <a:spcAft>
                  <a:spcPts val="0"/>
                </a:spcAft>
                <a:defRPr/>
              </a:pPr>
              <a:r>
                <a:rPr lang="en-US" sz="900"/>
                <a:t>MSA</a:t>
              </a:r>
            </a:p>
          </p:txBody>
        </p:sp>
        <p:pic>
          <p:nvPicPr>
            <p:cNvPr id="333" name="Picture 332">
              <a:extLst>
                <a:ext uri="{FF2B5EF4-FFF2-40B4-BE49-F238E27FC236}">
                  <a16:creationId xmlns:a16="http://schemas.microsoft.com/office/drawing/2014/main" id="{E835B6D4-EBA5-4374-AA95-7239CD144B98}"/>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77825" y="907298"/>
              <a:ext cx="190912" cy="191060"/>
            </a:xfrm>
            <a:prstGeom prst="rect">
              <a:avLst/>
            </a:prstGeom>
          </p:spPr>
        </p:pic>
      </p:grpSp>
      <p:grpSp>
        <p:nvGrpSpPr>
          <p:cNvPr id="321" name="Group 320">
            <a:extLst>
              <a:ext uri="{FF2B5EF4-FFF2-40B4-BE49-F238E27FC236}">
                <a16:creationId xmlns:a16="http://schemas.microsoft.com/office/drawing/2014/main" id="{60B131EB-5A0F-4383-8555-8219BC372748}"/>
              </a:ext>
            </a:extLst>
          </p:cNvPr>
          <p:cNvGrpSpPr/>
          <p:nvPr/>
        </p:nvGrpSpPr>
        <p:grpSpPr>
          <a:xfrm>
            <a:off x="276835" y="527842"/>
            <a:ext cx="682233" cy="157449"/>
            <a:chOff x="368300" y="251062"/>
            <a:chExt cx="909774" cy="209962"/>
          </a:xfrm>
        </p:grpSpPr>
        <p:sp>
          <p:nvSpPr>
            <p:cNvPr id="325" name="TextBox 324">
              <a:extLst>
                <a:ext uri="{FF2B5EF4-FFF2-40B4-BE49-F238E27FC236}">
                  <a16:creationId xmlns:a16="http://schemas.microsoft.com/office/drawing/2014/main" id="{14FA52A4-9701-49D7-AB62-3801CE98E419}"/>
                </a:ext>
              </a:extLst>
            </p:cNvPr>
            <p:cNvSpPr txBox="1"/>
            <p:nvPr/>
          </p:nvSpPr>
          <p:spPr>
            <a:xfrm>
              <a:off x="594804" y="270175"/>
              <a:ext cx="683270" cy="166224"/>
            </a:xfrm>
            <a:prstGeom prst="rect">
              <a:avLst/>
            </a:prstGeom>
          </p:spPr>
          <p:txBody>
            <a:bodyPr wrap="none" lIns="34285"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667" eaLnBrk="1" fontAlgn="auto" hangingPunct="1">
                <a:spcBef>
                  <a:spcPts val="0"/>
                </a:spcBef>
                <a:spcAft>
                  <a:spcPts val="0"/>
                </a:spcAft>
                <a:defRPr/>
              </a:pPr>
              <a:r>
                <a:rPr lang="en-US" sz="900"/>
                <a:t>Azure AD</a:t>
              </a:r>
            </a:p>
          </p:txBody>
        </p:sp>
        <p:grpSp>
          <p:nvGrpSpPr>
            <p:cNvPr id="326" name="Group 325">
              <a:extLst>
                <a:ext uri="{FF2B5EF4-FFF2-40B4-BE49-F238E27FC236}">
                  <a16:creationId xmlns:a16="http://schemas.microsoft.com/office/drawing/2014/main" id="{549379F4-2158-4045-985F-6E4E46BF328D}"/>
                </a:ext>
              </a:extLst>
            </p:cNvPr>
            <p:cNvGrpSpPr/>
            <p:nvPr/>
          </p:nvGrpSpPr>
          <p:grpSpPr>
            <a:xfrm>
              <a:off x="368300" y="251062"/>
              <a:ext cx="209962" cy="209962"/>
              <a:chOff x="372044" y="251062"/>
              <a:chExt cx="209962" cy="209962"/>
            </a:xfrm>
          </p:grpSpPr>
          <p:sp>
            <p:nvSpPr>
              <p:cNvPr id="327" name="Oval 326">
                <a:extLst>
                  <a:ext uri="{FF2B5EF4-FFF2-40B4-BE49-F238E27FC236}">
                    <a16:creationId xmlns:a16="http://schemas.microsoft.com/office/drawing/2014/main" id="{1F98E8AB-0659-4719-B451-034241CC3737}"/>
                  </a:ext>
                </a:extLst>
              </p:cNvPr>
              <p:cNvSpPr/>
              <p:nvPr/>
            </p:nvSpPr>
            <p:spPr bwMode="auto">
              <a:xfrm>
                <a:off x="372044" y="251062"/>
                <a:ext cx="209962" cy="209962"/>
              </a:xfrm>
              <a:prstGeom prst="ellipse">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20" eaLnBrk="1" hangingPunct="1">
                  <a:defRPr/>
                </a:pPr>
                <a:endParaRPr lang="en-US" sz="1200">
                  <a:gradFill>
                    <a:gsLst>
                      <a:gs pos="40075">
                        <a:srgbClr val="FFFFFF"/>
                      </a:gs>
                      <a:gs pos="30000">
                        <a:srgbClr val="FFFFFF"/>
                      </a:gs>
                    </a:gsLst>
                    <a:lin ang="5400000" scaled="0"/>
                  </a:gradFill>
                  <a:latin typeface="Segoe UI"/>
                </a:endParaRPr>
              </a:p>
            </p:txBody>
          </p:sp>
          <p:grpSp>
            <p:nvGrpSpPr>
              <p:cNvPr id="328" name="Graphic 382">
                <a:extLst>
                  <a:ext uri="{FF2B5EF4-FFF2-40B4-BE49-F238E27FC236}">
                    <a16:creationId xmlns:a16="http://schemas.microsoft.com/office/drawing/2014/main" id="{C832EA7C-9B76-4B4D-A4F4-0E1C14908B5E}"/>
                  </a:ext>
                </a:extLst>
              </p:cNvPr>
              <p:cNvGrpSpPr/>
              <p:nvPr/>
            </p:nvGrpSpPr>
            <p:grpSpPr>
              <a:xfrm>
                <a:off x="429400" y="277462"/>
                <a:ext cx="95250" cy="157163"/>
                <a:chOff x="419019" y="270731"/>
                <a:chExt cx="95250" cy="157163"/>
              </a:xfrm>
            </p:grpSpPr>
            <p:sp>
              <p:nvSpPr>
                <p:cNvPr id="329" name="Freeform: Shape 328">
                  <a:extLst>
                    <a:ext uri="{FF2B5EF4-FFF2-40B4-BE49-F238E27FC236}">
                      <a16:creationId xmlns:a16="http://schemas.microsoft.com/office/drawing/2014/main" id="{9F1CA342-4733-4CDF-BED6-CB058DE9E093}"/>
                    </a:ext>
                  </a:extLst>
                </p:cNvPr>
                <p:cNvSpPr/>
                <p:nvPr/>
              </p:nvSpPr>
              <p:spPr>
                <a:xfrm>
                  <a:off x="419019" y="270731"/>
                  <a:ext cx="95250" cy="157163"/>
                </a:xfrm>
                <a:custGeom>
                  <a:avLst/>
                  <a:gdLst>
                    <a:gd name="connsiteX0" fmla="*/ 97039 w 95250"/>
                    <a:gd name="connsiteY0" fmla="*/ 141622 h 157162"/>
                    <a:gd name="connsiteX1" fmla="*/ 97039 w 95250"/>
                    <a:gd name="connsiteY1" fmla="*/ 41610 h 157162"/>
                    <a:gd name="connsiteX2" fmla="*/ 83348 w 95250"/>
                    <a:gd name="connsiteY2" fmla="*/ 27322 h 157162"/>
                    <a:gd name="connsiteX3" fmla="*/ 82752 w 95250"/>
                    <a:gd name="connsiteY3" fmla="*/ 27322 h 157162"/>
                    <a:gd name="connsiteX4" fmla="*/ 63702 w 95250"/>
                    <a:gd name="connsiteY4" fmla="*/ 27322 h 157162"/>
                    <a:gd name="connsiteX5" fmla="*/ 63702 w 95250"/>
                    <a:gd name="connsiteY5" fmla="*/ 13035 h 157162"/>
                    <a:gd name="connsiteX6" fmla="*/ 73227 w 95250"/>
                    <a:gd name="connsiteY6" fmla="*/ 8272 h 157162"/>
                    <a:gd name="connsiteX7" fmla="*/ 68217 w 95250"/>
                    <a:gd name="connsiteY7" fmla="*/ 1786 h 157162"/>
                    <a:gd name="connsiteX8" fmla="*/ 49414 w 95250"/>
                    <a:gd name="connsiteY8" fmla="*/ 13035 h 157162"/>
                    <a:gd name="connsiteX9" fmla="*/ 30698 w 95250"/>
                    <a:gd name="connsiteY9" fmla="*/ 1834 h 157162"/>
                    <a:gd name="connsiteX10" fmla="*/ 25602 w 95250"/>
                    <a:gd name="connsiteY10" fmla="*/ 8272 h 157162"/>
                    <a:gd name="connsiteX11" fmla="*/ 35127 w 95250"/>
                    <a:gd name="connsiteY11" fmla="*/ 13035 h 157162"/>
                    <a:gd name="connsiteX12" fmla="*/ 35127 w 95250"/>
                    <a:gd name="connsiteY12" fmla="*/ 27322 h 157162"/>
                    <a:gd name="connsiteX13" fmla="*/ 16077 w 95250"/>
                    <a:gd name="connsiteY13" fmla="*/ 27322 h 157162"/>
                    <a:gd name="connsiteX14" fmla="*/ 1789 w 95250"/>
                    <a:gd name="connsiteY14" fmla="*/ 41013 h 157162"/>
                    <a:gd name="connsiteX15" fmla="*/ 1789 w 95250"/>
                    <a:gd name="connsiteY15" fmla="*/ 41610 h 157162"/>
                    <a:gd name="connsiteX16" fmla="*/ 1789 w 95250"/>
                    <a:gd name="connsiteY16" fmla="*/ 141622 h 157162"/>
                    <a:gd name="connsiteX17" fmla="*/ 15480 w 95250"/>
                    <a:gd name="connsiteY17" fmla="*/ 155910 h 157162"/>
                    <a:gd name="connsiteX18" fmla="*/ 16077 w 95250"/>
                    <a:gd name="connsiteY18" fmla="*/ 155910 h 157162"/>
                    <a:gd name="connsiteX19" fmla="*/ 82752 w 95250"/>
                    <a:gd name="connsiteY19" fmla="*/ 155910 h 157162"/>
                    <a:gd name="connsiteX20" fmla="*/ 97039 w 95250"/>
                    <a:gd name="connsiteY20" fmla="*/ 142219 h 157162"/>
                    <a:gd name="connsiteX21" fmla="*/ 97039 w 95250"/>
                    <a:gd name="connsiteY21" fmla="*/ 141622 h 157162"/>
                    <a:gd name="connsiteX22" fmla="*/ 82752 w 95250"/>
                    <a:gd name="connsiteY22" fmla="*/ 146385 h 157162"/>
                    <a:gd name="connsiteX23" fmla="*/ 16077 w 95250"/>
                    <a:gd name="connsiteY23" fmla="*/ 146385 h 157162"/>
                    <a:gd name="connsiteX24" fmla="*/ 11314 w 95250"/>
                    <a:gd name="connsiteY24" fmla="*/ 141825 h 157162"/>
                    <a:gd name="connsiteX25" fmla="*/ 11314 w 95250"/>
                    <a:gd name="connsiteY25" fmla="*/ 141622 h 157162"/>
                    <a:gd name="connsiteX26" fmla="*/ 11314 w 95250"/>
                    <a:gd name="connsiteY26" fmla="*/ 41610 h 157162"/>
                    <a:gd name="connsiteX27" fmla="*/ 15874 w 95250"/>
                    <a:gd name="connsiteY27" fmla="*/ 36847 h 157162"/>
                    <a:gd name="connsiteX28" fmla="*/ 16077 w 95250"/>
                    <a:gd name="connsiteY28" fmla="*/ 36847 h 157162"/>
                    <a:gd name="connsiteX29" fmla="*/ 44652 w 95250"/>
                    <a:gd name="connsiteY29" fmla="*/ 36847 h 157162"/>
                    <a:gd name="connsiteX30" fmla="*/ 44652 w 95250"/>
                    <a:gd name="connsiteY30" fmla="*/ 22560 h 157162"/>
                    <a:gd name="connsiteX31" fmla="*/ 54177 w 95250"/>
                    <a:gd name="connsiteY31" fmla="*/ 22560 h 157162"/>
                    <a:gd name="connsiteX32" fmla="*/ 54177 w 95250"/>
                    <a:gd name="connsiteY32" fmla="*/ 36847 h 157162"/>
                    <a:gd name="connsiteX33" fmla="*/ 82752 w 95250"/>
                    <a:gd name="connsiteY33" fmla="*/ 36847 h 157162"/>
                    <a:gd name="connsiteX34" fmla="*/ 87514 w 95250"/>
                    <a:gd name="connsiteY34" fmla="*/ 41408 h 157162"/>
                    <a:gd name="connsiteX35" fmla="*/ 87514 w 95250"/>
                    <a:gd name="connsiteY35" fmla="*/ 41610 h 157162"/>
                    <a:gd name="connsiteX36" fmla="*/ 87514 w 95250"/>
                    <a:gd name="connsiteY36" fmla="*/ 141622 h 157162"/>
                    <a:gd name="connsiteX37" fmla="*/ 82954 w 95250"/>
                    <a:gd name="connsiteY37" fmla="*/ 146385 h 157162"/>
                    <a:gd name="connsiteX38" fmla="*/ 82752 w 95250"/>
                    <a:gd name="connsiteY38" fmla="*/ 146385 h 157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95250" h="157162">
                      <a:moveTo>
                        <a:pt x="97039" y="141622"/>
                      </a:moveTo>
                      <a:lnTo>
                        <a:pt x="97039" y="41610"/>
                      </a:lnTo>
                      <a:cubicBezTo>
                        <a:pt x="97204" y="33884"/>
                        <a:pt x="91075" y="27487"/>
                        <a:pt x="83348" y="27322"/>
                      </a:cubicBezTo>
                      <a:cubicBezTo>
                        <a:pt x="83150" y="27318"/>
                        <a:pt x="82951" y="27318"/>
                        <a:pt x="82752" y="27322"/>
                      </a:cubicBezTo>
                      <a:lnTo>
                        <a:pt x="63702" y="27322"/>
                      </a:lnTo>
                      <a:lnTo>
                        <a:pt x="63702" y="13035"/>
                      </a:lnTo>
                      <a:lnTo>
                        <a:pt x="73227" y="8272"/>
                      </a:lnTo>
                      <a:lnTo>
                        <a:pt x="68217" y="1786"/>
                      </a:lnTo>
                      <a:lnTo>
                        <a:pt x="49414" y="13035"/>
                      </a:lnTo>
                      <a:lnTo>
                        <a:pt x="30698" y="1834"/>
                      </a:lnTo>
                      <a:lnTo>
                        <a:pt x="25602" y="8272"/>
                      </a:lnTo>
                      <a:lnTo>
                        <a:pt x="35127" y="13035"/>
                      </a:lnTo>
                      <a:lnTo>
                        <a:pt x="35127" y="27322"/>
                      </a:lnTo>
                      <a:lnTo>
                        <a:pt x="16077" y="27322"/>
                      </a:lnTo>
                      <a:cubicBezTo>
                        <a:pt x="8351" y="27158"/>
                        <a:pt x="1954" y="33287"/>
                        <a:pt x="1789" y="41013"/>
                      </a:cubicBezTo>
                      <a:cubicBezTo>
                        <a:pt x="1785" y="41212"/>
                        <a:pt x="1785" y="41411"/>
                        <a:pt x="1789" y="41610"/>
                      </a:cubicBezTo>
                      <a:lnTo>
                        <a:pt x="1789" y="141622"/>
                      </a:lnTo>
                      <a:cubicBezTo>
                        <a:pt x="1624" y="149348"/>
                        <a:pt x="7754" y="155745"/>
                        <a:pt x="15480" y="155910"/>
                      </a:cubicBezTo>
                      <a:cubicBezTo>
                        <a:pt x="15679" y="155914"/>
                        <a:pt x="15878" y="155914"/>
                        <a:pt x="16077" y="155910"/>
                      </a:cubicBezTo>
                      <a:lnTo>
                        <a:pt x="82752" y="155910"/>
                      </a:lnTo>
                      <a:cubicBezTo>
                        <a:pt x="90477" y="156075"/>
                        <a:pt x="96874" y="149945"/>
                        <a:pt x="97039" y="142219"/>
                      </a:cubicBezTo>
                      <a:cubicBezTo>
                        <a:pt x="97043" y="142021"/>
                        <a:pt x="97043" y="141822"/>
                        <a:pt x="97039" y="141622"/>
                      </a:cubicBezTo>
                      <a:close/>
                      <a:moveTo>
                        <a:pt x="82752" y="146385"/>
                      </a:moveTo>
                      <a:lnTo>
                        <a:pt x="16077" y="146385"/>
                      </a:lnTo>
                      <a:cubicBezTo>
                        <a:pt x="13502" y="146441"/>
                        <a:pt x="11370" y="144399"/>
                        <a:pt x="11314" y="141825"/>
                      </a:cubicBezTo>
                      <a:cubicBezTo>
                        <a:pt x="11313" y="141757"/>
                        <a:pt x="11313" y="141690"/>
                        <a:pt x="11314" y="141622"/>
                      </a:cubicBezTo>
                      <a:lnTo>
                        <a:pt x="11314" y="41610"/>
                      </a:lnTo>
                      <a:cubicBezTo>
                        <a:pt x="11258" y="39035"/>
                        <a:pt x="13300" y="36903"/>
                        <a:pt x="15874" y="36847"/>
                      </a:cubicBezTo>
                      <a:cubicBezTo>
                        <a:pt x="15942" y="36846"/>
                        <a:pt x="16009" y="36846"/>
                        <a:pt x="16077" y="36847"/>
                      </a:cubicBezTo>
                      <a:lnTo>
                        <a:pt x="44652" y="36847"/>
                      </a:lnTo>
                      <a:lnTo>
                        <a:pt x="44652" y="22560"/>
                      </a:lnTo>
                      <a:lnTo>
                        <a:pt x="54177" y="22560"/>
                      </a:lnTo>
                      <a:lnTo>
                        <a:pt x="54177" y="36847"/>
                      </a:lnTo>
                      <a:lnTo>
                        <a:pt x="82752" y="36847"/>
                      </a:lnTo>
                      <a:cubicBezTo>
                        <a:pt x="85326" y="36792"/>
                        <a:pt x="87458" y="38833"/>
                        <a:pt x="87514" y="41408"/>
                      </a:cubicBezTo>
                      <a:cubicBezTo>
                        <a:pt x="87516" y="41475"/>
                        <a:pt x="87516" y="41542"/>
                        <a:pt x="87514" y="41610"/>
                      </a:cubicBezTo>
                      <a:lnTo>
                        <a:pt x="87514" y="141622"/>
                      </a:lnTo>
                      <a:cubicBezTo>
                        <a:pt x="87570" y="144197"/>
                        <a:pt x="85528" y="146329"/>
                        <a:pt x="82954" y="146385"/>
                      </a:cubicBezTo>
                      <a:cubicBezTo>
                        <a:pt x="82886" y="146386"/>
                        <a:pt x="82819" y="146386"/>
                        <a:pt x="82752" y="146385"/>
                      </a:cubicBezTo>
                      <a:close/>
                    </a:path>
                  </a:pathLst>
                </a:custGeom>
                <a:solidFill>
                  <a:schemeClr val="accent1"/>
                </a:solidFill>
                <a:ln w="4763" cap="flat">
                  <a:noFill/>
                  <a:prstDash val="solid"/>
                  <a:miter/>
                </a:ln>
              </p:spPr>
              <p:txBody>
                <a:bodyPr rtlCol="0" anchor="ctr"/>
                <a:lstStyle/>
                <a:p>
                  <a:pPr defTabSz="685775" eaLnBrk="1" fontAlgn="auto" hangingPunct="1">
                    <a:spcBef>
                      <a:spcPts val="0"/>
                    </a:spcBef>
                    <a:spcAft>
                      <a:spcPts val="0"/>
                    </a:spcAft>
                    <a:defRPr/>
                  </a:pPr>
                  <a:endParaRPr lang="en-US" sz="1377">
                    <a:solidFill>
                      <a:srgbClr val="000000"/>
                    </a:solidFill>
                    <a:latin typeface="Segoe UI"/>
                  </a:endParaRPr>
                </a:p>
              </p:txBody>
            </p:sp>
            <p:sp>
              <p:nvSpPr>
                <p:cNvPr id="330" name="Freeform: Shape 329">
                  <a:extLst>
                    <a:ext uri="{FF2B5EF4-FFF2-40B4-BE49-F238E27FC236}">
                      <a16:creationId xmlns:a16="http://schemas.microsoft.com/office/drawing/2014/main" id="{1E42B419-0859-4ABE-BC4D-B43EF1861A47}"/>
                    </a:ext>
                  </a:extLst>
                </p:cNvPr>
                <p:cNvSpPr/>
                <p:nvPr/>
              </p:nvSpPr>
              <p:spPr>
                <a:xfrm>
                  <a:off x="436953" y="327344"/>
                  <a:ext cx="61913" cy="66675"/>
                </a:xfrm>
                <a:custGeom>
                  <a:avLst/>
                  <a:gdLst>
                    <a:gd name="connsiteX0" fmla="*/ 44653 w 61912"/>
                    <a:gd name="connsiteY0" fmla="*/ 39384 h 66675"/>
                    <a:gd name="connsiteX1" fmla="*/ 47968 w 61912"/>
                    <a:gd name="connsiteY1" fmla="*/ 9719 h 66675"/>
                    <a:gd name="connsiteX2" fmla="*/ 18302 w 61912"/>
                    <a:gd name="connsiteY2" fmla="*/ 6404 h 66675"/>
                    <a:gd name="connsiteX3" fmla="*/ 14988 w 61912"/>
                    <a:gd name="connsiteY3" fmla="*/ 36070 h 66675"/>
                    <a:gd name="connsiteX4" fmla="*/ 18302 w 61912"/>
                    <a:gd name="connsiteY4" fmla="*/ 39384 h 66675"/>
                    <a:gd name="connsiteX5" fmla="*/ 1786 w 61912"/>
                    <a:gd name="connsiteY5" fmla="*/ 65959 h 66675"/>
                    <a:gd name="connsiteX6" fmla="*/ 9658 w 61912"/>
                    <a:gd name="connsiteY6" fmla="*/ 65959 h 66675"/>
                    <a:gd name="connsiteX7" fmla="*/ 31483 w 61912"/>
                    <a:gd name="connsiteY7" fmla="*/ 44135 h 66675"/>
                    <a:gd name="connsiteX8" fmla="*/ 53307 w 61912"/>
                    <a:gd name="connsiteY8" fmla="*/ 65959 h 66675"/>
                    <a:gd name="connsiteX9" fmla="*/ 61179 w 61912"/>
                    <a:gd name="connsiteY9" fmla="*/ 65959 h 66675"/>
                    <a:gd name="connsiteX10" fmla="*/ 44653 w 61912"/>
                    <a:gd name="connsiteY10" fmla="*/ 39384 h 66675"/>
                    <a:gd name="connsiteX11" fmla="*/ 18240 w 61912"/>
                    <a:gd name="connsiteY11" fmla="*/ 23025 h 66675"/>
                    <a:gd name="connsiteX12" fmla="*/ 31480 w 61912"/>
                    <a:gd name="connsiteY12" fmla="*/ 9795 h 66675"/>
                    <a:gd name="connsiteX13" fmla="*/ 44710 w 61912"/>
                    <a:gd name="connsiteY13" fmla="*/ 23035 h 66675"/>
                    <a:gd name="connsiteX14" fmla="*/ 31480 w 61912"/>
                    <a:gd name="connsiteY14" fmla="*/ 36265 h 66675"/>
                    <a:gd name="connsiteX15" fmla="*/ 18245 w 61912"/>
                    <a:gd name="connsiteY15" fmla="*/ 230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912" h="66675">
                      <a:moveTo>
                        <a:pt x="44653" y="39384"/>
                      </a:moveTo>
                      <a:cubicBezTo>
                        <a:pt x="53761" y="32108"/>
                        <a:pt x="55245" y="18826"/>
                        <a:pt x="47968" y="9719"/>
                      </a:cubicBezTo>
                      <a:cubicBezTo>
                        <a:pt x="40691" y="612"/>
                        <a:pt x="27410" y="-873"/>
                        <a:pt x="18302" y="6404"/>
                      </a:cubicBezTo>
                      <a:cubicBezTo>
                        <a:pt x="9195" y="13680"/>
                        <a:pt x="7711" y="26962"/>
                        <a:pt x="14988" y="36070"/>
                      </a:cubicBezTo>
                      <a:cubicBezTo>
                        <a:pt x="15966" y="37294"/>
                        <a:pt x="17078" y="38406"/>
                        <a:pt x="18302" y="39384"/>
                      </a:cubicBezTo>
                      <a:cubicBezTo>
                        <a:pt x="8200" y="44390"/>
                        <a:pt x="1802" y="54685"/>
                        <a:pt x="1786" y="65959"/>
                      </a:cubicBezTo>
                      <a:lnTo>
                        <a:pt x="9658" y="65959"/>
                      </a:lnTo>
                      <a:cubicBezTo>
                        <a:pt x="9658" y="53906"/>
                        <a:pt x="19430" y="44135"/>
                        <a:pt x="31483" y="44135"/>
                      </a:cubicBezTo>
                      <a:cubicBezTo>
                        <a:pt x="43535" y="44135"/>
                        <a:pt x="53307" y="53906"/>
                        <a:pt x="53307" y="65959"/>
                      </a:cubicBezTo>
                      <a:lnTo>
                        <a:pt x="61179" y="65959"/>
                      </a:lnTo>
                      <a:cubicBezTo>
                        <a:pt x="61161" y="54682"/>
                        <a:pt x="54760" y="44388"/>
                        <a:pt x="44653" y="39384"/>
                      </a:cubicBezTo>
                      <a:close/>
                      <a:moveTo>
                        <a:pt x="18240" y="23025"/>
                      </a:moveTo>
                      <a:cubicBezTo>
                        <a:pt x="18243" y="15716"/>
                        <a:pt x="24171" y="9792"/>
                        <a:pt x="31480" y="9795"/>
                      </a:cubicBezTo>
                      <a:cubicBezTo>
                        <a:pt x="38790" y="9798"/>
                        <a:pt x="44713" y="15725"/>
                        <a:pt x="44710" y="23035"/>
                      </a:cubicBezTo>
                      <a:cubicBezTo>
                        <a:pt x="44707" y="30341"/>
                        <a:pt x="38786" y="36262"/>
                        <a:pt x="31480" y="36265"/>
                      </a:cubicBezTo>
                      <a:cubicBezTo>
                        <a:pt x="24173" y="36255"/>
                        <a:pt x="18253" y="30332"/>
                        <a:pt x="18245" y="23025"/>
                      </a:cubicBezTo>
                      <a:close/>
                    </a:path>
                  </a:pathLst>
                </a:custGeom>
                <a:solidFill>
                  <a:schemeClr val="accent1"/>
                </a:solidFill>
                <a:ln w="4763" cap="flat">
                  <a:noFill/>
                  <a:prstDash val="solid"/>
                  <a:miter/>
                </a:ln>
              </p:spPr>
              <p:txBody>
                <a:bodyPr rtlCol="0" anchor="ctr"/>
                <a:lstStyle/>
                <a:p>
                  <a:pPr defTabSz="685775" eaLnBrk="1" fontAlgn="auto" hangingPunct="1">
                    <a:spcBef>
                      <a:spcPts val="0"/>
                    </a:spcBef>
                    <a:spcAft>
                      <a:spcPts val="0"/>
                    </a:spcAft>
                    <a:defRPr/>
                  </a:pPr>
                  <a:endParaRPr lang="en-US" sz="1377">
                    <a:solidFill>
                      <a:srgbClr val="000000"/>
                    </a:solidFill>
                    <a:latin typeface="Segoe UI"/>
                  </a:endParaRPr>
                </a:p>
              </p:txBody>
            </p:sp>
            <p:sp>
              <p:nvSpPr>
                <p:cNvPr id="331" name="Freeform: Shape 330">
                  <a:extLst>
                    <a:ext uri="{FF2B5EF4-FFF2-40B4-BE49-F238E27FC236}">
                      <a16:creationId xmlns:a16="http://schemas.microsoft.com/office/drawing/2014/main" id="{8F09889C-B74E-4CAD-B4EA-E35A42748338}"/>
                    </a:ext>
                  </a:extLst>
                </p:cNvPr>
                <p:cNvSpPr/>
                <p:nvPr/>
              </p:nvSpPr>
              <p:spPr>
                <a:xfrm>
                  <a:off x="452360" y="310555"/>
                  <a:ext cx="28575" cy="9525"/>
                </a:xfrm>
                <a:custGeom>
                  <a:avLst/>
                  <a:gdLst>
                    <a:gd name="connsiteX0" fmla="*/ 25598 w 28575"/>
                    <a:gd name="connsiteY0" fmla="*/ 1786 h 9525"/>
                    <a:gd name="connsiteX1" fmla="*/ 30361 w 28575"/>
                    <a:gd name="connsiteY1" fmla="*/ 6548 h 9525"/>
                    <a:gd name="connsiteX2" fmla="*/ 30361 w 28575"/>
                    <a:gd name="connsiteY2" fmla="*/ 6548 h 9525"/>
                    <a:gd name="connsiteX3" fmla="*/ 25598 w 28575"/>
                    <a:gd name="connsiteY3" fmla="*/ 11311 h 9525"/>
                    <a:gd name="connsiteX4" fmla="*/ 6548 w 28575"/>
                    <a:gd name="connsiteY4" fmla="*/ 11311 h 9525"/>
                    <a:gd name="connsiteX5" fmla="*/ 1786 w 28575"/>
                    <a:gd name="connsiteY5" fmla="*/ 6548 h 9525"/>
                    <a:gd name="connsiteX6" fmla="*/ 1786 w 28575"/>
                    <a:gd name="connsiteY6" fmla="*/ 6548 h 9525"/>
                    <a:gd name="connsiteX7" fmla="*/ 6548 w 28575"/>
                    <a:gd name="connsiteY7" fmla="*/ 1786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9525">
                      <a:moveTo>
                        <a:pt x="25598" y="1786"/>
                      </a:moveTo>
                      <a:cubicBezTo>
                        <a:pt x="28229" y="1786"/>
                        <a:pt x="30361" y="3918"/>
                        <a:pt x="30361" y="6548"/>
                      </a:cubicBezTo>
                      <a:lnTo>
                        <a:pt x="30361" y="6548"/>
                      </a:lnTo>
                      <a:cubicBezTo>
                        <a:pt x="30361" y="9179"/>
                        <a:pt x="28229" y="11311"/>
                        <a:pt x="25598" y="11311"/>
                      </a:cubicBezTo>
                      <a:lnTo>
                        <a:pt x="6548" y="11311"/>
                      </a:lnTo>
                      <a:cubicBezTo>
                        <a:pt x="3918" y="11311"/>
                        <a:pt x="1786" y="9179"/>
                        <a:pt x="1786" y="6548"/>
                      </a:cubicBezTo>
                      <a:lnTo>
                        <a:pt x="1786" y="6548"/>
                      </a:lnTo>
                      <a:cubicBezTo>
                        <a:pt x="1786" y="3918"/>
                        <a:pt x="3918" y="1786"/>
                        <a:pt x="6548" y="1786"/>
                      </a:cubicBezTo>
                      <a:close/>
                    </a:path>
                  </a:pathLst>
                </a:custGeom>
                <a:solidFill>
                  <a:schemeClr val="accent1"/>
                </a:solidFill>
                <a:ln w="4763" cap="flat">
                  <a:noFill/>
                  <a:prstDash val="solid"/>
                  <a:miter/>
                </a:ln>
              </p:spPr>
              <p:txBody>
                <a:bodyPr rtlCol="0" anchor="ctr"/>
                <a:lstStyle/>
                <a:p>
                  <a:pPr defTabSz="685775" eaLnBrk="1" fontAlgn="auto" hangingPunct="1">
                    <a:spcBef>
                      <a:spcPts val="0"/>
                    </a:spcBef>
                    <a:spcAft>
                      <a:spcPts val="0"/>
                    </a:spcAft>
                    <a:defRPr/>
                  </a:pPr>
                  <a:endParaRPr lang="en-US" sz="1377">
                    <a:solidFill>
                      <a:srgbClr val="000000"/>
                    </a:solidFill>
                    <a:latin typeface="Segoe UI"/>
                  </a:endParaRPr>
                </a:p>
              </p:txBody>
            </p:sp>
          </p:grpSp>
        </p:grpSp>
      </p:grpSp>
      <p:grpSp>
        <p:nvGrpSpPr>
          <p:cNvPr id="322" name="Group 321">
            <a:extLst>
              <a:ext uri="{FF2B5EF4-FFF2-40B4-BE49-F238E27FC236}">
                <a16:creationId xmlns:a16="http://schemas.microsoft.com/office/drawing/2014/main" id="{C3822F75-D372-4E86-BF59-0ABD45423221}"/>
              </a:ext>
            </a:extLst>
          </p:cNvPr>
          <p:cNvGrpSpPr/>
          <p:nvPr/>
        </p:nvGrpSpPr>
        <p:grpSpPr>
          <a:xfrm>
            <a:off x="289284" y="748901"/>
            <a:ext cx="454251" cy="155367"/>
            <a:chOff x="384901" y="555169"/>
            <a:chExt cx="605754" cy="207185"/>
          </a:xfrm>
        </p:grpSpPr>
        <p:sp>
          <p:nvSpPr>
            <p:cNvPr id="323" name="TextBox 322">
              <a:extLst>
                <a:ext uri="{FF2B5EF4-FFF2-40B4-BE49-F238E27FC236}">
                  <a16:creationId xmlns:a16="http://schemas.microsoft.com/office/drawing/2014/main" id="{CF565E61-2AB5-47AD-853B-881F5D0A43E4}"/>
                </a:ext>
              </a:extLst>
            </p:cNvPr>
            <p:cNvSpPr txBox="1"/>
            <p:nvPr/>
          </p:nvSpPr>
          <p:spPr>
            <a:xfrm>
              <a:off x="585279" y="596131"/>
              <a:ext cx="405376" cy="166223"/>
            </a:xfrm>
            <a:prstGeom prst="rect">
              <a:avLst/>
            </a:prstGeom>
          </p:spPr>
          <p:txBody>
            <a:bodyPr wrap="none" lIns="34285" tIns="0" rIns="0" bIns="0">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667" eaLnBrk="1" fontAlgn="auto" hangingPunct="1">
                <a:spcBef>
                  <a:spcPts val="0"/>
                </a:spcBef>
                <a:spcAft>
                  <a:spcPts val="0"/>
                </a:spcAft>
                <a:defRPr/>
              </a:pPr>
              <a:r>
                <a:rPr lang="en-US" sz="900"/>
                <a:t>ADFS</a:t>
              </a:r>
            </a:p>
          </p:txBody>
        </p:sp>
        <p:pic>
          <p:nvPicPr>
            <p:cNvPr id="324" name="Graphic 323">
              <a:extLst>
                <a:ext uri="{FF2B5EF4-FFF2-40B4-BE49-F238E27FC236}">
                  <a16:creationId xmlns:a16="http://schemas.microsoft.com/office/drawing/2014/main" id="{AE827B1B-D0DC-454B-8875-68659AA646AF}"/>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4901" y="555169"/>
              <a:ext cx="203762" cy="203762"/>
            </a:xfrm>
            <a:prstGeom prst="rect">
              <a:avLst/>
            </a:prstGeom>
          </p:spPr>
        </p:pic>
      </p:grpSp>
      <p:sp>
        <p:nvSpPr>
          <p:cNvPr id="636" name="Arc 635">
            <a:extLst>
              <a:ext uri="{FF2B5EF4-FFF2-40B4-BE49-F238E27FC236}">
                <a16:creationId xmlns:a16="http://schemas.microsoft.com/office/drawing/2014/main" id="{3AC2D1F2-3821-424F-8EED-879471E2608E}"/>
              </a:ext>
            </a:extLst>
          </p:cNvPr>
          <p:cNvSpPr/>
          <p:nvPr/>
        </p:nvSpPr>
        <p:spPr>
          <a:xfrm>
            <a:off x="3688846" y="2124201"/>
            <a:ext cx="1562987" cy="1562987"/>
          </a:xfrm>
          <a:prstGeom prst="arc">
            <a:avLst>
              <a:gd name="adj1" fmla="val 2249539"/>
              <a:gd name="adj2" fmla="val 5840073"/>
            </a:avLst>
          </a:prstGeom>
          <a:noFill/>
          <a:ln w="9525" cap="flat" cmpd="sng" algn="ctr">
            <a:solidFill>
              <a:srgbClr val="0078D7"/>
            </a:solidFill>
            <a:prstDash val="solid"/>
            <a:headEnd type="triangle" w="med" len="med"/>
            <a:tailEnd type="none" w="med" len="med"/>
          </a:ln>
          <a:effectLst/>
        </p:spPr>
        <p:txBody>
          <a:bodyPr rtlCol="0" anchor="ctr"/>
          <a:lstStyle/>
          <a:p>
            <a:pPr algn="ctr" defTabSz="672161" eaLnBrk="1" fontAlgn="auto" hangingPunct="1">
              <a:spcBef>
                <a:spcPts val="0"/>
              </a:spcBef>
              <a:spcAft>
                <a:spcPts val="0"/>
              </a:spcAft>
              <a:defRPr/>
            </a:pPr>
            <a:endParaRPr lang="en-US" sz="1377" kern="0">
              <a:solidFill>
                <a:srgbClr val="353535"/>
              </a:solidFill>
              <a:latin typeface="Segoe UI Semilight"/>
            </a:endParaRPr>
          </a:p>
        </p:txBody>
      </p:sp>
      <p:sp>
        <p:nvSpPr>
          <p:cNvPr id="637" name="Arc 636">
            <a:extLst>
              <a:ext uri="{FF2B5EF4-FFF2-40B4-BE49-F238E27FC236}">
                <a16:creationId xmlns:a16="http://schemas.microsoft.com/office/drawing/2014/main" id="{480ED318-0C42-4090-A050-B09149444C16}"/>
              </a:ext>
            </a:extLst>
          </p:cNvPr>
          <p:cNvSpPr/>
          <p:nvPr/>
        </p:nvSpPr>
        <p:spPr>
          <a:xfrm rot="20984159">
            <a:off x="3702053" y="2041114"/>
            <a:ext cx="1607983" cy="1562987"/>
          </a:xfrm>
          <a:prstGeom prst="arc">
            <a:avLst>
              <a:gd name="adj1" fmla="val 17443363"/>
              <a:gd name="adj2" fmla="val 20404202"/>
            </a:avLst>
          </a:prstGeom>
          <a:noFill/>
          <a:ln w="9525" cap="flat" cmpd="sng" algn="ctr">
            <a:solidFill>
              <a:srgbClr val="0078D7"/>
            </a:solidFill>
            <a:prstDash val="solid"/>
            <a:headEnd type="none" w="med" len="med"/>
            <a:tailEnd type="triangle" w="med" len="med"/>
          </a:ln>
          <a:effectLst/>
        </p:spPr>
        <p:txBody>
          <a:bodyPr rtlCol="0" anchor="ctr"/>
          <a:lstStyle/>
          <a:p>
            <a:pPr algn="ctr" defTabSz="672161" eaLnBrk="1" fontAlgn="auto" hangingPunct="1">
              <a:spcBef>
                <a:spcPts val="0"/>
              </a:spcBef>
              <a:spcAft>
                <a:spcPts val="0"/>
              </a:spcAft>
              <a:defRPr/>
            </a:pPr>
            <a:endParaRPr lang="en-US" sz="1377" kern="0">
              <a:solidFill>
                <a:srgbClr val="353535"/>
              </a:solidFill>
              <a:latin typeface="Segoe UI Semilight"/>
            </a:endParaRPr>
          </a:p>
        </p:txBody>
      </p:sp>
      <p:sp>
        <p:nvSpPr>
          <p:cNvPr id="638" name="Rectangle 637">
            <a:extLst>
              <a:ext uri="{FF2B5EF4-FFF2-40B4-BE49-F238E27FC236}">
                <a16:creationId xmlns:a16="http://schemas.microsoft.com/office/drawing/2014/main" id="{D069F7C8-FF52-4759-B394-7C33576AC47A}"/>
              </a:ext>
            </a:extLst>
          </p:cNvPr>
          <p:cNvSpPr/>
          <p:nvPr/>
        </p:nvSpPr>
        <p:spPr>
          <a:xfrm>
            <a:off x="6504944" y="2735945"/>
            <a:ext cx="623889" cy="371897"/>
          </a:xfrm>
          <a:prstGeom prst="rect">
            <a:avLst/>
          </a:prstGeom>
        </p:spPr>
        <p:txBody>
          <a:bodyPr wrap="none">
            <a:spAutoFit/>
          </a:bodyPr>
          <a:lstStyle/>
          <a:p>
            <a:pPr defTabSz="658793" eaLnBrk="1" fontAlgn="auto" hangingPunct="1">
              <a:lnSpc>
                <a:spcPct val="90000"/>
              </a:lnSpc>
              <a:spcBef>
                <a:spcPts val="0"/>
              </a:spcBef>
              <a:spcAft>
                <a:spcPts val="0"/>
              </a:spcAft>
              <a:defRPr/>
            </a:pPr>
            <a:r>
              <a:rPr lang="en-US" sz="1009" kern="0">
                <a:solidFill>
                  <a:srgbClr val="353535"/>
                </a:solidFill>
                <a:latin typeface="Segoe UI"/>
                <a:ea typeface="ＭＳ Ｐゴシック" charset="0"/>
              </a:rPr>
              <a:t>Require</a:t>
            </a:r>
          </a:p>
          <a:p>
            <a:pPr defTabSz="658793" eaLnBrk="1" fontAlgn="auto" hangingPunct="1">
              <a:lnSpc>
                <a:spcPct val="90000"/>
              </a:lnSpc>
              <a:spcBef>
                <a:spcPts val="0"/>
              </a:spcBef>
              <a:spcAft>
                <a:spcPts val="0"/>
              </a:spcAft>
              <a:defRPr/>
            </a:pPr>
            <a:r>
              <a:rPr lang="en-US" sz="1009" kern="0">
                <a:solidFill>
                  <a:srgbClr val="353535"/>
                </a:solidFill>
                <a:latin typeface="Segoe UI"/>
                <a:ea typeface="ＭＳ Ｐゴシック" charset="0"/>
              </a:rPr>
              <a:t>MFA</a:t>
            </a:r>
          </a:p>
        </p:txBody>
      </p:sp>
      <p:grpSp>
        <p:nvGrpSpPr>
          <p:cNvPr id="639" name="Controls: MFA">
            <a:extLst>
              <a:ext uri="{FF2B5EF4-FFF2-40B4-BE49-F238E27FC236}">
                <a16:creationId xmlns:a16="http://schemas.microsoft.com/office/drawing/2014/main" id="{7FE5716E-39C6-4473-9E4B-503F6C090A66}"/>
              </a:ext>
            </a:extLst>
          </p:cNvPr>
          <p:cNvGrpSpPr/>
          <p:nvPr/>
        </p:nvGrpSpPr>
        <p:grpSpPr>
          <a:xfrm>
            <a:off x="5948886" y="2631644"/>
            <a:ext cx="557203" cy="557203"/>
            <a:chOff x="6689925" y="2070504"/>
            <a:chExt cx="896425" cy="896425"/>
          </a:xfrm>
        </p:grpSpPr>
        <p:grpSp>
          <p:nvGrpSpPr>
            <p:cNvPr id="640" name="Group 639">
              <a:extLst>
                <a:ext uri="{FF2B5EF4-FFF2-40B4-BE49-F238E27FC236}">
                  <a16:creationId xmlns:a16="http://schemas.microsoft.com/office/drawing/2014/main" id="{632910F9-4D76-4ABC-8FEA-05BEE1649DF0}"/>
                </a:ext>
              </a:extLst>
            </p:cNvPr>
            <p:cNvGrpSpPr/>
            <p:nvPr/>
          </p:nvGrpSpPr>
          <p:grpSpPr>
            <a:xfrm>
              <a:off x="6689925" y="2070504"/>
              <a:ext cx="896425" cy="896425"/>
              <a:chOff x="8603515" y="2504434"/>
              <a:chExt cx="1600200" cy="1600200"/>
            </a:xfrm>
          </p:grpSpPr>
          <p:sp>
            <p:nvSpPr>
              <p:cNvPr id="642" name="Oval 641">
                <a:extLst>
                  <a:ext uri="{FF2B5EF4-FFF2-40B4-BE49-F238E27FC236}">
                    <a16:creationId xmlns:a16="http://schemas.microsoft.com/office/drawing/2014/main" id="{75C2726B-02DD-4A79-8E62-CF418A697BFA}"/>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43" name="Circle: Hollow 642">
                <a:extLst>
                  <a:ext uri="{FF2B5EF4-FFF2-40B4-BE49-F238E27FC236}">
                    <a16:creationId xmlns:a16="http://schemas.microsoft.com/office/drawing/2014/main" id="{ECF33212-DD7F-4A50-9E78-20418D72896C}"/>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641" name="Picture 640">
              <a:extLst>
                <a:ext uri="{FF2B5EF4-FFF2-40B4-BE49-F238E27FC236}">
                  <a16:creationId xmlns:a16="http://schemas.microsoft.com/office/drawing/2014/main" id="{6B248CDA-32FF-4BE8-BDB9-4417E7FCC7D2}"/>
                </a:ext>
              </a:extLst>
            </p:cNvPr>
            <p:cNvPicPr>
              <a:picLocks noChangeAspect="1"/>
            </p:cNvPicPr>
            <p:nvPr/>
          </p:nvPicPr>
          <p:blipFill>
            <a:blip r:embed="rId11" cstate="print">
              <a:biLevel thresh="25000"/>
              <a:extLst>
                <a:ext uri="{28A0092B-C50C-407E-A947-70E740481C1C}">
                  <a14:useLocalDpi xmlns:a14="http://schemas.microsoft.com/office/drawing/2010/main"/>
                </a:ext>
              </a:extLst>
            </a:blip>
            <a:stretch>
              <a:fillRect/>
            </a:stretch>
          </p:blipFill>
          <p:spPr>
            <a:xfrm>
              <a:off x="6884430" y="2240837"/>
              <a:ext cx="549135" cy="549135"/>
            </a:xfrm>
            <a:prstGeom prst="rect">
              <a:avLst/>
            </a:prstGeom>
          </p:spPr>
        </p:pic>
      </p:grpSp>
      <p:sp>
        <p:nvSpPr>
          <p:cNvPr id="644" name="Rectangle 643">
            <a:extLst>
              <a:ext uri="{FF2B5EF4-FFF2-40B4-BE49-F238E27FC236}">
                <a16:creationId xmlns:a16="http://schemas.microsoft.com/office/drawing/2014/main" id="{F293DE1C-8E61-4C33-9F63-F0302D3F6B1D}"/>
              </a:ext>
            </a:extLst>
          </p:cNvPr>
          <p:cNvSpPr/>
          <p:nvPr/>
        </p:nvSpPr>
        <p:spPr>
          <a:xfrm>
            <a:off x="6077562" y="1569955"/>
            <a:ext cx="856325" cy="371897"/>
          </a:xfrm>
          <a:prstGeom prst="rect">
            <a:avLst/>
          </a:prstGeom>
        </p:spPr>
        <p:txBody>
          <a:bodyPr wrap="none">
            <a:spAutoFit/>
          </a:bodyPr>
          <a:lstStyle/>
          <a:p>
            <a:pPr defTabSz="658793" eaLnBrk="1" fontAlgn="auto" hangingPunct="1">
              <a:lnSpc>
                <a:spcPct val="90000"/>
              </a:lnSpc>
              <a:spcBef>
                <a:spcPts val="0"/>
              </a:spcBef>
              <a:spcAft>
                <a:spcPts val="0"/>
              </a:spcAft>
              <a:defRPr/>
            </a:pPr>
            <a:r>
              <a:rPr lang="en-US" sz="1009" kern="100">
                <a:solidFill>
                  <a:srgbClr val="353535"/>
                </a:solidFill>
                <a:latin typeface="Segoe UI"/>
                <a:ea typeface="ＭＳ Ｐゴシック" charset="0"/>
              </a:rPr>
              <a:t>Allow/block</a:t>
            </a:r>
          </a:p>
          <a:p>
            <a:pPr defTabSz="658793" eaLnBrk="1" fontAlgn="auto" hangingPunct="1">
              <a:lnSpc>
                <a:spcPct val="90000"/>
              </a:lnSpc>
              <a:spcBef>
                <a:spcPts val="0"/>
              </a:spcBef>
              <a:spcAft>
                <a:spcPts val="0"/>
              </a:spcAft>
              <a:defRPr/>
            </a:pPr>
            <a:r>
              <a:rPr lang="en-US" sz="1009" kern="100">
                <a:solidFill>
                  <a:srgbClr val="353535"/>
                </a:solidFill>
                <a:latin typeface="Segoe UI"/>
                <a:ea typeface="ＭＳ Ｐゴシック" charset="0"/>
              </a:rPr>
              <a:t>access</a:t>
            </a:r>
          </a:p>
        </p:txBody>
      </p:sp>
      <p:sp>
        <p:nvSpPr>
          <p:cNvPr id="650" name="Rectangle 649">
            <a:extLst>
              <a:ext uri="{FF2B5EF4-FFF2-40B4-BE49-F238E27FC236}">
                <a16:creationId xmlns:a16="http://schemas.microsoft.com/office/drawing/2014/main" id="{FD480643-B577-457A-B0DE-F4E800EB7717}"/>
              </a:ext>
            </a:extLst>
          </p:cNvPr>
          <p:cNvSpPr/>
          <p:nvPr/>
        </p:nvSpPr>
        <p:spPr>
          <a:xfrm>
            <a:off x="6077562" y="3901934"/>
            <a:ext cx="1007007" cy="371897"/>
          </a:xfrm>
          <a:prstGeom prst="rect">
            <a:avLst/>
          </a:prstGeom>
        </p:spPr>
        <p:txBody>
          <a:bodyPr wrap="none">
            <a:spAutoFit/>
          </a:bodyPr>
          <a:lstStyle/>
          <a:p>
            <a:pPr defTabSz="658793" eaLnBrk="1" fontAlgn="auto" hangingPunct="1">
              <a:lnSpc>
                <a:spcPct val="90000"/>
              </a:lnSpc>
              <a:spcBef>
                <a:spcPts val="0"/>
              </a:spcBef>
              <a:spcAft>
                <a:spcPts val="0"/>
              </a:spcAft>
              <a:defRPr/>
            </a:pPr>
            <a:r>
              <a:rPr lang="en-US" sz="1009" kern="0">
                <a:solidFill>
                  <a:srgbClr val="353535"/>
                </a:solidFill>
                <a:latin typeface="Segoe UI"/>
                <a:ea typeface="ＭＳ Ｐゴシック" charset="0"/>
              </a:rPr>
              <a:t>Block legacy</a:t>
            </a:r>
            <a:br>
              <a:rPr lang="en-US" sz="1009" kern="0">
                <a:solidFill>
                  <a:srgbClr val="353535"/>
                </a:solidFill>
                <a:latin typeface="Segoe UI"/>
                <a:ea typeface="ＭＳ Ｐゴシック" charset="0"/>
              </a:rPr>
            </a:br>
            <a:r>
              <a:rPr lang="en-US" sz="1009" kern="0">
                <a:solidFill>
                  <a:srgbClr val="353535"/>
                </a:solidFill>
                <a:latin typeface="Segoe UI"/>
                <a:ea typeface="ＭＳ Ｐゴシック" charset="0"/>
              </a:rPr>
              <a:t>authentication</a:t>
            </a:r>
          </a:p>
        </p:txBody>
      </p:sp>
      <p:grpSp>
        <p:nvGrpSpPr>
          <p:cNvPr id="651" name="Controls: Deny">
            <a:extLst>
              <a:ext uri="{FF2B5EF4-FFF2-40B4-BE49-F238E27FC236}">
                <a16:creationId xmlns:a16="http://schemas.microsoft.com/office/drawing/2014/main" id="{04BB764B-313B-4A1E-9BB3-E9C8CFE07238}"/>
              </a:ext>
            </a:extLst>
          </p:cNvPr>
          <p:cNvGrpSpPr/>
          <p:nvPr/>
        </p:nvGrpSpPr>
        <p:grpSpPr>
          <a:xfrm>
            <a:off x="5506478" y="3797634"/>
            <a:ext cx="557203" cy="557203"/>
            <a:chOff x="6689925" y="3891070"/>
            <a:chExt cx="896425" cy="896425"/>
          </a:xfrm>
        </p:grpSpPr>
        <p:grpSp>
          <p:nvGrpSpPr>
            <p:cNvPr id="652" name="Group 651">
              <a:extLst>
                <a:ext uri="{FF2B5EF4-FFF2-40B4-BE49-F238E27FC236}">
                  <a16:creationId xmlns:a16="http://schemas.microsoft.com/office/drawing/2014/main" id="{BF240E78-B1B4-4220-9B92-0DC352912402}"/>
                </a:ext>
              </a:extLst>
            </p:cNvPr>
            <p:cNvGrpSpPr/>
            <p:nvPr/>
          </p:nvGrpSpPr>
          <p:grpSpPr>
            <a:xfrm>
              <a:off x="6689925" y="3891070"/>
              <a:ext cx="896425" cy="896425"/>
              <a:chOff x="8603515" y="2504434"/>
              <a:chExt cx="1600200" cy="1600200"/>
            </a:xfrm>
          </p:grpSpPr>
          <p:sp>
            <p:nvSpPr>
              <p:cNvPr id="654" name="Oval 653">
                <a:extLst>
                  <a:ext uri="{FF2B5EF4-FFF2-40B4-BE49-F238E27FC236}">
                    <a16:creationId xmlns:a16="http://schemas.microsoft.com/office/drawing/2014/main" id="{3D6C8B72-2C0F-4400-B6A0-DADE144F0256}"/>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55" name="Circle: Hollow 654">
                <a:extLst>
                  <a:ext uri="{FF2B5EF4-FFF2-40B4-BE49-F238E27FC236}">
                    <a16:creationId xmlns:a16="http://schemas.microsoft.com/office/drawing/2014/main" id="{AAF1378B-7D92-458E-9367-7CC69E38C3D4}"/>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53" name="Freeform: Shape 652">
              <a:extLst>
                <a:ext uri="{FF2B5EF4-FFF2-40B4-BE49-F238E27FC236}">
                  <a16:creationId xmlns:a16="http://schemas.microsoft.com/office/drawing/2014/main" id="{77273688-CD3D-4880-8A04-A88FE9CA5081}"/>
                </a:ext>
              </a:extLst>
            </p:cNvPr>
            <p:cNvSpPr>
              <a:spLocks noChangeAspect="1"/>
            </p:cNvSpPr>
            <p:nvPr/>
          </p:nvSpPr>
          <p:spPr bwMode="auto">
            <a:xfrm>
              <a:off x="6915722" y="4116639"/>
              <a:ext cx="448212" cy="448213"/>
            </a:xfrm>
            <a:custGeom>
              <a:avLst/>
              <a:gdLst>
                <a:gd name="connsiteX0" fmla="*/ 368104 w 1250088"/>
                <a:gd name="connsiteY0" fmla="*/ 281747 h 1250088"/>
                <a:gd name="connsiteX1" fmla="*/ 281747 w 1250088"/>
                <a:gd name="connsiteY1" fmla="*/ 368104 h 1250088"/>
                <a:gd name="connsiteX2" fmla="*/ 538687 w 1250088"/>
                <a:gd name="connsiteY2" fmla="*/ 625044 h 1250088"/>
                <a:gd name="connsiteX3" fmla="*/ 281747 w 1250088"/>
                <a:gd name="connsiteY3" fmla="*/ 881984 h 1250088"/>
                <a:gd name="connsiteX4" fmla="*/ 368104 w 1250088"/>
                <a:gd name="connsiteY4" fmla="*/ 968341 h 1250088"/>
                <a:gd name="connsiteX5" fmla="*/ 625044 w 1250088"/>
                <a:gd name="connsiteY5" fmla="*/ 711401 h 1250088"/>
                <a:gd name="connsiteX6" fmla="*/ 881984 w 1250088"/>
                <a:gd name="connsiteY6" fmla="*/ 968341 h 1250088"/>
                <a:gd name="connsiteX7" fmla="*/ 968341 w 1250088"/>
                <a:gd name="connsiteY7" fmla="*/ 881984 h 1250088"/>
                <a:gd name="connsiteX8" fmla="*/ 711401 w 1250088"/>
                <a:gd name="connsiteY8" fmla="*/ 625044 h 1250088"/>
                <a:gd name="connsiteX9" fmla="*/ 968341 w 1250088"/>
                <a:gd name="connsiteY9" fmla="*/ 368104 h 1250088"/>
                <a:gd name="connsiteX10" fmla="*/ 881984 w 1250088"/>
                <a:gd name="connsiteY10" fmla="*/ 281747 h 1250088"/>
                <a:gd name="connsiteX11" fmla="*/ 625044 w 1250088"/>
                <a:gd name="connsiteY11" fmla="*/ 538687 h 1250088"/>
                <a:gd name="connsiteX12" fmla="*/ 625044 w 1250088"/>
                <a:gd name="connsiteY12" fmla="*/ 0 h 1250088"/>
                <a:gd name="connsiteX13" fmla="*/ 1250088 w 1250088"/>
                <a:gd name="connsiteY13" fmla="*/ 625044 h 1250088"/>
                <a:gd name="connsiteX14" fmla="*/ 625044 w 1250088"/>
                <a:gd name="connsiteY14" fmla="*/ 1250088 h 1250088"/>
                <a:gd name="connsiteX15" fmla="*/ 0 w 1250088"/>
                <a:gd name="connsiteY15" fmla="*/ 625044 h 1250088"/>
                <a:gd name="connsiteX16" fmla="*/ 625044 w 1250088"/>
                <a:gd name="connsiteY16" fmla="*/ 0 h 12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88" h="1250088">
                  <a:moveTo>
                    <a:pt x="368104" y="281747"/>
                  </a:moveTo>
                  <a:lnTo>
                    <a:pt x="281747" y="368104"/>
                  </a:lnTo>
                  <a:lnTo>
                    <a:pt x="538687" y="625044"/>
                  </a:lnTo>
                  <a:lnTo>
                    <a:pt x="281747" y="881984"/>
                  </a:lnTo>
                  <a:lnTo>
                    <a:pt x="368104" y="968341"/>
                  </a:lnTo>
                  <a:lnTo>
                    <a:pt x="625044" y="711401"/>
                  </a:lnTo>
                  <a:lnTo>
                    <a:pt x="881984" y="968341"/>
                  </a:lnTo>
                  <a:lnTo>
                    <a:pt x="968341" y="881984"/>
                  </a:lnTo>
                  <a:lnTo>
                    <a:pt x="711401" y="625044"/>
                  </a:lnTo>
                  <a:lnTo>
                    <a:pt x="968341" y="368104"/>
                  </a:lnTo>
                  <a:lnTo>
                    <a:pt x="881984" y="281747"/>
                  </a:lnTo>
                  <a:lnTo>
                    <a:pt x="625044" y="538687"/>
                  </a:lnTo>
                  <a:close/>
                  <a:moveTo>
                    <a:pt x="625044" y="0"/>
                  </a:moveTo>
                  <a:cubicBezTo>
                    <a:pt x="970246" y="0"/>
                    <a:pt x="1250088" y="279842"/>
                    <a:pt x="1250088" y="625044"/>
                  </a:cubicBezTo>
                  <a:cubicBezTo>
                    <a:pt x="1250088" y="970246"/>
                    <a:pt x="970246" y="1250088"/>
                    <a:pt x="625044" y="1250088"/>
                  </a:cubicBezTo>
                  <a:cubicBezTo>
                    <a:pt x="279842" y="1250088"/>
                    <a:pt x="0" y="970246"/>
                    <a:pt x="0" y="625044"/>
                  </a:cubicBezTo>
                  <a:cubicBezTo>
                    <a:pt x="0" y="279842"/>
                    <a:pt x="279842" y="0"/>
                    <a:pt x="625044" y="0"/>
                  </a:cubicBezTo>
                  <a:close/>
                </a:path>
              </a:pathLst>
            </a:custGeom>
            <a:solidFill>
              <a:srgbClr val="0078D7"/>
            </a:solidFill>
            <a:ln w="19050" cap="flat" cmpd="sng" algn="ctr">
              <a:solidFill>
                <a:srgbClr val="FFFFFF"/>
              </a:solid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942" eaLnBrk="1" hangingPunct="1">
                <a:lnSpc>
                  <a:spcPct val="90000"/>
                </a:lnSpc>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656" name="Rectangle 655">
            <a:extLst>
              <a:ext uri="{FF2B5EF4-FFF2-40B4-BE49-F238E27FC236}">
                <a16:creationId xmlns:a16="http://schemas.microsoft.com/office/drawing/2014/main" id="{1516C389-A68A-4F7B-A579-6452749299B1}"/>
              </a:ext>
            </a:extLst>
          </p:cNvPr>
          <p:cNvSpPr/>
          <p:nvPr/>
        </p:nvSpPr>
        <p:spPr>
          <a:xfrm>
            <a:off x="6403223" y="3284261"/>
            <a:ext cx="724878" cy="511679"/>
          </a:xfrm>
          <a:prstGeom prst="rect">
            <a:avLst/>
          </a:prstGeom>
        </p:spPr>
        <p:txBody>
          <a:bodyPr wrap="none">
            <a:spAutoFit/>
          </a:bodyPr>
          <a:lstStyle/>
          <a:p>
            <a:pPr defTabSz="658793" eaLnBrk="1" fontAlgn="auto" hangingPunct="1">
              <a:lnSpc>
                <a:spcPct val="90000"/>
              </a:lnSpc>
              <a:spcBef>
                <a:spcPts val="0"/>
              </a:spcBef>
              <a:spcAft>
                <a:spcPts val="0"/>
              </a:spcAft>
              <a:defRPr/>
            </a:pPr>
            <a:r>
              <a:rPr lang="en-US" sz="1009" kern="0">
                <a:solidFill>
                  <a:srgbClr val="353535"/>
                </a:solidFill>
                <a:latin typeface="Segoe UI"/>
                <a:ea typeface="ＭＳ Ｐゴシック" charset="0"/>
              </a:rPr>
              <a:t>Force</a:t>
            </a:r>
          </a:p>
          <a:p>
            <a:pPr defTabSz="658793" eaLnBrk="1" fontAlgn="auto" hangingPunct="1">
              <a:lnSpc>
                <a:spcPct val="90000"/>
              </a:lnSpc>
              <a:spcBef>
                <a:spcPts val="0"/>
              </a:spcBef>
              <a:spcAft>
                <a:spcPts val="0"/>
              </a:spcAft>
              <a:defRPr/>
            </a:pPr>
            <a:r>
              <a:rPr lang="en-US" sz="1009" kern="0">
                <a:solidFill>
                  <a:srgbClr val="353535"/>
                </a:solidFill>
                <a:latin typeface="Segoe UI"/>
                <a:ea typeface="ＭＳ Ｐゴシック" charset="0"/>
              </a:rPr>
              <a:t>password</a:t>
            </a:r>
          </a:p>
          <a:p>
            <a:pPr defTabSz="658793" eaLnBrk="1" fontAlgn="auto" hangingPunct="1">
              <a:lnSpc>
                <a:spcPct val="90000"/>
              </a:lnSpc>
              <a:spcBef>
                <a:spcPts val="0"/>
              </a:spcBef>
              <a:spcAft>
                <a:spcPts val="0"/>
              </a:spcAft>
              <a:defRPr/>
            </a:pPr>
            <a:r>
              <a:rPr lang="en-US" sz="1009" kern="0">
                <a:solidFill>
                  <a:srgbClr val="353535"/>
                </a:solidFill>
                <a:latin typeface="Segoe UI"/>
                <a:ea typeface="ＭＳ Ｐゴシック" charset="0"/>
              </a:rPr>
              <a:t>reset</a:t>
            </a:r>
          </a:p>
        </p:txBody>
      </p:sp>
      <p:grpSp>
        <p:nvGrpSpPr>
          <p:cNvPr id="657" name="Controls: Force password reset">
            <a:extLst>
              <a:ext uri="{FF2B5EF4-FFF2-40B4-BE49-F238E27FC236}">
                <a16:creationId xmlns:a16="http://schemas.microsoft.com/office/drawing/2014/main" id="{8F78928C-1B3D-4F52-8B67-B38E3CB871DB}"/>
              </a:ext>
            </a:extLst>
          </p:cNvPr>
          <p:cNvGrpSpPr/>
          <p:nvPr/>
        </p:nvGrpSpPr>
        <p:grpSpPr>
          <a:xfrm>
            <a:off x="5841975" y="3249801"/>
            <a:ext cx="557203" cy="557203"/>
            <a:chOff x="6887735" y="2980787"/>
            <a:chExt cx="896425" cy="896425"/>
          </a:xfrm>
        </p:grpSpPr>
        <p:grpSp>
          <p:nvGrpSpPr>
            <p:cNvPr id="658" name="Group 657">
              <a:extLst>
                <a:ext uri="{FF2B5EF4-FFF2-40B4-BE49-F238E27FC236}">
                  <a16:creationId xmlns:a16="http://schemas.microsoft.com/office/drawing/2014/main" id="{6CC20ECE-FC6A-4000-9CC3-98F5E884A0E4}"/>
                </a:ext>
              </a:extLst>
            </p:cNvPr>
            <p:cNvGrpSpPr/>
            <p:nvPr/>
          </p:nvGrpSpPr>
          <p:grpSpPr>
            <a:xfrm>
              <a:off x="6887735" y="2980787"/>
              <a:ext cx="896425" cy="896425"/>
              <a:chOff x="8603515" y="2504434"/>
              <a:chExt cx="1600200" cy="1600200"/>
            </a:xfrm>
          </p:grpSpPr>
          <p:sp>
            <p:nvSpPr>
              <p:cNvPr id="665" name="Oval 664">
                <a:extLst>
                  <a:ext uri="{FF2B5EF4-FFF2-40B4-BE49-F238E27FC236}">
                    <a16:creationId xmlns:a16="http://schemas.microsoft.com/office/drawing/2014/main" id="{639A80F3-A903-4D2A-AFE6-459731F75D71}"/>
                  </a:ext>
                </a:extLst>
              </p:cNvPr>
              <p:cNvSpPr/>
              <p:nvPr/>
            </p:nvSpPr>
            <p:spPr bwMode="auto">
              <a:xfrm>
                <a:off x="8672095" y="2573014"/>
                <a:ext cx="1463041" cy="146304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6" name="Circle: Hollow 665">
                <a:extLst>
                  <a:ext uri="{FF2B5EF4-FFF2-40B4-BE49-F238E27FC236}">
                    <a16:creationId xmlns:a16="http://schemas.microsoft.com/office/drawing/2014/main" id="{DC3F68A7-1C06-4F43-8E82-66813D0D97FA}"/>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59" name="Group 658">
              <a:extLst>
                <a:ext uri="{FF2B5EF4-FFF2-40B4-BE49-F238E27FC236}">
                  <a16:creationId xmlns:a16="http://schemas.microsoft.com/office/drawing/2014/main" id="{75BF4793-E76C-4D8E-8773-2030B4CD6DC2}"/>
                </a:ext>
              </a:extLst>
            </p:cNvPr>
            <p:cNvGrpSpPr/>
            <p:nvPr/>
          </p:nvGrpSpPr>
          <p:grpSpPr>
            <a:xfrm>
              <a:off x="6965525" y="3299914"/>
              <a:ext cx="704934" cy="268928"/>
              <a:chOff x="9292873" y="3800013"/>
              <a:chExt cx="719069" cy="274320"/>
            </a:xfrm>
          </p:grpSpPr>
          <p:grpSp>
            <p:nvGrpSpPr>
              <p:cNvPr id="660" name="Group 659">
                <a:extLst>
                  <a:ext uri="{FF2B5EF4-FFF2-40B4-BE49-F238E27FC236}">
                    <a16:creationId xmlns:a16="http://schemas.microsoft.com/office/drawing/2014/main" id="{3D56DCB4-E490-4016-AE08-C1462B4E3E57}"/>
                  </a:ext>
                </a:extLst>
              </p:cNvPr>
              <p:cNvGrpSpPr>
                <a:grpSpLocks noChangeAspect="1"/>
              </p:cNvGrpSpPr>
              <p:nvPr/>
            </p:nvGrpSpPr>
            <p:grpSpPr>
              <a:xfrm>
                <a:off x="9492252" y="3822873"/>
                <a:ext cx="519690" cy="228600"/>
                <a:chOff x="8169311" y="5982085"/>
                <a:chExt cx="1251679" cy="550587"/>
              </a:xfrm>
            </p:grpSpPr>
            <p:sp>
              <p:nvSpPr>
                <p:cNvPr id="663" name="Rectangle 662">
                  <a:extLst>
                    <a:ext uri="{FF2B5EF4-FFF2-40B4-BE49-F238E27FC236}">
                      <a16:creationId xmlns:a16="http://schemas.microsoft.com/office/drawing/2014/main" id="{4313CEBB-246E-47FF-A7EC-70E96E06F472}"/>
                    </a:ext>
                  </a:extLst>
                </p:cNvPr>
                <p:cNvSpPr/>
                <p:nvPr/>
              </p:nvSpPr>
              <p:spPr bwMode="auto">
                <a:xfrm>
                  <a:off x="8169311" y="5982085"/>
                  <a:ext cx="1251679" cy="256707"/>
                </a:xfrm>
                <a:prstGeom prst="rect">
                  <a:avLst/>
                </a:prstGeom>
                <a:solidFill>
                  <a:srgbClr val="0078D7"/>
                </a:solidFill>
                <a:ln w="10795" cap="flat" cmpd="sng" algn="ctr">
                  <a:solidFill>
                    <a:srgbClr val="FFFFFF"/>
                  </a:solid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131759" defTabSz="671813" eaLnBrk="1" hangingPunct="1">
                    <a:lnSpc>
                      <a:spcPct val="90000"/>
                    </a:lnSpc>
                    <a:spcBef>
                      <a:spcPts val="0"/>
                    </a:spcBef>
                    <a:defRPr/>
                  </a:pPr>
                  <a:endParaRPr lang="en-US" sz="757" kern="0">
                    <a:solidFill>
                      <a:srgbClr val="FFFFFF"/>
                    </a:solidFill>
                    <a:latin typeface="Segoe UI"/>
                  </a:endParaRPr>
                </a:p>
              </p:txBody>
            </p:sp>
            <p:sp>
              <p:nvSpPr>
                <p:cNvPr id="664" name="Rectangle 663">
                  <a:extLst>
                    <a:ext uri="{FF2B5EF4-FFF2-40B4-BE49-F238E27FC236}">
                      <a16:creationId xmlns:a16="http://schemas.microsoft.com/office/drawing/2014/main" id="{ED1E2085-CE3C-49CC-B704-77D21CC561D9}"/>
                    </a:ext>
                  </a:extLst>
                </p:cNvPr>
                <p:cNvSpPr/>
                <p:nvPr/>
              </p:nvSpPr>
              <p:spPr bwMode="auto">
                <a:xfrm>
                  <a:off x="8169311" y="6275965"/>
                  <a:ext cx="1251679" cy="256707"/>
                </a:xfrm>
                <a:prstGeom prst="rect">
                  <a:avLst/>
                </a:prstGeom>
                <a:solidFill>
                  <a:srgbClr val="0078D7"/>
                </a:solidFill>
                <a:ln w="10795" cap="flat" cmpd="sng" algn="ctr">
                  <a:solidFill>
                    <a:srgbClr val="FFFFFF"/>
                  </a:solidFill>
                  <a:prstDash val="solid"/>
                  <a:headEnd type="none" w="med" len="med"/>
                  <a:tailEnd type="none" w="med" len="med"/>
                </a:ln>
                <a:effectLst/>
              </p:spPr>
              <p:txBody>
                <a:bodyPr vert="horz" wrap="square" lIns="0" tIns="0" rIns="0" bIns="0" numCol="1" rtlCol="0" anchor="t" anchorCtr="0" compatLnSpc="1">
                  <a:prstTxWarp prst="textNoShape">
                    <a:avLst/>
                  </a:prstTxWarp>
                </a:bodyPr>
                <a:lstStyle/>
                <a:p>
                  <a:pPr defTabSz="671813" eaLnBrk="1" hangingPunct="1">
                    <a:lnSpc>
                      <a:spcPct val="90000"/>
                    </a:lnSpc>
                    <a:spcBef>
                      <a:spcPts val="0"/>
                    </a:spcBef>
                    <a:defRPr/>
                  </a:pPr>
                  <a:r>
                    <a:rPr lang="en-US" sz="865" kern="0">
                      <a:solidFill>
                        <a:srgbClr val="FFFFFF"/>
                      </a:solidFill>
                      <a:latin typeface="Segoe UI"/>
                    </a:rPr>
                    <a:t>  ******</a:t>
                  </a:r>
                </a:p>
              </p:txBody>
            </p:sp>
          </p:grpSp>
          <p:sp>
            <p:nvSpPr>
              <p:cNvPr id="661" name="Oval 660">
                <a:extLst>
                  <a:ext uri="{FF2B5EF4-FFF2-40B4-BE49-F238E27FC236}">
                    <a16:creationId xmlns:a16="http://schemas.microsoft.com/office/drawing/2014/main" id="{C9AE5003-8AC2-46D4-9BEA-C394F1A3A0AC}"/>
                  </a:ext>
                </a:extLst>
              </p:cNvPr>
              <p:cNvSpPr/>
              <p:nvPr/>
            </p:nvSpPr>
            <p:spPr bwMode="auto">
              <a:xfrm>
                <a:off x="9292873" y="3800013"/>
                <a:ext cx="274320" cy="274320"/>
              </a:xfrm>
              <a:prstGeom prst="ellipse">
                <a:avLst/>
              </a:prstGeom>
              <a:solidFill>
                <a:srgbClr val="0078D7"/>
              </a:solidFill>
              <a:ln w="10795" cap="flat" cmpd="sng" algn="ctr">
                <a:solidFill>
                  <a:srgbClr val="0078D7"/>
                </a:solidFill>
                <a:prstDash val="solid"/>
                <a:headEnd type="none" w="med" len="med"/>
                <a:tailEnd type="none" w="med" len="med"/>
              </a:ln>
              <a:effectLst/>
            </p:spPr>
            <p:txBody>
              <a:bodyPr vert="horz" wrap="square" lIns="0" tIns="33611" rIns="0" bIns="33611" numCol="1" rtlCol="0" anchor="ctr" anchorCtr="0" compatLnSpc="1">
                <a:prstTxWarp prst="textNoShape">
                  <a:avLst/>
                </a:prstTxWarp>
              </a:bodyPr>
              <a:lstStyle/>
              <a:p>
                <a:pPr algn="ctr" defTabSz="671942" eaLnBrk="1" hangingPunct="1">
                  <a:defRPr/>
                </a:pPr>
                <a:endParaRPr lang="en-US" sz="1441" kern="0">
                  <a:gradFill>
                    <a:gsLst>
                      <a:gs pos="0">
                        <a:srgbClr val="FFFFFF"/>
                      </a:gs>
                      <a:gs pos="100000">
                        <a:srgbClr val="FFFFFF"/>
                      </a:gs>
                    </a:gsLst>
                    <a:lin ang="5400000" scaled="0"/>
                  </a:gradFill>
                  <a:latin typeface="Segoe UI"/>
                </a:endParaRPr>
              </a:p>
            </p:txBody>
          </p:sp>
          <p:sp>
            <p:nvSpPr>
              <p:cNvPr id="662" name="Freeform: Shape 661">
                <a:extLst>
                  <a:ext uri="{FF2B5EF4-FFF2-40B4-BE49-F238E27FC236}">
                    <a16:creationId xmlns:a16="http://schemas.microsoft.com/office/drawing/2014/main" id="{A8CA07B1-C4CC-433B-9908-48EAC6635348}"/>
                  </a:ext>
                </a:extLst>
              </p:cNvPr>
              <p:cNvSpPr>
                <a:spLocks noChangeAspect="1"/>
              </p:cNvSpPr>
              <p:nvPr/>
            </p:nvSpPr>
            <p:spPr bwMode="auto">
              <a:xfrm>
                <a:off x="9304039" y="3812370"/>
                <a:ext cx="249606" cy="249606"/>
              </a:xfrm>
              <a:custGeom>
                <a:avLst/>
                <a:gdLst>
                  <a:gd name="connsiteX0" fmla="*/ 368104 w 1250088"/>
                  <a:gd name="connsiteY0" fmla="*/ 281747 h 1250088"/>
                  <a:gd name="connsiteX1" fmla="*/ 281747 w 1250088"/>
                  <a:gd name="connsiteY1" fmla="*/ 368104 h 1250088"/>
                  <a:gd name="connsiteX2" fmla="*/ 538687 w 1250088"/>
                  <a:gd name="connsiteY2" fmla="*/ 625044 h 1250088"/>
                  <a:gd name="connsiteX3" fmla="*/ 281747 w 1250088"/>
                  <a:gd name="connsiteY3" fmla="*/ 881984 h 1250088"/>
                  <a:gd name="connsiteX4" fmla="*/ 368104 w 1250088"/>
                  <a:gd name="connsiteY4" fmla="*/ 968341 h 1250088"/>
                  <a:gd name="connsiteX5" fmla="*/ 625044 w 1250088"/>
                  <a:gd name="connsiteY5" fmla="*/ 711401 h 1250088"/>
                  <a:gd name="connsiteX6" fmla="*/ 881984 w 1250088"/>
                  <a:gd name="connsiteY6" fmla="*/ 968341 h 1250088"/>
                  <a:gd name="connsiteX7" fmla="*/ 968341 w 1250088"/>
                  <a:gd name="connsiteY7" fmla="*/ 881984 h 1250088"/>
                  <a:gd name="connsiteX8" fmla="*/ 711401 w 1250088"/>
                  <a:gd name="connsiteY8" fmla="*/ 625044 h 1250088"/>
                  <a:gd name="connsiteX9" fmla="*/ 968341 w 1250088"/>
                  <a:gd name="connsiteY9" fmla="*/ 368104 h 1250088"/>
                  <a:gd name="connsiteX10" fmla="*/ 881984 w 1250088"/>
                  <a:gd name="connsiteY10" fmla="*/ 281747 h 1250088"/>
                  <a:gd name="connsiteX11" fmla="*/ 625044 w 1250088"/>
                  <a:gd name="connsiteY11" fmla="*/ 538687 h 1250088"/>
                  <a:gd name="connsiteX12" fmla="*/ 625044 w 1250088"/>
                  <a:gd name="connsiteY12" fmla="*/ 0 h 1250088"/>
                  <a:gd name="connsiteX13" fmla="*/ 1250088 w 1250088"/>
                  <a:gd name="connsiteY13" fmla="*/ 625044 h 1250088"/>
                  <a:gd name="connsiteX14" fmla="*/ 625044 w 1250088"/>
                  <a:gd name="connsiteY14" fmla="*/ 1250088 h 1250088"/>
                  <a:gd name="connsiteX15" fmla="*/ 0 w 1250088"/>
                  <a:gd name="connsiteY15" fmla="*/ 625044 h 1250088"/>
                  <a:gd name="connsiteX16" fmla="*/ 625044 w 1250088"/>
                  <a:gd name="connsiteY16" fmla="*/ 0 h 12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88" h="1250088">
                    <a:moveTo>
                      <a:pt x="368104" y="281747"/>
                    </a:moveTo>
                    <a:lnTo>
                      <a:pt x="281747" y="368104"/>
                    </a:lnTo>
                    <a:lnTo>
                      <a:pt x="538687" y="625044"/>
                    </a:lnTo>
                    <a:lnTo>
                      <a:pt x="281747" y="881984"/>
                    </a:lnTo>
                    <a:lnTo>
                      <a:pt x="368104" y="968341"/>
                    </a:lnTo>
                    <a:lnTo>
                      <a:pt x="625044" y="711401"/>
                    </a:lnTo>
                    <a:lnTo>
                      <a:pt x="881984" y="968341"/>
                    </a:lnTo>
                    <a:lnTo>
                      <a:pt x="968341" y="881984"/>
                    </a:lnTo>
                    <a:lnTo>
                      <a:pt x="711401" y="625044"/>
                    </a:lnTo>
                    <a:lnTo>
                      <a:pt x="968341" y="368104"/>
                    </a:lnTo>
                    <a:lnTo>
                      <a:pt x="881984" y="281747"/>
                    </a:lnTo>
                    <a:lnTo>
                      <a:pt x="625044" y="538687"/>
                    </a:lnTo>
                    <a:close/>
                    <a:moveTo>
                      <a:pt x="625044" y="0"/>
                    </a:moveTo>
                    <a:cubicBezTo>
                      <a:pt x="970246" y="0"/>
                      <a:pt x="1250088" y="279842"/>
                      <a:pt x="1250088" y="625044"/>
                    </a:cubicBezTo>
                    <a:cubicBezTo>
                      <a:pt x="1250088" y="970246"/>
                      <a:pt x="970246" y="1250088"/>
                      <a:pt x="625044" y="1250088"/>
                    </a:cubicBezTo>
                    <a:cubicBezTo>
                      <a:pt x="279842" y="1250088"/>
                      <a:pt x="0" y="970246"/>
                      <a:pt x="0" y="625044"/>
                    </a:cubicBezTo>
                    <a:cubicBezTo>
                      <a:pt x="0" y="279842"/>
                      <a:pt x="279842" y="0"/>
                      <a:pt x="6250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1802" tIns="105442" rIns="131802" bIns="105442" numCol="1" spcCol="0" rtlCol="0" fromWordArt="0" anchor="t" anchorCtr="0" forceAA="0" compatLnSpc="1">
                <a:prstTxWarp prst="textNoShape">
                  <a:avLst/>
                </a:prstTxWarp>
                <a:noAutofit/>
              </a:bodyPr>
              <a:lstStyle/>
              <a:p>
                <a:pPr algn="ctr" defTabSz="671942" eaLnBrk="1" hangingPunct="1">
                  <a:lnSpc>
                    <a:spcPct val="90000"/>
                  </a:lnSpc>
                  <a:defRPr/>
                </a:pPr>
                <a:endParaRPr lang="en-US" sz="173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667" name="Rectangle 666">
            <a:extLst>
              <a:ext uri="{FF2B5EF4-FFF2-40B4-BE49-F238E27FC236}">
                <a16:creationId xmlns:a16="http://schemas.microsoft.com/office/drawing/2014/main" id="{4B0A8F7E-C230-4398-983F-655F6B917C4C}"/>
              </a:ext>
            </a:extLst>
          </p:cNvPr>
          <p:cNvSpPr/>
          <p:nvPr/>
        </p:nvSpPr>
        <p:spPr>
          <a:xfrm>
            <a:off x="6409179" y="2117787"/>
            <a:ext cx="609462" cy="371897"/>
          </a:xfrm>
          <a:prstGeom prst="rect">
            <a:avLst/>
          </a:prstGeom>
        </p:spPr>
        <p:txBody>
          <a:bodyPr wrap="none">
            <a:spAutoFit/>
          </a:bodyPr>
          <a:lstStyle/>
          <a:p>
            <a:pPr defTabSz="658793" eaLnBrk="1" fontAlgn="auto" hangingPunct="1">
              <a:lnSpc>
                <a:spcPct val="90000"/>
              </a:lnSpc>
              <a:spcBef>
                <a:spcPts val="0"/>
              </a:spcBef>
              <a:spcAft>
                <a:spcPts val="0"/>
              </a:spcAft>
              <a:defRPr/>
            </a:pPr>
            <a:r>
              <a:rPr lang="en-US" sz="1009" kern="0">
                <a:solidFill>
                  <a:srgbClr val="353535"/>
                </a:solidFill>
                <a:latin typeface="Segoe UI"/>
                <a:ea typeface="ＭＳ Ｐゴシック" charset="0"/>
              </a:rPr>
              <a:t>Limited</a:t>
            </a:r>
          </a:p>
          <a:p>
            <a:pPr defTabSz="658793" eaLnBrk="1" fontAlgn="auto" hangingPunct="1">
              <a:lnSpc>
                <a:spcPct val="90000"/>
              </a:lnSpc>
              <a:spcBef>
                <a:spcPts val="0"/>
              </a:spcBef>
              <a:spcAft>
                <a:spcPts val="0"/>
              </a:spcAft>
              <a:defRPr/>
            </a:pPr>
            <a:r>
              <a:rPr lang="en-US" sz="1009" kern="0">
                <a:solidFill>
                  <a:srgbClr val="353535"/>
                </a:solidFill>
                <a:latin typeface="Segoe UI"/>
                <a:ea typeface="ＭＳ Ｐゴシック" charset="0"/>
              </a:rPr>
              <a:t>access</a:t>
            </a:r>
          </a:p>
        </p:txBody>
      </p:sp>
      <p:grpSp>
        <p:nvGrpSpPr>
          <p:cNvPr id="668" name="Controls: Limit access">
            <a:extLst>
              <a:ext uri="{FF2B5EF4-FFF2-40B4-BE49-F238E27FC236}">
                <a16:creationId xmlns:a16="http://schemas.microsoft.com/office/drawing/2014/main" id="{C24BF8A2-497C-4727-B988-AE284F8E1D32}"/>
              </a:ext>
            </a:extLst>
          </p:cNvPr>
          <p:cNvGrpSpPr/>
          <p:nvPr/>
        </p:nvGrpSpPr>
        <p:grpSpPr>
          <a:xfrm>
            <a:off x="5841975" y="2013488"/>
            <a:ext cx="557203" cy="557203"/>
            <a:chOff x="6184395" y="4693508"/>
            <a:chExt cx="896425" cy="896425"/>
          </a:xfrm>
        </p:grpSpPr>
        <p:grpSp>
          <p:nvGrpSpPr>
            <p:cNvPr id="669" name="Group 668">
              <a:extLst>
                <a:ext uri="{FF2B5EF4-FFF2-40B4-BE49-F238E27FC236}">
                  <a16:creationId xmlns:a16="http://schemas.microsoft.com/office/drawing/2014/main" id="{1DC52636-39C1-46E8-8010-0B9076100D31}"/>
                </a:ext>
              </a:extLst>
            </p:cNvPr>
            <p:cNvGrpSpPr/>
            <p:nvPr/>
          </p:nvGrpSpPr>
          <p:grpSpPr>
            <a:xfrm>
              <a:off x="6184395" y="4693508"/>
              <a:ext cx="896425" cy="896425"/>
              <a:chOff x="8603515" y="2504434"/>
              <a:chExt cx="1600200" cy="1600200"/>
            </a:xfrm>
          </p:grpSpPr>
          <p:sp>
            <p:nvSpPr>
              <p:cNvPr id="674" name="Oval 673">
                <a:extLst>
                  <a:ext uri="{FF2B5EF4-FFF2-40B4-BE49-F238E27FC236}">
                    <a16:creationId xmlns:a16="http://schemas.microsoft.com/office/drawing/2014/main" id="{8550A167-4C05-432C-9011-27D07CB79F6C}"/>
                  </a:ext>
                </a:extLst>
              </p:cNvPr>
              <p:cNvSpPr/>
              <p:nvPr/>
            </p:nvSpPr>
            <p:spPr bwMode="auto">
              <a:xfrm>
                <a:off x="8672095" y="2573014"/>
                <a:ext cx="1463040" cy="1463040"/>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75" name="Circle: Hollow 674">
                <a:extLst>
                  <a:ext uri="{FF2B5EF4-FFF2-40B4-BE49-F238E27FC236}">
                    <a16:creationId xmlns:a16="http://schemas.microsoft.com/office/drawing/2014/main" id="{5BC0B06C-5519-454D-849E-218E7F1DD80E}"/>
                  </a:ext>
                </a:extLst>
              </p:cNvPr>
              <p:cNvSpPr/>
              <p:nvPr/>
            </p:nvSpPr>
            <p:spPr bwMode="auto">
              <a:xfrm>
                <a:off x="8603515" y="2504434"/>
                <a:ext cx="1600200" cy="1600200"/>
              </a:xfrm>
              <a:prstGeom prst="donut">
                <a:avLst>
                  <a:gd name="adj" fmla="val 6045"/>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670" name="Group 669">
              <a:extLst>
                <a:ext uri="{FF2B5EF4-FFF2-40B4-BE49-F238E27FC236}">
                  <a16:creationId xmlns:a16="http://schemas.microsoft.com/office/drawing/2014/main" id="{80FE78C6-2D0C-46CD-83CF-65C629713E6E}"/>
                </a:ext>
              </a:extLst>
            </p:cNvPr>
            <p:cNvGrpSpPr/>
            <p:nvPr/>
          </p:nvGrpSpPr>
          <p:grpSpPr>
            <a:xfrm>
              <a:off x="6421307" y="4884326"/>
              <a:ext cx="448213" cy="472342"/>
              <a:chOff x="4098925" y="2751141"/>
              <a:chExt cx="1798639" cy="1895477"/>
            </a:xfrm>
            <a:solidFill>
              <a:srgbClr val="505050"/>
            </a:solidFill>
          </p:grpSpPr>
          <p:sp>
            <p:nvSpPr>
              <p:cNvPr id="671" name="Freeform 1">
                <a:extLst>
                  <a:ext uri="{FF2B5EF4-FFF2-40B4-BE49-F238E27FC236}">
                    <a16:creationId xmlns:a16="http://schemas.microsoft.com/office/drawing/2014/main" id="{AC94E5CC-A5CA-4CEA-A104-206ACA855A86}"/>
                  </a:ext>
                </a:extLst>
              </p:cNvPr>
              <p:cNvSpPr>
                <a:spLocks noChangeArrowheads="1"/>
              </p:cNvSpPr>
              <p:nvPr/>
            </p:nvSpPr>
            <p:spPr bwMode="auto">
              <a:xfrm>
                <a:off x="4098925" y="2751141"/>
                <a:ext cx="1214439" cy="1603377"/>
              </a:xfrm>
              <a:custGeom>
                <a:avLst/>
                <a:gdLst>
                  <a:gd name="T0" fmla="*/ 3374 w 3375"/>
                  <a:gd name="T1" fmla="*/ 4194 h 4456"/>
                  <a:gd name="T2" fmla="*/ 3374 w 3375"/>
                  <a:gd name="T3" fmla="*/ 3400 h 4456"/>
                  <a:gd name="T4" fmla="*/ 3037 w 3375"/>
                  <a:gd name="T5" fmla="*/ 3400 h 4456"/>
                  <a:gd name="T6" fmla="*/ 3037 w 3375"/>
                  <a:gd name="T7" fmla="*/ 4109 h 4456"/>
                  <a:gd name="T8" fmla="*/ 346 w 3375"/>
                  <a:gd name="T9" fmla="*/ 4109 h 4456"/>
                  <a:gd name="T10" fmla="*/ 346 w 3375"/>
                  <a:gd name="T11" fmla="*/ 2127 h 4456"/>
                  <a:gd name="T12" fmla="*/ 3037 w 3375"/>
                  <a:gd name="T13" fmla="*/ 2127 h 4456"/>
                  <a:gd name="T14" fmla="*/ 3037 w 3375"/>
                  <a:gd name="T15" fmla="*/ 2819 h 4456"/>
                  <a:gd name="T16" fmla="*/ 3374 w 3375"/>
                  <a:gd name="T17" fmla="*/ 2819 h 4456"/>
                  <a:gd name="T18" fmla="*/ 3374 w 3375"/>
                  <a:gd name="T19" fmla="*/ 2043 h 4456"/>
                  <a:gd name="T20" fmla="*/ 3113 w 3375"/>
                  <a:gd name="T21" fmla="*/ 1781 h 4456"/>
                  <a:gd name="T22" fmla="*/ 2851 w 3375"/>
                  <a:gd name="T23" fmla="*/ 1781 h 4456"/>
                  <a:gd name="T24" fmla="*/ 2851 w 3375"/>
                  <a:gd name="T25" fmla="*/ 1131 h 4456"/>
                  <a:gd name="T26" fmla="*/ 2540 w 3375"/>
                  <a:gd name="T27" fmla="*/ 321 h 4456"/>
                  <a:gd name="T28" fmla="*/ 1688 w 3375"/>
                  <a:gd name="T29" fmla="*/ 0 h 4456"/>
                  <a:gd name="T30" fmla="*/ 540 w 3375"/>
                  <a:gd name="T31" fmla="*/ 1157 h 4456"/>
                  <a:gd name="T32" fmla="*/ 540 w 3375"/>
                  <a:gd name="T33" fmla="*/ 1781 h 4456"/>
                  <a:gd name="T34" fmla="*/ 261 w 3375"/>
                  <a:gd name="T35" fmla="*/ 1781 h 4456"/>
                  <a:gd name="T36" fmla="*/ 0 w 3375"/>
                  <a:gd name="T37" fmla="*/ 2043 h 4456"/>
                  <a:gd name="T38" fmla="*/ 0 w 3375"/>
                  <a:gd name="T39" fmla="*/ 4194 h 4456"/>
                  <a:gd name="T40" fmla="*/ 261 w 3375"/>
                  <a:gd name="T41" fmla="*/ 4455 h 4456"/>
                  <a:gd name="T42" fmla="*/ 3113 w 3375"/>
                  <a:gd name="T43" fmla="*/ 4455 h 4456"/>
                  <a:gd name="T44" fmla="*/ 3374 w 3375"/>
                  <a:gd name="T45" fmla="*/ 4194 h 4456"/>
                  <a:gd name="T46" fmla="*/ 877 w 3375"/>
                  <a:gd name="T47" fmla="*/ 1173 h 4456"/>
                  <a:gd name="T48" fmla="*/ 1688 w 3375"/>
                  <a:gd name="T49" fmla="*/ 346 h 4456"/>
                  <a:gd name="T50" fmla="*/ 2295 w 3375"/>
                  <a:gd name="T51" fmla="*/ 566 h 4456"/>
                  <a:gd name="T52" fmla="*/ 2515 w 3375"/>
                  <a:gd name="T53" fmla="*/ 1131 h 4456"/>
                  <a:gd name="T54" fmla="*/ 2515 w 3375"/>
                  <a:gd name="T55" fmla="*/ 1790 h 4456"/>
                  <a:gd name="T56" fmla="*/ 877 w 3375"/>
                  <a:gd name="T57" fmla="*/ 1790 h 4456"/>
                  <a:gd name="T58" fmla="*/ 877 w 3375"/>
                  <a:gd name="T59" fmla="*/ 1173 h 4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75" h="4456">
                    <a:moveTo>
                      <a:pt x="3374" y="4194"/>
                    </a:moveTo>
                    <a:lnTo>
                      <a:pt x="3374" y="3400"/>
                    </a:lnTo>
                    <a:lnTo>
                      <a:pt x="3037" y="3400"/>
                    </a:lnTo>
                    <a:lnTo>
                      <a:pt x="3037" y="4109"/>
                    </a:lnTo>
                    <a:lnTo>
                      <a:pt x="346" y="4109"/>
                    </a:lnTo>
                    <a:lnTo>
                      <a:pt x="346" y="2127"/>
                    </a:lnTo>
                    <a:lnTo>
                      <a:pt x="3037" y="2127"/>
                    </a:lnTo>
                    <a:lnTo>
                      <a:pt x="3037" y="2819"/>
                    </a:lnTo>
                    <a:lnTo>
                      <a:pt x="3374" y="2819"/>
                    </a:lnTo>
                    <a:lnTo>
                      <a:pt x="3374" y="2043"/>
                    </a:lnTo>
                    <a:cubicBezTo>
                      <a:pt x="3374" y="1899"/>
                      <a:pt x="3256" y="1781"/>
                      <a:pt x="3113" y="1781"/>
                    </a:cubicBezTo>
                    <a:lnTo>
                      <a:pt x="2851" y="1781"/>
                    </a:lnTo>
                    <a:cubicBezTo>
                      <a:pt x="2851" y="1587"/>
                      <a:pt x="2851" y="1283"/>
                      <a:pt x="2851" y="1131"/>
                    </a:cubicBezTo>
                    <a:cubicBezTo>
                      <a:pt x="2860" y="912"/>
                      <a:pt x="2775" y="574"/>
                      <a:pt x="2540" y="321"/>
                    </a:cubicBezTo>
                    <a:cubicBezTo>
                      <a:pt x="2329" y="110"/>
                      <a:pt x="2050" y="0"/>
                      <a:pt x="1688" y="0"/>
                    </a:cubicBezTo>
                    <a:cubicBezTo>
                      <a:pt x="818" y="0"/>
                      <a:pt x="557" y="752"/>
                      <a:pt x="540" y="1157"/>
                    </a:cubicBezTo>
                    <a:lnTo>
                      <a:pt x="540" y="1781"/>
                    </a:lnTo>
                    <a:lnTo>
                      <a:pt x="261" y="1781"/>
                    </a:lnTo>
                    <a:cubicBezTo>
                      <a:pt x="118" y="1781"/>
                      <a:pt x="0" y="1899"/>
                      <a:pt x="0" y="2043"/>
                    </a:cubicBezTo>
                    <a:lnTo>
                      <a:pt x="0" y="4194"/>
                    </a:lnTo>
                    <a:cubicBezTo>
                      <a:pt x="0" y="4337"/>
                      <a:pt x="118" y="4455"/>
                      <a:pt x="261" y="4455"/>
                    </a:cubicBezTo>
                    <a:lnTo>
                      <a:pt x="3113" y="4455"/>
                    </a:lnTo>
                    <a:cubicBezTo>
                      <a:pt x="3256" y="4455"/>
                      <a:pt x="3374" y="4337"/>
                      <a:pt x="3374" y="4194"/>
                    </a:cubicBezTo>
                    <a:close/>
                    <a:moveTo>
                      <a:pt x="877" y="1173"/>
                    </a:moveTo>
                    <a:cubicBezTo>
                      <a:pt x="877" y="1140"/>
                      <a:pt x="920" y="346"/>
                      <a:pt x="1688" y="346"/>
                    </a:cubicBezTo>
                    <a:cubicBezTo>
                      <a:pt x="1949" y="346"/>
                      <a:pt x="2152" y="422"/>
                      <a:pt x="2295" y="566"/>
                    </a:cubicBezTo>
                    <a:cubicBezTo>
                      <a:pt x="2472" y="752"/>
                      <a:pt x="2515" y="1005"/>
                      <a:pt x="2515" y="1131"/>
                    </a:cubicBezTo>
                    <a:cubicBezTo>
                      <a:pt x="2515" y="1292"/>
                      <a:pt x="2515" y="1595"/>
                      <a:pt x="2515" y="1790"/>
                    </a:cubicBezTo>
                    <a:lnTo>
                      <a:pt x="877" y="1790"/>
                    </a:lnTo>
                    <a:lnTo>
                      <a:pt x="877" y="1173"/>
                    </a:lnTo>
                    <a:close/>
                  </a:path>
                </a:pathLst>
              </a:custGeom>
              <a:solidFill>
                <a:srgbClr val="FFFFFF"/>
              </a:solidFill>
              <a:ln w="9525" cap="flat">
                <a:solidFill>
                  <a:srgbClr val="0078D7"/>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658793" eaLnBrk="1" fontAlgn="auto" hangingPunct="1">
                  <a:spcBef>
                    <a:spcPts val="0"/>
                  </a:spcBef>
                  <a:spcAft>
                    <a:spcPts val="0"/>
                  </a:spcAft>
                  <a:defRPr/>
                </a:pPr>
                <a:endParaRPr lang="en-US" sz="1297" kern="0">
                  <a:solidFill>
                    <a:sysClr val="windowText" lastClr="000000"/>
                  </a:solidFill>
                  <a:latin typeface="Segoe UI"/>
                </a:endParaRPr>
              </a:p>
            </p:txBody>
          </p:sp>
          <p:sp>
            <p:nvSpPr>
              <p:cNvPr id="672" name="Freeform 2">
                <a:extLst>
                  <a:ext uri="{FF2B5EF4-FFF2-40B4-BE49-F238E27FC236}">
                    <a16:creationId xmlns:a16="http://schemas.microsoft.com/office/drawing/2014/main" id="{C90E10C6-D666-41D9-BAD4-C20B9ED5041E}"/>
                  </a:ext>
                </a:extLst>
              </p:cNvPr>
              <p:cNvSpPr>
                <a:spLocks noChangeArrowheads="1"/>
              </p:cNvSpPr>
              <p:nvPr/>
            </p:nvSpPr>
            <p:spPr bwMode="auto">
              <a:xfrm>
                <a:off x="4710112" y="3143252"/>
                <a:ext cx="1187452" cy="1503366"/>
              </a:xfrm>
              <a:custGeom>
                <a:avLst/>
                <a:gdLst>
                  <a:gd name="T0" fmla="*/ 3113 w 3300"/>
                  <a:gd name="T1" fmla="*/ 0 h 4177"/>
                  <a:gd name="T2" fmla="*/ 1316 w 3300"/>
                  <a:gd name="T3" fmla="*/ 0 h 4177"/>
                  <a:gd name="T4" fmla="*/ 1316 w 3300"/>
                  <a:gd name="T5" fmla="*/ 211 h 4177"/>
                  <a:gd name="T6" fmla="*/ 3079 w 3300"/>
                  <a:gd name="T7" fmla="*/ 211 h 4177"/>
                  <a:gd name="T8" fmla="*/ 3079 w 3300"/>
                  <a:gd name="T9" fmla="*/ 3965 h 4177"/>
                  <a:gd name="T10" fmla="*/ 211 w 3300"/>
                  <a:gd name="T11" fmla="*/ 3965 h 4177"/>
                  <a:gd name="T12" fmla="*/ 211 w 3300"/>
                  <a:gd name="T13" fmla="*/ 3484 h 4177"/>
                  <a:gd name="T14" fmla="*/ 0 w 3300"/>
                  <a:gd name="T15" fmla="*/ 3484 h 4177"/>
                  <a:gd name="T16" fmla="*/ 0 w 3300"/>
                  <a:gd name="T17" fmla="*/ 3999 h 4177"/>
                  <a:gd name="T18" fmla="*/ 177 w 3300"/>
                  <a:gd name="T19" fmla="*/ 4176 h 4177"/>
                  <a:gd name="T20" fmla="*/ 3113 w 3300"/>
                  <a:gd name="T21" fmla="*/ 4176 h 4177"/>
                  <a:gd name="T22" fmla="*/ 3290 w 3300"/>
                  <a:gd name="T23" fmla="*/ 3999 h 4177"/>
                  <a:gd name="T24" fmla="*/ 3290 w 3300"/>
                  <a:gd name="T25" fmla="*/ 186 h 4177"/>
                  <a:gd name="T26" fmla="*/ 3113 w 3300"/>
                  <a:gd name="T27" fmla="*/ 0 h 4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00" h="4177">
                    <a:moveTo>
                      <a:pt x="3113" y="0"/>
                    </a:moveTo>
                    <a:lnTo>
                      <a:pt x="1316" y="0"/>
                    </a:lnTo>
                    <a:lnTo>
                      <a:pt x="1316" y="211"/>
                    </a:lnTo>
                    <a:lnTo>
                      <a:pt x="3079" y="211"/>
                    </a:lnTo>
                    <a:lnTo>
                      <a:pt x="3079" y="3965"/>
                    </a:lnTo>
                    <a:lnTo>
                      <a:pt x="211" y="3965"/>
                    </a:lnTo>
                    <a:lnTo>
                      <a:pt x="211" y="3484"/>
                    </a:lnTo>
                    <a:lnTo>
                      <a:pt x="0" y="3484"/>
                    </a:lnTo>
                    <a:lnTo>
                      <a:pt x="0" y="3999"/>
                    </a:lnTo>
                    <a:cubicBezTo>
                      <a:pt x="0" y="4101"/>
                      <a:pt x="84" y="4176"/>
                      <a:pt x="177" y="4176"/>
                    </a:cubicBezTo>
                    <a:lnTo>
                      <a:pt x="3113" y="4176"/>
                    </a:lnTo>
                    <a:cubicBezTo>
                      <a:pt x="3214" y="4176"/>
                      <a:pt x="3290" y="4092"/>
                      <a:pt x="3290" y="3999"/>
                    </a:cubicBezTo>
                    <a:lnTo>
                      <a:pt x="3290" y="186"/>
                    </a:lnTo>
                    <a:cubicBezTo>
                      <a:pt x="3299" y="84"/>
                      <a:pt x="3214" y="0"/>
                      <a:pt x="3113"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658793" eaLnBrk="1" fontAlgn="auto" hangingPunct="1">
                  <a:spcBef>
                    <a:spcPts val="0"/>
                  </a:spcBef>
                  <a:spcAft>
                    <a:spcPts val="0"/>
                  </a:spcAft>
                  <a:defRPr/>
                </a:pPr>
                <a:endParaRPr lang="en-US" sz="1297" kern="0">
                  <a:solidFill>
                    <a:sysClr val="windowText" lastClr="000000"/>
                  </a:solidFill>
                  <a:latin typeface="Segoe UI"/>
                </a:endParaRPr>
              </a:p>
            </p:txBody>
          </p:sp>
          <p:sp>
            <p:nvSpPr>
              <p:cNvPr id="673" name="Freeform 3">
                <a:extLst>
                  <a:ext uri="{FF2B5EF4-FFF2-40B4-BE49-F238E27FC236}">
                    <a16:creationId xmlns:a16="http://schemas.microsoft.com/office/drawing/2014/main" id="{B7C34250-28CC-4B4D-88B2-847F795267E5}"/>
                  </a:ext>
                </a:extLst>
              </p:cNvPr>
              <p:cNvSpPr>
                <a:spLocks noChangeArrowheads="1"/>
              </p:cNvSpPr>
              <p:nvPr/>
            </p:nvSpPr>
            <p:spPr bwMode="auto">
              <a:xfrm>
                <a:off x="4597402" y="3698874"/>
                <a:ext cx="1017588" cy="368302"/>
              </a:xfrm>
              <a:custGeom>
                <a:avLst/>
                <a:gdLst>
                  <a:gd name="T0" fmla="*/ 2826 w 2827"/>
                  <a:gd name="T1" fmla="*/ 489 h 1022"/>
                  <a:gd name="T2" fmla="*/ 2218 w 2827"/>
                  <a:gd name="T3" fmla="*/ 0 h 1022"/>
                  <a:gd name="T4" fmla="*/ 2218 w 2827"/>
                  <a:gd name="T5" fmla="*/ 320 h 1022"/>
                  <a:gd name="T6" fmla="*/ 793 w 2827"/>
                  <a:gd name="T7" fmla="*/ 320 h 1022"/>
                  <a:gd name="T8" fmla="*/ 413 w 2827"/>
                  <a:gd name="T9" fmla="*/ 76 h 1022"/>
                  <a:gd name="T10" fmla="*/ 0 w 2827"/>
                  <a:gd name="T11" fmla="*/ 489 h 1022"/>
                  <a:gd name="T12" fmla="*/ 413 w 2827"/>
                  <a:gd name="T13" fmla="*/ 902 h 1022"/>
                  <a:gd name="T14" fmla="*/ 793 w 2827"/>
                  <a:gd name="T15" fmla="*/ 658 h 1022"/>
                  <a:gd name="T16" fmla="*/ 2218 w 2827"/>
                  <a:gd name="T17" fmla="*/ 658 h 1022"/>
                  <a:gd name="T18" fmla="*/ 2218 w 2827"/>
                  <a:gd name="T19" fmla="*/ 1021 h 1022"/>
                  <a:gd name="T20" fmla="*/ 2826 w 2827"/>
                  <a:gd name="T21" fmla="*/ 489 h 1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27" h="1022">
                    <a:moveTo>
                      <a:pt x="2826" y="489"/>
                    </a:moveTo>
                    <a:lnTo>
                      <a:pt x="2218" y="0"/>
                    </a:lnTo>
                    <a:lnTo>
                      <a:pt x="2218" y="320"/>
                    </a:lnTo>
                    <a:lnTo>
                      <a:pt x="793" y="320"/>
                    </a:lnTo>
                    <a:cubicBezTo>
                      <a:pt x="726" y="178"/>
                      <a:pt x="582" y="76"/>
                      <a:pt x="413" y="76"/>
                    </a:cubicBezTo>
                    <a:cubicBezTo>
                      <a:pt x="185" y="76"/>
                      <a:pt x="0" y="262"/>
                      <a:pt x="0" y="489"/>
                    </a:cubicBezTo>
                    <a:cubicBezTo>
                      <a:pt x="0" y="717"/>
                      <a:pt x="185" y="902"/>
                      <a:pt x="413" y="902"/>
                    </a:cubicBezTo>
                    <a:cubicBezTo>
                      <a:pt x="582" y="902"/>
                      <a:pt x="726" y="801"/>
                      <a:pt x="793" y="658"/>
                    </a:cubicBezTo>
                    <a:lnTo>
                      <a:pt x="2218" y="658"/>
                    </a:lnTo>
                    <a:lnTo>
                      <a:pt x="2218" y="1021"/>
                    </a:lnTo>
                    <a:lnTo>
                      <a:pt x="2826" y="489"/>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658793" eaLnBrk="1" fontAlgn="auto" hangingPunct="1">
                  <a:spcBef>
                    <a:spcPts val="0"/>
                  </a:spcBef>
                  <a:spcAft>
                    <a:spcPts val="0"/>
                  </a:spcAft>
                  <a:defRPr/>
                </a:pPr>
                <a:endParaRPr lang="en-US" sz="1297" kern="0">
                  <a:solidFill>
                    <a:sysClr val="windowText" lastClr="000000"/>
                  </a:solidFill>
                  <a:latin typeface="Segoe UI"/>
                </a:endParaRPr>
              </a:p>
            </p:txBody>
          </p:sp>
        </p:grpSp>
      </p:grpSp>
      <p:sp>
        <p:nvSpPr>
          <p:cNvPr id="676" name="Rectangle 675">
            <a:extLst>
              <a:ext uri="{FF2B5EF4-FFF2-40B4-BE49-F238E27FC236}">
                <a16:creationId xmlns:a16="http://schemas.microsoft.com/office/drawing/2014/main" id="{B7FE198C-9619-415B-B4DC-F04DCCEB4091}"/>
              </a:ext>
            </a:extLst>
          </p:cNvPr>
          <p:cNvSpPr/>
          <p:nvPr/>
        </p:nvSpPr>
        <p:spPr>
          <a:xfrm>
            <a:off x="5414334" y="793394"/>
            <a:ext cx="956288" cy="331950"/>
          </a:xfrm>
          <a:prstGeom prst="rect">
            <a:avLst/>
          </a:prstGeom>
        </p:spPr>
        <p:txBody>
          <a:bodyPr wrap="none">
            <a:spAutoFit/>
          </a:bodyPr>
          <a:lstStyle/>
          <a:p>
            <a:pPr algn="ctr" defTabSz="658793" eaLnBrk="1" fontAlgn="auto" hangingPunct="1">
              <a:lnSpc>
                <a:spcPct val="90000"/>
              </a:lnSpc>
              <a:spcBef>
                <a:spcPts val="0"/>
              </a:spcBef>
              <a:spcAft>
                <a:spcPts val="0"/>
              </a:spcAft>
              <a:defRPr/>
            </a:pPr>
            <a:r>
              <a:rPr lang="en-US" sz="1730" kern="0" spc="-51">
                <a:solidFill>
                  <a:srgbClr val="353535"/>
                </a:solidFill>
                <a:latin typeface="Segoe UI"/>
                <a:ea typeface="ＭＳ Ｐゴシック" charset="0"/>
                <a:cs typeface="Segoe UI Semibold" panose="020B0702040204020203" pitchFamily="34" charset="0"/>
              </a:rPr>
              <a:t>Controls</a:t>
            </a:r>
          </a:p>
        </p:txBody>
      </p:sp>
      <p:sp>
        <p:nvSpPr>
          <p:cNvPr id="694" name="Rectangle 693">
            <a:extLst>
              <a:ext uri="{FF2B5EF4-FFF2-40B4-BE49-F238E27FC236}">
                <a16:creationId xmlns:a16="http://schemas.microsoft.com/office/drawing/2014/main" id="{1C72ED93-8014-44FD-AB09-4FA9F3801214}"/>
              </a:ext>
            </a:extLst>
          </p:cNvPr>
          <p:cNvSpPr/>
          <p:nvPr/>
        </p:nvSpPr>
        <p:spPr bwMode="auto">
          <a:xfrm>
            <a:off x="1774151" y="2724450"/>
            <a:ext cx="1341215" cy="36692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1697"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95" name="Condition: Location">
            <a:extLst>
              <a:ext uri="{FF2B5EF4-FFF2-40B4-BE49-F238E27FC236}">
                <a16:creationId xmlns:a16="http://schemas.microsoft.com/office/drawing/2014/main" id="{72E3E5C7-95CD-44DB-9469-09B4DEB6F2A5}"/>
              </a:ext>
            </a:extLst>
          </p:cNvPr>
          <p:cNvGrpSpPr/>
          <p:nvPr/>
        </p:nvGrpSpPr>
        <p:grpSpPr>
          <a:xfrm>
            <a:off x="2435093" y="3026390"/>
            <a:ext cx="566594" cy="566595"/>
            <a:chOff x="-1490654" y="4458718"/>
            <a:chExt cx="896425" cy="896425"/>
          </a:xfrm>
        </p:grpSpPr>
        <p:sp>
          <p:nvSpPr>
            <p:cNvPr id="696" name="Oval 695">
              <a:extLst>
                <a:ext uri="{FF2B5EF4-FFF2-40B4-BE49-F238E27FC236}">
                  <a16:creationId xmlns:a16="http://schemas.microsoft.com/office/drawing/2014/main" id="{3978D833-CF95-4B9B-8778-30A9DE4497D2}"/>
                </a:ext>
              </a:extLst>
            </p:cNvPr>
            <p:cNvSpPr/>
            <p:nvPr/>
          </p:nvSpPr>
          <p:spPr bwMode="auto">
            <a:xfrm>
              <a:off x="-1490654" y="4458718"/>
              <a:ext cx="896425" cy="896425"/>
            </a:xfrm>
            <a:prstGeom prst="ellipse">
              <a:avLst/>
            </a:prstGeom>
            <a:solidFill>
              <a:schemeClr val="bg1"/>
            </a:solidFill>
            <a:ln w="9525" cap="flat" cmpd="sng" algn="ctr">
              <a:solidFill>
                <a:schemeClr val="accent1"/>
              </a:solidFill>
              <a:prstDash val="solid"/>
              <a:headEnd type="none"/>
              <a:tailEnd type="none"/>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3892" kern="0">
                <a:gradFill>
                  <a:gsLst>
                    <a:gs pos="0">
                      <a:srgbClr val="FFFFFF"/>
                    </a:gs>
                    <a:gs pos="100000">
                      <a:srgbClr val="FFFFFF"/>
                    </a:gs>
                  </a:gsLst>
                  <a:lin ang="5400000" scaled="0"/>
                </a:gradFill>
                <a:latin typeface="Segoe UI"/>
                <a:cs typeface="Segoe UI" pitchFamily="34" charset="0"/>
              </a:endParaRPr>
            </a:p>
          </p:txBody>
        </p:sp>
        <p:sp>
          <p:nvSpPr>
            <p:cNvPr id="697" name="Freeform 145">
              <a:extLst>
                <a:ext uri="{FF2B5EF4-FFF2-40B4-BE49-F238E27FC236}">
                  <a16:creationId xmlns:a16="http://schemas.microsoft.com/office/drawing/2014/main" id="{BD65BD0E-86C3-4F5F-9BB3-4B2DBA37A2FA}"/>
                </a:ext>
              </a:extLst>
            </p:cNvPr>
            <p:cNvSpPr>
              <a:spLocks noChangeAspect="1" noEditPoints="1"/>
            </p:cNvSpPr>
            <p:nvPr/>
          </p:nvSpPr>
          <p:spPr bwMode="auto">
            <a:xfrm>
              <a:off x="-1244833" y="4678330"/>
              <a:ext cx="404782" cy="457200"/>
            </a:xfrm>
            <a:custGeom>
              <a:avLst/>
              <a:gdLst>
                <a:gd name="T0" fmla="*/ 94 w 114"/>
                <a:gd name="T1" fmla="*/ 20 h 130"/>
                <a:gd name="T2" fmla="*/ 20 w 114"/>
                <a:gd name="T3" fmla="*/ 20 h 130"/>
                <a:gd name="T4" fmla="*/ 20 w 114"/>
                <a:gd name="T5" fmla="*/ 93 h 130"/>
                <a:gd name="T6" fmla="*/ 57 w 114"/>
                <a:gd name="T7" fmla="*/ 130 h 130"/>
                <a:gd name="T8" fmla="*/ 94 w 114"/>
                <a:gd name="T9" fmla="*/ 93 h 130"/>
                <a:gd name="T10" fmla="*/ 94 w 114"/>
                <a:gd name="T11" fmla="*/ 20 h 130"/>
                <a:gd name="T12" fmla="*/ 57 w 114"/>
                <a:gd name="T13" fmla="*/ 119 h 130"/>
                <a:gd name="T14" fmla="*/ 26 w 114"/>
                <a:gd name="T15" fmla="*/ 88 h 130"/>
                <a:gd name="T16" fmla="*/ 26 w 114"/>
                <a:gd name="T17" fmla="*/ 26 h 130"/>
                <a:gd name="T18" fmla="*/ 88 w 114"/>
                <a:gd name="T19" fmla="*/ 26 h 130"/>
                <a:gd name="T20" fmla="*/ 88 w 114"/>
                <a:gd name="T21" fmla="*/ 88 h 130"/>
                <a:gd name="T22" fmla="*/ 57 w 114"/>
                <a:gd name="T23" fmla="*/ 119 h 130"/>
                <a:gd name="T24" fmla="*/ 80 w 114"/>
                <a:gd name="T25" fmla="*/ 34 h 130"/>
                <a:gd name="T26" fmla="*/ 34 w 114"/>
                <a:gd name="T27" fmla="*/ 34 h 130"/>
                <a:gd name="T28" fmla="*/ 34 w 114"/>
                <a:gd name="T29" fmla="*/ 79 h 130"/>
                <a:gd name="T30" fmla="*/ 80 w 114"/>
                <a:gd name="T31" fmla="*/ 79 h 130"/>
                <a:gd name="T32" fmla="*/ 80 w 114"/>
                <a:gd name="T33" fmla="*/ 34 h 130"/>
                <a:gd name="T34" fmla="*/ 40 w 114"/>
                <a:gd name="T35" fmla="*/ 74 h 130"/>
                <a:gd name="T36" fmla="*/ 40 w 114"/>
                <a:gd name="T37" fmla="*/ 40 h 130"/>
                <a:gd name="T38" fmla="*/ 74 w 114"/>
                <a:gd name="T39" fmla="*/ 40 h 130"/>
                <a:gd name="T40" fmla="*/ 74 w 114"/>
                <a:gd name="T41" fmla="*/ 74 h 130"/>
                <a:gd name="T42" fmla="*/ 40 w 114"/>
                <a:gd name="T43" fmla="*/ 7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30">
                  <a:moveTo>
                    <a:pt x="94" y="20"/>
                  </a:moveTo>
                  <a:cubicBezTo>
                    <a:pt x="74" y="0"/>
                    <a:pt x="41" y="0"/>
                    <a:pt x="20" y="20"/>
                  </a:cubicBezTo>
                  <a:cubicBezTo>
                    <a:pt x="0" y="40"/>
                    <a:pt x="0" y="73"/>
                    <a:pt x="20" y="93"/>
                  </a:cubicBezTo>
                  <a:cubicBezTo>
                    <a:pt x="57" y="130"/>
                    <a:pt x="57" y="130"/>
                    <a:pt x="57" y="130"/>
                  </a:cubicBezTo>
                  <a:cubicBezTo>
                    <a:pt x="94" y="93"/>
                    <a:pt x="94" y="93"/>
                    <a:pt x="94" y="93"/>
                  </a:cubicBezTo>
                  <a:cubicBezTo>
                    <a:pt x="114" y="73"/>
                    <a:pt x="114" y="40"/>
                    <a:pt x="94" y="20"/>
                  </a:cubicBezTo>
                  <a:close/>
                  <a:moveTo>
                    <a:pt x="57" y="119"/>
                  </a:moveTo>
                  <a:cubicBezTo>
                    <a:pt x="26" y="88"/>
                    <a:pt x="26" y="88"/>
                    <a:pt x="26" y="88"/>
                  </a:cubicBezTo>
                  <a:cubicBezTo>
                    <a:pt x="9" y="71"/>
                    <a:pt x="9" y="43"/>
                    <a:pt x="26" y="26"/>
                  </a:cubicBezTo>
                  <a:cubicBezTo>
                    <a:pt x="43" y="8"/>
                    <a:pt x="71" y="8"/>
                    <a:pt x="88" y="26"/>
                  </a:cubicBezTo>
                  <a:cubicBezTo>
                    <a:pt x="105" y="43"/>
                    <a:pt x="105" y="71"/>
                    <a:pt x="88" y="88"/>
                  </a:cubicBezTo>
                  <a:lnTo>
                    <a:pt x="57" y="119"/>
                  </a:lnTo>
                  <a:close/>
                  <a:moveTo>
                    <a:pt x="80" y="34"/>
                  </a:moveTo>
                  <a:cubicBezTo>
                    <a:pt x="67" y="22"/>
                    <a:pt x="47" y="22"/>
                    <a:pt x="34" y="34"/>
                  </a:cubicBezTo>
                  <a:cubicBezTo>
                    <a:pt x="22" y="46"/>
                    <a:pt x="22" y="67"/>
                    <a:pt x="34" y="79"/>
                  </a:cubicBezTo>
                  <a:cubicBezTo>
                    <a:pt x="47" y="92"/>
                    <a:pt x="67" y="92"/>
                    <a:pt x="80" y="79"/>
                  </a:cubicBezTo>
                  <a:cubicBezTo>
                    <a:pt x="92" y="67"/>
                    <a:pt x="92" y="46"/>
                    <a:pt x="80" y="34"/>
                  </a:cubicBezTo>
                  <a:close/>
                  <a:moveTo>
                    <a:pt x="40" y="74"/>
                  </a:moveTo>
                  <a:cubicBezTo>
                    <a:pt x="31" y="64"/>
                    <a:pt x="31" y="49"/>
                    <a:pt x="40" y="40"/>
                  </a:cubicBezTo>
                  <a:cubicBezTo>
                    <a:pt x="50" y="30"/>
                    <a:pt x="65" y="30"/>
                    <a:pt x="74" y="40"/>
                  </a:cubicBezTo>
                  <a:cubicBezTo>
                    <a:pt x="83" y="49"/>
                    <a:pt x="83" y="64"/>
                    <a:pt x="74" y="74"/>
                  </a:cubicBezTo>
                  <a:cubicBezTo>
                    <a:pt x="65" y="83"/>
                    <a:pt x="50" y="83"/>
                    <a:pt x="40" y="74"/>
                  </a:cubicBezTo>
                  <a:close/>
                </a:path>
              </a:pathLst>
            </a:custGeom>
            <a:solidFill>
              <a:srgbClr val="0078D7"/>
            </a:solidFill>
            <a:ln w="0">
              <a:solidFill>
                <a:srgbClr val="E6E6E6"/>
              </a:solidFill>
              <a:miter lim="800000"/>
            </a:ln>
          </p:spPr>
          <p:txBody>
            <a:bodyPr vert="horz" wrap="square" lIns="67223" tIns="33611" rIns="67223" bIns="33611" numCol="1" anchor="t" anchorCtr="0" compatLnSpc="1">
              <a:prstTxWarp prst="textNoShape">
                <a:avLst/>
              </a:prstTxWarp>
            </a:bodyPr>
            <a:lstStyle/>
            <a:p>
              <a:pPr defTabSz="672161" eaLnBrk="1" fontAlgn="auto" hangingPunct="1">
                <a:spcBef>
                  <a:spcPts val="0"/>
                </a:spcBef>
                <a:spcAft>
                  <a:spcPts val="0"/>
                </a:spcAft>
                <a:defRPr/>
              </a:pPr>
              <a:endParaRPr lang="en-US" sz="1377" kern="0">
                <a:solidFill>
                  <a:srgbClr val="353535"/>
                </a:solidFill>
                <a:latin typeface="Segoe UI"/>
              </a:endParaRPr>
            </a:p>
          </p:txBody>
        </p:sp>
      </p:grpSp>
      <p:grpSp>
        <p:nvGrpSpPr>
          <p:cNvPr id="698" name="Condition: Apps">
            <a:extLst>
              <a:ext uri="{FF2B5EF4-FFF2-40B4-BE49-F238E27FC236}">
                <a16:creationId xmlns:a16="http://schemas.microsoft.com/office/drawing/2014/main" id="{CA3C3E0A-66EF-4947-BDE6-A8E03C842466}"/>
              </a:ext>
            </a:extLst>
          </p:cNvPr>
          <p:cNvGrpSpPr>
            <a:grpSpLocks noChangeAspect="1"/>
          </p:cNvGrpSpPr>
          <p:nvPr/>
        </p:nvGrpSpPr>
        <p:grpSpPr>
          <a:xfrm>
            <a:off x="2723784" y="3672650"/>
            <a:ext cx="566594" cy="566595"/>
            <a:chOff x="10968827" y="1678521"/>
            <a:chExt cx="758952" cy="758953"/>
          </a:xfrm>
        </p:grpSpPr>
        <p:sp>
          <p:nvSpPr>
            <p:cNvPr id="699" name="Oval 698">
              <a:extLst>
                <a:ext uri="{FF2B5EF4-FFF2-40B4-BE49-F238E27FC236}">
                  <a16:creationId xmlns:a16="http://schemas.microsoft.com/office/drawing/2014/main" id="{E2860B2D-861C-43BE-8850-B9E64AEC7F3B}"/>
                </a:ext>
              </a:extLst>
            </p:cNvPr>
            <p:cNvSpPr/>
            <p:nvPr/>
          </p:nvSpPr>
          <p:spPr bwMode="auto">
            <a:xfrm>
              <a:off x="10968827" y="1678521"/>
              <a:ext cx="758952" cy="758953"/>
            </a:xfrm>
            <a:prstGeom prst="ellipse">
              <a:avLst/>
            </a:prstGeom>
            <a:solidFill>
              <a:schemeClr val="bg1"/>
            </a:solidFill>
            <a:ln w="9525" cap="flat" cmpd="sng" algn="ctr">
              <a:solidFill>
                <a:schemeClr val="accent1"/>
              </a:solidFill>
              <a:prstDash val="solid"/>
              <a:headEnd type="none"/>
              <a:tailEnd type="none"/>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3892" kern="0">
                <a:gradFill>
                  <a:gsLst>
                    <a:gs pos="0">
                      <a:srgbClr val="FFFFFF"/>
                    </a:gs>
                    <a:gs pos="100000">
                      <a:srgbClr val="FFFFFF"/>
                    </a:gs>
                  </a:gsLst>
                  <a:lin ang="5400000" scaled="0"/>
                </a:gradFill>
                <a:latin typeface="Segoe UI"/>
                <a:cs typeface="Segoe UI" pitchFamily="34" charset="0"/>
              </a:endParaRPr>
            </a:p>
          </p:txBody>
        </p:sp>
        <p:grpSp>
          <p:nvGrpSpPr>
            <p:cNvPr id="700" name="Group 699">
              <a:extLst>
                <a:ext uri="{FF2B5EF4-FFF2-40B4-BE49-F238E27FC236}">
                  <a16:creationId xmlns:a16="http://schemas.microsoft.com/office/drawing/2014/main" id="{8D2BCCFD-792F-43F3-ACA8-977D2A414157}"/>
                </a:ext>
              </a:extLst>
            </p:cNvPr>
            <p:cNvGrpSpPr/>
            <p:nvPr/>
          </p:nvGrpSpPr>
          <p:grpSpPr>
            <a:xfrm>
              <a:off x="11150726" y="1863657"/>
              <a:ext cx="405343" cy="399538"/>
              <a:chOff x="9168011" y="5170684"/>
              <a:chExt cx="665163" cy="655637"/>
            </a:xfrm>
          </p:grpSpPr>
          <p:sp>
            <p:nvSpPr>
              <p:cNvPr id="701" name="Freeform 44">
                <a:extLst>
                  <a:ext uri="{FF2B5EF4-FFF2-40B4-BE49-F238E27FC236}">
                    <a16:creationId xmlns:a16="http://schemas.microsoft.com/office/drawing/2014/main" id="{2D1A5594-716B-4DD8-8A58-1D286E42B913}"/>
                  </a:ext>
                </a:extLst>
              </p:cNvPr>
              <p:cNvSpPr>
                <a:spLocks/>
              </p:cNvSpPr>
              <p:nvPr/>
            </p:nvSpPr>
            <p:spPr bwMode="auto">
              <a:xfrm>
                <a:off x="9168012" y="5170684"/>
                <a:ext cx="244474" cy="266700"/>
              </a:xfrm>
              <a:custGeom>
                <a:avLst/>
                <a:gdLst>
                  <a:gd name="T0" fmla="*/ 82 w 82"/>
                  <a:gd name="T1" fmla="*/ 76 h 82"/>
                  <a:gd name="T2" fmla="*/ 76 w 82"/>
                  <a:gd name="T3" fmla="*/ 82 h 82"/>
                  <a:gd name="T4" fmla="*/ 6 w 82"/>
                  <a:gd name="T5" fmla="*/ 82 h 82"/>
                  <a:gd name="T6" fmla="*/ 0 w 82"/>
                  <a:gd name="T7" fmla="*/ 76 h 82"/>
                  <a:gd name="T8" fmla="*/ 0 w 82"/>
                  <a:gd name="T9" fmla="*/ 5 h 82"/>
                  <a:gd name="T10" fmla="*/ 6 w 82"/>
                  <a:gd name="T11" fmla="*/ 0 h 82"/>
                  <a:gd name="T12" fmla="*/ 76 w 82"/>
                  <a:gd name="T13" fmla="*/ 0 h 82"/>
                  <a:gd name="T14" fmla="*/ 82 w 82"/>
                  <a:gd name="T15" fmla="*/ 5 h 82"/>
                  <a:gd name="T16" fmla="*/ 82 w 82"/>
                  <a:gd name="T17" fmla="*/ 7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82">
                    <a:moveTo>
                      <a:pt x="82" y="76"/>
                    </a:moveTo>
                    <a:cubicBezTo>
                      <a:pt x="82" y="79"/>
                      <a:pt x="79" y="82"/>
                      <a:pt x="76" y="82"/>
                    </a:cubicBezTo>
                    <a:cubicBezTo>
                      <a:pt x="6" y="82"/>
                      <a:pt x="6" y="82"/>
                      <a:pt x="6" y="82"/>
                    </a:cubicBezTo>
                    <a:cubicBezTo>
                      <a:pt x="2" y="82"/>
                      <a:pt x="0" y="79"/>
                      <a:pt x="0" y="76"/>
                    </a:cubicBezTo>
                    <a:cubicBezTo>
                      <a:pt x="0" y="5"/>
                      <a:pt x="0" y="5"/>
                      <a:pt x="0" y="5"/>
                    </a:cubicBezTo>
                    <a:cubicBezTo>
                      <a:pt x="0" y="2"/>
                      <a:pt x="2" y="0"/>
                      <a:pt x="6" y="0"/>
                    </a:cubicBezTo>
                    <a:cubicBezTo>
                      <a:pt x="76" y="0"/>
                      <a:pt x="76" y="0"/>
                      <a:pt x="76" y="0"/>
                    </a:cubicBezTo>
                    <a:cubicBezTo>
                      <a:pt x="79" y="0"/>
                      <a:pt x="82" y="2"/>
                      <a:pt x="82" y="5"/>
                    </a:cubicBezTo>
                    <a:lnTo>
                      <a:pt x="82" y="76"/>
                    </a:lnTo>
                    <a:close/>
                  </a:path>
                </a:pathLst>
              </a:custGeom>
              <a:solidFill>
                <a:srgbClr val="0078D7"/>
              </a:solidFill>
              <a:ln w="19050" cap="flat">
                <a:solidFill>
                  <a:srgbClr val="0078D7"/>
                </a:solidFill>
                <a:prstDash val="solid"/>
                <a:miter lim="800000"/>
                <a:headEnd/>
                <a:tailEnd/>
              </a:ln>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ln w="12700">
                    <a:solidFill>
                      <a:srgbClr val="505050"/>
                    </a:solidFill>
                  </a:ln>
                  <a:solidFill>
                    <a:srgbClr val="002050"/>
                  </a:solidFill>
                  <a:latin typeface="Segoe UI"/>
                </a:endParaRPr>
              </a:p>
            </p:txBody>
          </p:sp>
          <p:sp>
            <p:nvSpPr>
              <p:cNvPr id="702" name="Freeform 45">
                <a:extLst>
                  <a:ext uri="{FF2B5EF4-FFF2-40B4-BE49-F238E27FC236}">
                    <a16:creationId xmlns:a16="http://schemas.microsoft.com/office/drawing/2014/main" id="{4EC15234-E4CC-44EA-ACCC-C99379A50657}"/>
                  </a:ext>
                </a:extLst>
              </p:cNvPr>
              <p:cNvSpPr>
                <a:spLocks/>
              </p:cNvSpPr>
              <p:nvPr/>
            </p:nvSpPr>
            <p:spPr bwMode="auto">
              <a:xfrm>
                <a:off x="9168014" y="5481833"/>
                <a:ext cx="244474" cy="133350"/>
              </a:xfrm>
              <a:custGeom>
                <a:avLst/>
                <a:gdLst>
                  <a:gd name="T0" fmla="*/ 82 w 82"/>
                  <a:gd name="T1" fmla="*/ 38 h 41"/>
                  <a:gd name="T2" fmla="*/ 76 w 82"/>
                  <a:gd name="T3" fmla="*/ 41 h 41"/>
                  <a:gd name="T4" fmla="*/ 6 w 82"/>
                  <a:gd name="T5" fmla="*/ 41 h 41"/>
                  <a:gd name="T6" fmla="*/ 0 w 82"/>
                  <a:gd name="T7" fmla="*/ 38 h 41"/>
                  <a:gd name="T8" fmla="*/ 0 w 82"/>
                  <a:gd name="T9" fmla="*/ 3 h 41"/>
                  <a:gd name="T10" fmla="*/ 6 w 82"/>
                  <a:gd name="T11" fmla="*/ 0 h 41"/>
                  <a:gd name="T12" fmla="*/ 76 w 82"/>
                  <a:gd name="T13" fmla="*/ 0 h 41"/>
                  <a:gd name="T14" fmla="*/ 82 w 82"/>
                  <a:gd name="T15" fmla="*/ 3 h 41"/>
                  <a:gd name="T16" fmla="*/ 82 w 82"/>
                  <a:gd name="T17"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1">
                    <a:moveTo>
                      <a:pt x="82" y="38"/>
                    </a:moveTo>
                    <a:cubicBezTo>
                      <a:pt x="82" y="39"/>
                      <a:pt x="79" y="41"/>
                      <a:pt x="76" y="41"/>
                    </a:cubicBezTo>
                    <a:cubicBezTo>
                      <a:pt x="6" y="41"/>
                      <a:pt x="6" y="41"/>
                      <a:pt x="6" y="41"/>
                    </a:cubicBezTo>
                    <a:cubicBezTo>
                      <a:pt x="2" y="41"/>
                      <a:pt x="0" y="39"/>
                      <a:pt x="0" y="38"/>
                    </a:cubicBezTo>
                    <a:cubicBezTo>
                      <a:pt x="0" y="3"/>
                      <a:pt x="0" y="3"/>
                      <a:pt x="0" y="3"/>
                    </a:cubicBezTo>
                    <a:cubicBezTo>
                      <a:pt x="0" y="1"/>
                      <a:pt x="2" y="0"/>
                      <a:pt x="6" y="0"/>
                    </a:cubicBezTo>
                    <a:cubicBezTo>
                      <a:pt x="76" y="0"/>
                      <a:pt x="76" y="0"/>
                      <a:pt x="76" y="0"/>
                    </a:cubicBezTo>
                    <a:cubicBezTo>
                      <a:pt x="79" y="0"/>
                      <a:pt x="82" y="1"/>
                      <a:pt x="82" y="3"/>
                    </a:cubicBezTo>
                    <a:lnTo>
                      <a:pt x="82" y="38"/>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ln w="12700">
                    <a:solidFill>
                      <a:srgbClr val="505050"/>
                    </a:solidFill>
                  </a:ln>
                  <a:solidFill>
                    <a:srgbClr val="002050"/>
                  </a:solidFill>
                  <a:latin typeface="Segoe UI"/>
                </a:endParaRPr>
              </a:p>
            </p:txBody>
          </p:sp>
          <p:sp>
            <p:nvSpPr>
              <p:cNvPr id="703" name="Freeform 46">
                <a:extLst>
                  <a:ext uri="{FF2B5EF4-FFF2-40B4-BE49-F238E27FC236}">
                    <a16:creationId xmlns:a16="http://schemas.microsoft.com/office/drawing/2014/main" id="{098CE9AE-31C7-442B-BBE9-4E3EDE1CEB5A}"/>
                  </a:ext>
                </a:extLst>
              </p:cNvPr>
              <p:cNvSpPr>
                <a:spLocks/>
              </p:cNvSpPr>
              <p:nvPr/>
            </p:nvSpPr>
            <p:spPr bwMode="auto">
              <a:xfrm>
                <a:off x="9456935" y="5170684"/>
                <a:ext cx="376238" cy="444499"/>
              </a:xfrm>
              <a:custGeom>
                <a:avLst/>
                <a:gdLst>
                  <a:gd name="T0" fmla="*/ 126 w 126"/>
                  <a:gd name="T1" fmla="*/ 127 h 137"/>
                  <a:gd name="T2" fmla="*/ 117 w 126"/>
                  <a:gd name="T3" fmla="*/ 137 h 137"/>
                  <a:gd name="T4" fmla="*/ 9 w 126"/>
                  <a:gd name="T5" fmla="*/ 137 h 137"/>
                  <a:gd name="T6" fmla="*/ 0 w 126"/>
                  <a:gd name="T7" fmla="*/ 127 h 137"/>
                  <a:gd name="T8" fmla="*/ 0 w 126"/>
                  <a:gd name="T9" fmla="*/ 9 h 137"/>
                  <a:gd name="T10" fmla="*/ 9 w 126"/>
                  <a:gd name="T11" fmla="*/ 0 h 137"/>
                  <a:gd name="T12" fmla="*/ 117 w 126"/>
                  <a:gd name="T13" fmla="*/ 0 h 137"/>
                  <a:gd name="T14" fmla="*/ 126 w 126"/>
                  <a:gd name="T15" fmla="*/ 9 h 137"/>
                  <a:gd name="T16" fmla="*/ 126 w 126"/>
                  <a:gd name="T17"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7">
                    <a:moveTo>
                      <a:pt x="126" y="127"/>
                    </a:moveTo>
                    <a:cubicBezTo>
                      <a:pt x="126" y="133"/>
                      <a:pt x="122" y="137"/>
                      <a:pt x="117" y="137"/>
                    </a:cubicBezTo>
                    <a:cubicBezTo>
                      <a:pt x="9" y="137"/>
                      <a:pt x="9" y="137"/>
                      <a:pt x="9" y="137"/>
                    </a:cubicBezTo>
                    <a:cubicBezTo>
                      <a:pt x="4" y="137"/>
                      <a:pt x="0" y="133"/>
                      <a:pt x="0" y="127"/>
                    </a:cubicBezTo>
                    <a:cubicBezTo>
                      <a:pt x="0" y="9"/>
                      <a:pt x="0" y="9"/>
                      <a:pt x="0" y="9"/>
                    </a:cubicBezTo>
                    <a:cubicBezTo>
                      <a:pt x="0" y="4"/>
                      <a:pt x="4" y="0"/>
                      <a:pt x="9" y="0"/>
                    </a:cubicBezTo>
                    <a:cubicBezTo>
                      <a:pt x="117" y="0"/>
                      <a:pt x="117" y="0"/>
                      <a:pt x="117" y="0"/>
                    </a:cubicBezTo>
                    <a:cubicBezTo>
                      <a:pt x="122" y="0"/>
                      <a:pt x="126" y="4"/>
                      <a:pt x="126" y="9"/>
                    </a:cubicBezTo>
                    <a:lnTo>
                      <a:pt x="126" y="127"/>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ln w="12700">
                    <a:solidFill>
                      <a:srgbClr val="505050"/>
                    </a:solidFill>
                  </a:ln>
                  <a:solidFill>
                    <a:srgbClr val="002050"/>
                  </a:solidFill>
                  <a:latin typeface="Segoe UI"/>
                </a:endParaRPr>
              </a:p>
            </p:txBody>
          </p:sp>
          <p:sp>
            <p:nvSpPr>
              <p:cNvPr id="704" name="Freeform 47">
                <a:extLst>
                  <a:ext uri="{FF2B5EF4-FFF2-40B4-BE49-F238E27FC236}">
                    <a16:creationId xmlns:a16="http://schemas.microsoft.com/office/drawing/2014/main" id="{FF0C57A2-E797-44F6-96D7-246672C40852}"/>
                  </a:ext>
                </a:extLst>
              </p:cNvPr>
              <p:cNvSpPr>
                <a:spLocks/>
              </p:cNvSpPr>
              <p:nvPr/>
            </p:nvSpPr>
            <p:spPr bwMode="auto">
              <a:xfrm>
                <a:off x="9168011" y="5667570"/>
                <a:ext cx="665163" cy="158751"/>
              </a:xfrm>
              <a:custGeom>
                <a:avLst/>
                <a:gdLst>
                  <a:gd name="T0" fmla="*/ 223 w 223"/>
                  <a:gd name="T1" fmla="*/ 46 h 49"/>
                  <a:gd name="T2" fmla="*/ 208 w 223"/>
                  <a:gd name="T3" fmla="*/ 49 h 49"/>
                  <a:gd name="T4" fmla="*/ 15 w 223"/>
                  <a:gd name="T5" fmla="*/ 49 h 49"/>
                  <a:gd name="T6" fmla="*/ 0 w 223"/>
                  <a:gd name="T7" fmla="*/ 46 h 49"/>
                  <a:gd name="T8" fmla="*/ 0 w 223"/>
                  <a:gd name="T9" fmla="*/ 3 h 49"/>
                  <a:gd name="T10" fmla="*/ 15 w 223"/>
                  <a:gd name="T11" fmla="*/ 0 h 49"/>
                  <a:gd name="T12" fmla="*/ 208 w 223"/>
                  <a:gd name="T13" fmla="*/ 0 h 49"/>
                  <a:gd name="T14" fmla="*/ 223 w 223"/>
                  <a:gd name="T15" fmla="*/ 3 h 49"/>
                  <a:gd name="T16" fmla="*/ 223 w 223"/>
                  <a:gd name="T17"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49">
                    <a:moveTo>
                      <a:pt x="223" y="46"/>
                    </a:moveTo>
                    <a:cubicBezTo>
                      <a:pt x="223" y="48"/>
                      <a:pt x="216" y="49"/>
                      <a:pt x="208" y="49"/>
                    </a:cubicBezTo>
                    <a:cubicBezTo>
                      <a:pt x="15" y="49"/>
                      <a:pt x="15" y="49"/>
                      <a:pt x="15" y="49"/>
                    </a:cubicBezTo>
                    <a:cubicBezTo>
                      <a:pt x="7" y="49"/>
                      <a:pt x="0" y="48"/>
                      <a:pt x="0" y="46"/>
                    </a:cubicBezTo>
                    <a:cubicBezTo>
                      <a:pt x="0" y="3"/>
                      <a:pt x="0" y="3"/>
                      <a:pt x="0" y="3"/>
                    </a:cubicBezTo>
                    <a:cubicBezTo>
                      <a:pt x="0" y="1"/>
                      <a:pt x="7" y="0"/>
                      <a:pt x="15" y="0"/>
                    </a:cubicBezTo>
                    <a:cubicBezTo>
                      <a:pt x="208" y="0"/>
                      <a:pt x="208" y="0"/>
                      <a:pt x="208" y="0"/>
                    </a:cubicBezTo>
                    <a:cubicBezTo>
                      <a:pt x="216" y="0"/>
                      <a:pt x="223" y="1"/>
                      <a:pt x="223" y="3"/>
                    </a:cubicBezTo>
                    <a:lnTo>
                      <a:pt x="223" y="46"/>
                    </a:lnTo>
                    <a:close/>
                  </a:path>
                </a:pathLst>
              </a:custGeom>
              <a:noFill/>
              <a:ln w="19050" cap="flat">
                <a:solidFill>
                  <a:srgbClr val="0078D7"/>
                </a:solidFill>
                <a:prstDash val="solid"/>
                <a:miter lim="800000"/>
                <a:headEnd/>
                <a:tailEnd/>
              </a:ln>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ln w="12700">
                    <a:solidFill>
                      <a:srgbClr val="505050"/>
                    </a:solidFill>
                  </a:ln>
                  <a:solidFill>
                    <a:srgbClr val="002050"/>
                  </a:solidFill>
                  <a:latin typeface="Segoe UI"/>
                </a:endParaRPr>
              </a:p>
            </p:txBody>
          </p:sp>
        </p:grpSp>
      </p:grpSp>
      <p:grpSp>
        <p:nvGrpSpPr>
          <p:cNvPr id="705" name="Condition: Devices">
            <a:extLst>
              <a:ext uri="{FF2B5EF4-FFF2-40B4-BE49-F238E27FC236}">
                <a16:creationId xmlns:a16="http://schemas.microsoft.com/office/drawing/2014/main" id="{60CD49F3-6937-438B-B911-6900C4A30AEB}"/>
              </a:ext>
            </a:extLst>
          </p:cNvPr>
          <p:cNvGrpSpPr>
            <a:grpSpLocks noChangeAspect="1"/>
          </p:cNvGrpSpPr>
          <p:nvPr/>
        </p:nvGrpSpPr>
        <p:grpSpPr>
          <a:xfrm>
            <a:off x="2435093" y="2204005"/>
            <a:ext cx="566594" cy="566595"/>
            <a:chOff x="8997947" y="1475843"/>
            <a:chExt cx="1187753" cy="1187753"/>
          </a:xfrm>
        </p:grpSpPr>
        <p:sp>
          <p:nvSpPr>
            <p:cNvPr id="706" name="Oval 705">
              <a:extLst>
                <a:ext uri="{FF2B5EF4-FFF2-40B4-BE49-F238E27FC236}">
                  <a16:creationId xmlns:a16="http://schemas.microsoft.com/office/drawing/2014/main" id="{12D0AF33-9033-47DC-A2EC-C615902DB7EE}"/>
                </a:ext>
              </a:extLst>
            </p:cNvPr>
            <p:cNvSpPr/>
            <p:nvPr/>
          </p:nvSpPr>
          <p:spPr bwMode="auto">
            <a:xfrm>
              <a:off x="8997947" y="1475843"/>
              <a:ext cx="1187753" cy="1187753"/>
            </a:xfrm>
            <a:prstGeom prst="ellipse">
              <a:avLst/>
            </a:prstGeom>
            <a:solidFill>
              <a:schemeClr val="bg1"/>
            </a:solidFill>
            <a:ln w="9525" cap="flat" cmpd="sng" algn="ctr">
              <a:solidFill>
                <a:schemeClr val="accent1"/>
              </a:solidFill>
              <a:prstDash val="solid"/>
              <a:headEnd type="none"/>
              <a:tailEnd type="none"/>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3892" kern="0">
                <a:gradFill>
                  <a:gsLst>
                    <a:gs pos="0">
                      <a:srgbClr val="FFFFFF"/>
                    </a:gs>
                    <a:gs pos="100000">
                      <a:srgbClr val="FFFFFF"/>
                    </a:gs>
                  </a:gsLst>
                  <a:lin ang="5400000" scaled="0"/>
                </a:gradFill>
                <a:latin typeface="Segoe UI"/>
                <a:cs typeface="Segoe UI" pitchFamily="34" charset="0"/>
              </a:endParaRPr>
            </a:p>
          </p:txBody>
        </p:sp>
        <p:grpSp>
          <p:nvGrpSpPr>
            <p:cNvPr id="707" name="Group 706">
              <a:extLst>
                <a:ext uri="{FF2B5EF4-FFF2-40B4-BE49-F238E27FC236}">
                  <a16:creationId xmlns:a16="http://schemas.microsoft.com/office/drawing/2014/main" id="{78C2145A-245D-4FE2-A4DC-0CF37644D61B}"/>
                </a:ext>
              </a:extLst>
            </p:cNvPr>
            <p:cNvGrpSpPr/>
            <p:nvPr/>
          </p:nvGrpSpPr>
          <p:grpSpPr>
            <a:xfrm>
              <a:off x="9290152" y="1848014"/>
              <a:ext cx="576390" cy="488371"/>
              <a:chOff x="4947743" y="5339803"/>
              <a:chExt cx="825499" cy="706436"/>
            </a:xfrm>
          </p:grpSpPr>
          <p:sp>
            <p:nvSpPr>
              <p:cNvPr id="708" name="Freeform 5">
                <a:extLst>
                  <a:ext uri="{FF2B5EF4-FFF2-40B4-BE49-F238E27FC236}">
                    <a16:creationId xmlns:a16="http://schemas.microsoft.com/office/drawing/2014/main" id="{283C78A6-7175-4FE6-A801-15D8C331DF0A}"/>
                  </a:ext>
                </a:extLst>
              </p:cNvPr>
              <p:cNvSpPr>
                <a:spLocks/>
              </p:cNvSpPr>
              <p:nvPr/>
            </p:nvSpPr>
            <p:spPr bwMode="auto">
              <a:xfrm>
                <a:off x="5217618" y="5870026"/>
                <a:ext cx="211136" cy="106364"/>
              </a:xfrm>
              <a:custGeom>
                <a:avLst/>
                <a:gdLst>
                  <a:gd name="T0" fmla="*/ 42 w 48"/>
                  <a:gd name="T1" fmla="*/ 0 h 24"/>
                  <a:gd name="T2" fmla="*/ 42 w 48"/>
                  <a:gd name="T3" fmla="*/ 11 h 24"/>
                  <a:gd name="T4" fmla="*/ 48 w 48"/>
                  <a:gd name="T5" fmla="*/ 22 h 24"/>
                  <a:gd name="T6" fmla="*/ 45 w 48"/>
                  <a:gd name="T7" fmla="*/ 23 h 24"/>
                  <a:gd name="T8" fmla="*/ 3 w 48"/>
                  <a:gd name="T9" fmla="*/ 23 h 24"/>
                  <a:gd name="T10" fmla="*/ 0 w 48"/>
                  <a:gd name="T11" fmla="*/ 22 h 24"/>
                  <a:gd name="T12" fmla="*/ 6 w 48"/>
                  <a:gd name="T13" fmla="*/ 11 h 24"/>
                  <a:gd name="T14" fmla="*/ 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2" y="0"/>
                    </a:moveTo>
                    <a:cubicBezTo>
                      <a:pt x="42" y="11"/>
                      <a:pt x="42" y="11"/>
                      <a:pt x="42" y="11"/>
                    </a:cubicBezTo>
                    <a:cubicBezTo>
                      <a:pt x="48" y="22"/>
                      <a:pt x="48" y="22"/>
                      <a:pt x="48" y="22"/>
                    </a:cubicBezTo>
                    <a:cubicBezTo>
                      <a:pt x="48" y="24"/>
                      <a:pt x="47" y="23"/>
                      <a:pt x="45" y="23"/>
                    </a:cubicBezTo>
                    <a:cubicBezTo>
                      <a:pt x="3" y="23"/>
                      <a:pt x="3" y="23"/>
                      <a:pt x="3" y="23"/>
                    </a:cubicBezTo>
                    <a:cubicBezTo>
                      <a:pt x="1" y="23"/>
                      <a:pt x="0" y="24"/>
                      <a:pt x="0" y="22"/>
                    </a:cubicBezTo>
                    <a:cubicBezTo>
                      <a:pt x="6" y="11"/>
                      <a:pt x="6" y="11"/>
                      <a:pt x="6" y="11"/>
                    </a:cubicBezTo>
                    <a:cubicBezTo>
                      <a:pt x="6" y="0"/>
                      <a:pt x="6" y="0"/>
                      <a:pt x="6" y="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solidFill>
                    <a:srgbClr val="505050"/>
                  </a:solidFill>
                  <a:latin typeface="Segoe UI"/>
                </a:endParaRPr>
              </a:p>
            </p:txBody>
          </p:sp>
          <p:sp>
            <p:nvSpPr>
              <p:cNvPr id="709" name="Freeform 6">
                <a:extLst>
                  <a:ext uri="{FF2B5EF4-FFF2-40B4-BE49-F238E27FC236}">
                    <a16:creationId xmlns:a16="http://schemas.microsoft.com/office/drawing/2014/main" id="{EE2625BE-8812-44E8-A369-D33F6B16528F}"/>
                  </a:ext>
                </a:extLst>
              </p:cNvPr>
              <p:cNvSpPr>
                <a:spLocks/>
              </p:cNvSpPr>
              <p:nvPr/>
            </p:nvSpPr>
            <p:spPr bwMode="auto">
              <a:xfrm>
                <a:off x="4947743" y="5339803"/>
                <a:ext cx="742950" cy="531812"/>
              </a:xfrm>
              <a:custGeom>
                <a:avLst/>
                <a:gdLst>
                  <a:gd name="T0" fmla="*/ 118 w 168"/>
                  <a:gd name="T1" fmla="*/ 120 h 120"/>
                  <a:gd name="T2" fmla="*/ 10 w 168"/>
                  <a:gd name="T3" fmla="*/ 120 h 120"/>
                  <a:gd name="T4" fmla="*/ 0 w 168"/>
                  <a:gd name="T5" fmla="*/ 110 h 120"/>
                  <a:gd name="T6" fmla="*/ 0 w 168"/>
                  <a:gd name="T7" fmla="*/ 10 h 120"/>
                  <a:gd name="T8" fmla="*/ 10 w 168"/>
                  <a:gd name="T9" fmla="*/ 0 h 120"/>
                  <a:gd name="T10" fmla="*/ 158 w 168"/>
                  <a:gd name="T11" fmla="*/ 0 h 120"/>
                  <a:gd name="T12" fmla="*/ 168 w 168"/>
                  <a:gd name="T13" fmla="*/ 10 h 120"/>
                  <a:gd name="T14" fmla="*/ 168 w 168"/>
                  <a:gd name="T15" fmla="*/ 29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20">
                    <a:moveTo>
                      <a:pt x="118" y="120"/>
                    </a:moveTo>
                    <a:cubicBezTo>
                      <a:pt x="10" y="120"/>
                      <a:pt x="10" y="120"/>
                      <a:pt x="10" y="120"/>
                    </a:cubicBezTo>
                    <a:cubicBezTo>
                      <a:pt x="4" y="120"/>
                      <a:pt x="0" y="115"/>
                      <a:pt x="0" y="110"/>
                    </a:cubicBezTo>
                    <a:cubicBezTo>
                      <a:pt x="0" y="10"/>
                      <a:pt x="0" y="10"/>
                      <a:pt x="0" y="10"/>
                    </a:cubicBezTo>
                    <a:cubicBezTo>
                      <a:pt x="0" y="4"/>
                      <a:pt x="4" y="0"/>
                      <a:pt x="10" y="0"/>
                    </a:cubicBezTo>
                    <a:cubicBezTo>
                      <a:pt x="158" y="0"/>
                      <a:pt x="158" y="0"/>
                      <a:pt x="158" y="0"/>
                    </a:cubicBezTo>
                    <a:cubicBezTo>
                      <a:pt x="164" y="0"/>
                      <a:pt x="168" y="4"/>
                      <a:pt x="168" y="10"/>
                    </a:cubicBezTo>
                    <a:cubicBezTo>
                      <a:pt x="168" y="29"/>
                      <a:pt x="168" y="29"/>
                      <a:pt x="168" y="29"/>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solidFill>
                    <a:srgbClr val="505050"/>
                  </a:solidFill>
                  <a:latin typeface="Segoe UI"/>
                </a:endParaRPr>
              </a:p>
            </p:txBody>
          </p:sp>
          <p:sp>
            <p:nvSpPr>
              <p:cNvPr id="710" name="Freeform 7">
                <a:extLst>
                  <a:ext uri="{FF2B5EF4-FFF2-40B4-BE49-F238E27FC236}">
                    <a16:creationId xmlns:a16="http://schemas.microsoft.com/office/drawing/2014/main" id="{393E16E2-EF94-429F-9183-30D8A370D507}"/>
                  </a:ext>
                </a:extLst>
              </p:cNvPr>
              <p:cNvSpPr>
                <a:spLocks/>
              </p:cNvSpPr>
              <p:nvPr/>
            </p:nvSpPr>
            <p:spPr bwMode="auto">
              <a:xfrm>
                <a:off x="4957269" y="5776364"/>
                <a:ext cx="511173" cy="0"/>
              </a:xfrm>
              <a:custGeom>
                <a:avLst/>
                <a:gdLst>
                  <a:gd name="T0" fmla="*/ 0 w 321"/>
                  <a:gd name="T1" fmla="*/ 179 w 321"/>
                  <a:gd name="T2" fmla="*/ 321 w 321"/>
                </a:gdLst>
                <a:ahLst/>
                <a:cxnLst>
                  <a:cxn ang="0">
                    <a:pos x="T0" y="0"/>
                  </a:cxn>
                  <a:cxn ang="0">
                    <a:pos x="T1" y="0"/>
                  </a:cxn>
                  <a:cxn ang="0">
                    <a:pos x="T2" y="0"/>
                  </a:cxn>
                </a:cxnLst>
                <a:rect l="0" t="0" r="r" b="b"/>
                <a:pathLst>
                  <a:path w="321">
                    <a:moveTo>
                      <a:pt x="0" y="0"/>
                    </a:moveTo>
                    <a:lnTo>
                      <a:pt x="179" y="0"/>
                    </a:lnTo>
                    <a:lnTo>
                      <a:pt x="321" y="0"/>
                    </a:ln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solidFill>
                    <a:srgbClr val="505050"/>
                  </a:solidFill>
                  <a:latin typeface="Segoe UI"/>
                </a:endParaRPr>
              </a:p>
            </p:txBody>
          </p:sp>
          <p:sp>
            <p:nvSpPr>
              <p:cNvPr id="711" name="Freeform 8">
                <a:extLst>
                  <a:ext uri="{FF2B5EF4-FFF2-40B4-BE49-F238E27FC236}">
                    <a16:creationId xmlns:a16="http://schemas.microsoft.com/office/drawing/2014/main" id="{3E68E268-5B04-4122-895B-A703D2E56ECE}"/>
                  </a:ext>
                </a:extLst>
              </p:cNvPr>
              <p:cNvSpPr>
                <a:spLocks/>
              </p:cNvSpPr>
              <p:nvPr/>
            </p:nvSpPr>
            <p:spPr bwMode="auto">
              <a:xfrm>
                <a:off x="5468442" y="5466803"/>
                <a:ext cx="304800" cy="579436"/>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solidFill>
                    <a:srgbClr val="505050"/>
                  </a:solidFill>
                  <a:latin typeface="Segoe UI"/>
                </a:endParaRPr>
              </a:p>
            </p:txBody>
          </p:sp>
          <p:sp>
            <p:nvSpPr>
              <p:cNvPr id="712" name="Line 9">
                <a:extLst>
                  <a:ext uri="{FF2B5EF4-FFF2-40B4-BE49-F238E27FC236}">
                    <a16:creationId xmlns:a16="http://schemas.microsoft.com/office/drawing/2014/main" id="{B57C8CC7-1013-4C75-B692-C5C4E1C8CDA0}"/>
                  </a:ext>
                </a:extLst>
              </p:cNvPr>
              <p:cNvSpPr>
                <a:spLocks noChangeShapeType="1"/>
              </p:cNvSpPr>
              <p:nvPr/>
            </p:nvSpPr>
            <p:spPr bwMode="auto">
              <a:xfrm flipH="1" flipV="1">
                <a:off x="5468442" y="5963690"/>
                <a:ext cx="304800" cy="0"/>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solidFill>
                    <a:srgbClr val="505050"/>
                  </a:solidFill>
                  <a:latin typeface="Segoe UI"/>
                </a:endParaRPr>
              </a:p>
            </p:txBody>
          </p:sp>
          <p:sp>
            <p:nvSpPr>
              <p:cNvPr id="713" name="Line 10">
                <a:extLst>
                  <a:ext uri="{FF2B5EF4-FFF2-40B4-BE49-F238E27FC236}">
                    <a16:creationId xmlns:a16="http://schemas.microsoft.com/office/drawing/2014/main" id="{598F1822-8F14-44A7-8740-827B40E0E736}"/>
                  </a:ext>
                </a:extLst>
              </p:cNvPr>
              <p:cNvSpPr>
                <a:spLocks noChangeShapeType="1"/>
              </p:cNvSpPr>
              <p:nvPr/>
            </p:nvSpPr>
            <p:spPr bwMode="auto">
              <a:xfrm>
                <a:off x="5468442" y="5543002"/>
                <a:ext cx="304800" cy="4763"/>
              </a:xfrm>
              <a:prstGeom prst="line">
                <a:avLst/>
              </a:prstGeom>
              <a:noFill/>
              <a:ln w="19050" cap="flat">
                <a:solidFill>
                  <a:srgbClr val="0078D7"/>
                </a:solidFill>
                <a:prstDash val="solid"/>
                <a:miter lim="800000"/>
                <a:headEnd/>
                <a:tailEnd/>
              </a:ln>
              <a:extLst>
                <a:ext uri="{909E8E84-426E-40DD-AFC4-6F175D3DCCD1}">
                  <a14:hiddenFill xmlns:a14="http://schemas.microsoft.com/office/drawing/2010/main">
                    <a:noFill/>
                  </a14:hiddenFill>
                </a:ext>
              </a:extLst>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solidFill>
                    <a:srgbClr val="505050"/>
                  </a:solidFill>
                  <a:latin typeface="Segoe UI"/>
                </a:endParaRPr>
              </a:p>
            </p:txBody>
          </p:sp>
        </p:grpSp>
      </p:grpSp>
      <p:grpSp>
        <p:nvGrpSpPr>
          <p:cNvPr id="714" name="Condition: Users">
            <a:extLst>
              <a:ext uri="{FF2B5EF4-FFF2-40B4-BE49-F238E27FC236}">
                <a16:creationId xmlns:a16="http://schemas.microsoft.com/office/drawing/2014/main" id="{791090D1-E8DA-4C13-9D84-AF2CEFBB3D7B}"/>
              </a:ext>
            </a:extLst>
          </p:cNvPr>
          <p:cNvGrpSpPr/>
          <p:nvPr/>
        </p:nvGrpSpPr>
        <p:grpSpPr>
          <a:xfrm>
            <a:off x="2723784" y="1569140"/>
            <a:ext cx="566594" cy="566595"/>
            <a:chOff x="2389913" y="1545064"/>
            <a:chExt cx="896425" cy="896425"/>
          </a:xfrm>
        </p:grpSpPr>
        <p:sp>
          <p:nvSpPr>
            <p:cNvPr id="715" name="Oval 714">
              <a:extLst>
                <a:ext uri="{FF2B5EF4-FFF2-40B4-BE49-F238E27FC236}">
                  <a16:creationId xmlns:a16="http://schemas.microsoft.com/office/drawing/2014/main" id="{016A28FB-6E3A-4205-8F8F-5293165D61AF}"/>
                </a:ext>
              </a:extLst>
            </p:cNvPr>
            <p:cNvSpPr/>
            <p:nvPr/>
          </p:nvSpPr>
          <p:spPr bwMode="auto">
            <a:xfrm>
              <a:off x="2389913" y="1545064"/>
              <a:ext cx="896425" cy="896425"/>
            </a:xfrm>
            <a:prstGeom prst="ellipse">
              <a:avLst/>
            </a:prstGeom>
            <a:solidFill>
              <a:schemeClr val="bg1"/>
            </a:solidFill>
            <a:ln w="9525" cap="flat" cmpd="sng" algn="ctr">
              <a:solidFill>
                <a:schemeClr val="accent1"/>
              </a:solidFill>
              <a:prstDash val="solid"/>
              <a:headEnd type="none"/>
              <a:tailEnd type="none"/>
            </a:ln>
            <a:effectLst/>
          </p:spPr>
          <p:txBody>
            <a:bodyPr rot="0" spcFirstLastPara="0" vertOverflow="overflow" horzOverflow="overflow" vert="horz" wrap="square" lIns="129211" tIns="103369" rIns="129211" bIns="103369" numCol="1" spcCol="0" rtlCol="0" fromWordArt="0" anchor="t" anchorCtr="0" forceAA="0" compatLnSpc="1">
              <a:prstTxWarp prst="textNoShape">
                <a:avLst/>
              </a:prstTxWarp>
              <a:noAutofit/>
            </a:bodyPr>
            <a:lstStyle/>
            <a:p>
              <a:pPr algn="ctr" defTabSz="658704" eaLnBrk="1" hangingPunct="1">
                <a:lnSpc>
                  <a:spcPct val="90000"/>
                </a:lnSpc>
                <a:defRPr/>
              </a:pPr>
              <a:endParaRPr lang="en-US" sz="3892"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6" name="Group 715">
              <a:extLst>
                <a:ext uri="{FF2B5EF4-FFF2-40B4-BE49-F238E27FC236}">
                  <a16:creationId xmlns:a16="http://schemas.microsoft.com/office/drawing/2014/main" id="{741937B3-6631-4733-8052-EB9F753A559A}"/>
                </a:ext>
              </a:extLst>
            </p:cNvPr>
            <p:cNvGrpSpPr/>
            <p:nvPr/>
          </p:nvGrpSpPr>
          <p:grpSpPr>
            <a:xfrm>
              <a:off x="2677696" y="1796615"/>
              <a:ext cx="320858" cy="381540"/>
              <a:chOff x="6701391" y="5898584"/>
              <a:chExt cx="414034" cy="492343"/>
            </a:xfrm>
          </p:grpSpPr>
          <p:sp>
            <p:nvSpPr>
              <p:cNvPr id="717" name="Freeform 9">
                <a:extLst>
                  <a:ext uri="{FF2B5EF4-FFF2-40B4-BE49-F238E27FC236}">
                    <a16:creationId xmlns:a16="http://schemas.microsoft.com/office/drawing/2014/main" id="{4D2D0EFF-3BDC-403D-8107-211AA765612B}"/>
                  </a:ext>
                </a:extLst>
              </p:cNvPr>
              <p:cNvSpPr>
                <a:spLocks/>
              </p:cNvSpPr>
              <p:nvPr/>
            </p:nvSpPr>
            <p:spPr bwMode="auto">
              <a:xfrm>
                <a:off x="6701391" y="6188868"/>
                <a:ext cx="414034" cy="202059"/>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61" tIns="34280" rIns="68561" bIns="34280" numCol="1" anchor="t" anchorCtr="0" compatLnSpc="1">
                <a:prstTxWarp prst="textNoShape">
                  <a:avLst/>
                </a:prstTxWarp>
              </a:bodyPr>
              <a:lstStyle/>
              <a:p>
                <a:pPr defTabSz="672161" eaLnBrk="1" fontAlgn="auto" hangingPunct="1">
                  <a:spcBef>
                    <a:spcPts val="0"/>
                  </a:spcBef>
                  <a:spcAft>
                    <a:spcPts val="0"/>
                  </a:spcAft>
                  <a:defRPr/>
                </a:pPr>
                <a:endParaRPr lang="en-US" sz="1324" kern="0">
                  <a:solidFill>
                    <a:srgbClr val="353535"/>
                  </a:solidFill>
                  <a:latin typeface="Segoe UI"/>
                </a:endParaRPr>
              </a:p>
            </p:txBody>
          </p:sp>
          <p:sp>
            <p:nvSpPr>
              <p:cNvPr id="718" name="Oval 717">
                <a:extLst>
                  <a:ext uri="{FF2B5EF4-FFF2-40B4-BE49-F238E27FC236}">
                    <a16:creationId xmlns:a16="http://schemas.microsoft.com/office/drawing/2014/main" id="{343A3894-A6D2-4923-907A-803391E85C30}"/>
                  </a:ext>
                </a:extLst>
              </p:cNvPr>
              <p:cNvSpPr>
                <a:spLocks noChangeArrowheads="1"/>
              </p:cNvSpPr>
              <p:nvPr/>
            </p:nvSpPr>
            <p:spPr bwMode="auto">
              <a:xfrm>
                <a:off x="6761604" y="5898584"/>
                <a:ext cx="293586" cy="290227"/>
              </a:xfrm>
              <a:prstGeom prst="ellipse">
                <a:avLst/>
              </a:prstGeom>
              <a:noFill/>
              <a:ln w="12700" cap="flat">
                <a:solidFill>
                  <a:srgbClr val="0078D7"/>
                </a:solidFill>
                <a:prstDash val="solid"/>
                <a:miter lim="800000"/>
                <a:headEnd/>
                <a:tailEnd/>
              </a:ln>
            </p:spPr>
            <p:txBody>
              <a:bodyPr vert="horz" wrap="square" lIns="68561" tIns="34280" rIns="68561" bIns="34280" numCol="1" anchor="t" anchorCtr="0" compatLnSpc="1">
                <a:prstTxWarp prst="textNoShape">
                  <a:avLst/>
                </a:prstTxWarp>
              </a:bodyPr>
              <a:lstStyle/>
              <a:p>
                <a:pPr defTabSz="672161" eaLnBrk="1" fontAlgn="auto" hangingPunct="1">
                  <a:spcBef>
                    <a:spcPts val="0"/>
                  </a:spcBef>
                  <a:spcAft>
                    <a:spcPts val="0"/>
                  </a:spcAft>
                  <a:defRPr/>
                </a:pPr>
                <a:endParaRPr lang="en-US" sz="1324" kern="0">
                  <a:solidFill>
                    <a:srgbClr val="353535"/>
                  </a:solidFill>
                  <a:latin typeface="Segoe UI"/>
                </a:endParaRPr>
              </a:p>
            </p:txBody>
          </p:sp>
        </p:grpSp>
      </p:grpSp>
      <p:sp>
        <p:nvSpPr>
          <p:cNvPr id="719" name="Oval 718">
            <a:extLst>
              <a:ext uri="{FF2B5EF4-FFF2-40B4-BE49-F238E27FC236}">
                <a16:creationId xmlns:a16="http://schemas.microsoft.com/office/drawing/2014/main" id="{31A54844-3FE7-40C7-BEB9-B3DD7BBBB736}"/>
              </a:ext>
            </a:extLst>
          </p:cNvPr>
          <p:cNvSpPr/>
          <p:nvPr/>
        </p:nvSpPr>
        <p:spPr bwMode="auto">
          <a:xfrm>
            <a:off x="3033846" y="1465655"/>
            <a:ext cx="2889345" cy="2889182"/>
          </a:xfrm>
          <a:prstGeom prst="ellipse">
            <a:avLst/>
          </a:prstGeom>
          <a:noFill/>
          <a:ln w="228600" cap="flat" cmpd="sng" algn="ctr">
            <a:solidFill>
              <a:srgbClr val="0078D7"/>
            </a:solidFill>
            <a:prstDash val="solid"/>
            <a:headEnd type="none"/>
            <a:tailEnd type="none"/>
          </a:ln>
          <a:effectLst/>
        </p:spPr>
        <p:txBody>
          <a:bodyPr rot="0" spcFirstLastPara="0" vertOverflow="overflow" horzOverflow="overflow" vert="horz" wrap="square" lIns="129211" tIns="103369" rIns="129211" bIns="103369" numCol="1" spcCol="0" rtlCol="0" fromWordArt="0" anchor="ctr" anchorCtr="0" forceAA="0" compatLnSpc="1">
            <a:prstTxWarp prst="textNoShape">
              <a:avLst/>
            </a:prstTxWarp>
            <a:noAutofit/>
          </a:bodyPr>
          <a:lstStyle/>
          <a:p>
            <a:pPr algn="ctr" defTabSz="658704" eaLnBrk="1" hangingPunct="1">
              <a:lnSpc>
                <a:spcPct val="90000"/>
              </a:lnSpc>
              <a:defRPr/>
            </a:pPr>
            <a:endParaRPr lang="en-US" sz="11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20" name="Policy Result">
            <a:extLst>
              <a:ext uri="{FF2B5EF4-FFF2-40B4-BE49-F238E27FC236}">
                <a16:creationId xmlns:a16="http://schemas.microsoft.com/office/drawing/2014/main" id="{AD3242C4-63CF-4927-8BCC-99B74DF93EE6}"/>
              </a:ext>
            </a:extLst>
          </p:cNvPr>
          <p:cNvGrpSpPr/>
          <p:nvPr/>
        </p:nvGrpSpPr>
        <p:grpSpPr>
          <a:xfrm>
            <a:off x="4607743" y="3381797"/>
            <a:ext cx="397013" cy="397494"/>
            <a:chOff x="4912910" y="3539396"/>
            <a:chExt cx="640080" cy="640853"/>
          </a:xfrm>
        </p:grpSpPr>
        <p:sp>
          <p:nvSpPr>
            <p:cNvPr id="721" name="Oval 720">
              <a:extLst>
                <a:ext uri="{FF2B5EF4-FFF2-40B4-BE49-F238E27FC236}">
                  <a16:creationId xmlns:a16="http://schemas.microsoft.com/office/drawing/2014/main" id="{41966E5C-87AE-4408-A073-C220F1827DA8}"/>
                </a:ext>
              </a:extLst>
            </p:cNvPr>
            <p:cNvSpPr/>
            <p:nvPr/>
          </p:nvSpPr>
          <p:spPr bwMode="auto">
            <a:xfrm>
              <a:off x="4912910" y="3539782"/>
              <a:ext cx="640080" cy="640080"/>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765"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22" name="Group 155">
              <a:extLst>
                <a:ext uri="{FF2B5EF4-FFF2-40B4-BE49-F238E27FC236}">
                  <a16:creationId xmlns:a16="http://schemas.microsoft.com/office/drawing/2014/main" id="{12B11D71-1DAA-40C4-B5DF-932720DEC73F}"/>
                </a:ext>
              </a:extLst>
            </p:cNvPr>
            <p:cNvGrpSpPr>
              <a:grpSpLocks noChangeAspect="1"/>
            </p:cNvGrpSpPr>
            <p:nvPr/>
          </p:nvGrpSpPr>
          <p:grpSpPr bwMode="auto">
            <a:xfrm>
              <a:off x="4912910" y="3539396"/>
              <a:ext cx="640080" cy="640853"/>
              <a:chOff x="5006" y="757"/>
              <a:chExt cx="828" cy="829"/>
            </a:xfrm>
            <a:solidFill>
              <a:srgbClr val="0078D7"/>
            </a:solidFill>
          </p:grpSpPr>
          <p:sp>
            <p:nvSpPr>
              <p:cNvPr id="723" name="Freeform 156">
                <a:extLst>
                  <a:ext uri="{FF2B5EF4-FFF2-40B4-BE49-F238E27FC236}">
                    <a16:creationId xmlns:a16="http://schemas.microsoft.com/office/drawing/2014/main" id="{1A52E478-819B-4BE9-A610-AD153779A8B6}"/>
                  </a:ext>
                </a:extLst>
              </p:cNvPr>
              <p:cNvSpPr>
                <a:spLocks noEditPoints="1"/>
              </p:cNvSpPr>
              <p:nvPr/>
            </p:nvSpPr>
            <p:spPr bwMode="auto">
              <a:xfrm>
                <a:off x="5006" y="757"/>
                <a:ext cx="828" cy="829"/>
              </a:xfrm>
              <a:custGeom>
                <a:avLst/>
                <a:gdLst>
                  <a:gd name="T0" fmla="*/ 1567 w 3135"/>
                  <a:gd name="T1" fmla="*/ 25 h 3135"/>
                  <a:gd name="T2" fmla="*/ 1567 w 3135"/>
                  <a:gd name="T3" fmla="*/ 25 h 3135"/>
                  <a:gd name="T4" fmla="*/ 26 w 3135"/>
                  <a:gd name="T5" fmla="*/ 1567 h 3135"/>
                  <a:gd name="T6" fmla="*/ 1567 w 3135"/>
                  <a:gd name="T7" fmla="*/ 3108 h 3135"/>
                  <a:gd name="T8" fmla="*/ 3109 w 3135"/>
                  <a:gd name="T9" fmla="*/ 1567 h 3135"/>
                  <a:gd name="T10" fmla="*/ 1567 w 3135"/>
                  <a:gd name="T11" fmla="*/ 25 h 3135"/>
                  <a:gd name="T12" fmla="*/ 1567 w 3135"/>
                  <a:gd name="T13" fmla="*/ 3135 h 3135"/>
                  <a:gd name="T14" fmla="*/ 1567 w 3135"/>
                  <a:gd name="T15" fmla="*/ 3135 h 3135"/>
                  <a:gd name="T16" fmla="*/ 0 w 3135"/>
                  <a:gd name="T17" fmla="*/ 1567 h 3135"/>
                  <a:gd name="T18" fmla="*/ 1567 w 3135"/>
                  <a:gd name="T19" fmla="*/ 0 h 3135"/>
                  <a:gd name="T20" fmla="*/ 3135 w 3135"/>
                  <a:gd name="T21" fmla="*/ 1567 h 3135"/>
                  <a:gd name="T22" fmla="*/ 1567 w 3135"/>
                  <a:gd name="T23" fmla="*/ 3135 h 3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35" h="3135">
                    <a:moveTo>
                      <a:pt x="1567" y="25"/>
                    </a:moveTo>
                    <a:lnTo>
                      <a:pt x="1567" y="25"/>
                    </a:lnTo>
                    <a:cubicBezTo>
                      <a:pt x="718" y="25"/>
                      <a:pt x="26" y="717"/>
                      <a:pt x="26" y="1567"/>
                    </a:cubicBezTo>
                    <a:cubicBezTo>
                      <a:pt x="26" y="2416"/>
                      <a:pt x="718" y="3108"/>
                      <a:pt x="1567" y="3108"/>
                    </a:cubicBezTo>
                    <a:cubicBezTo>
                      <a:pt x="2417" y="3108"/>
                      <a:pt x="3109" y="2416"/>
                      <a:pt x="3109" y="1567"/>
                    </a:cubicBezTo>
                    <a:cubicBezTo>
                      <a:pt x="3109" y="717"/>
                      <a:pt x="2417" y="25"/>
                      <a:pt x="1567" y="25"/>
                    </a:cubicBezTo>
                    <a:close/>
                    <a:moveTo>
                      <a:pt x="1567" y="3135"/>
                    </a:moveTo>
                    <a:lnTo>
                      <a:pt x="1567" y="3135"/>
                    </a:lnTo>
                    <a:cubicBezTo>
                      <a:pt x="703" y="3135"/>
                      <a:pt x="0" y="2431"/>
                      <a:pt x="0" y="1567"/>
                    </a:cubicBezTo>
                    <a:cubicBezTo>
                      <a:pt x="0" y="702"/>
                      <a:pt x="703" y="0"/>
                      <a:pt x="1567" y="0"/>
                    </a:cubicBezTo>
                    <a:cubicBezTo>
                      <a:pt x="2432" y="0"/>
                      <a:pt x="3135" y="702"/>
                      <a:pt x="3135" y="1567"/>
                    </a:cubicBezTo>
                    <a:cubicBezTo>
                      <a:pt x="3135" y="2431"/>
                      <a:pt x="2432" y="3135"/>
                      <a:pt x="1567" y="3135"/>
                    </a:cubicBezTo>
                    <a:close/>
                  </a:path>
                </a:pathLst>
              </a:custGeom>
              <a:grpFill/>
              <a:ln w="9525">
                <a:solidFill>
                  <a:srgbClr val="0078D7"/>
                </a:solid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724" name="Freeform 157">
                <a:extLst>
                  <a:ext uri="{FF2B5EF4-FFF2-40B4-BE49-F238E27FC236}">
                    <a16:creationId xmlns:a16="http://schemas.microsoft.com/office/drawing/2014/main" id="{C00938C3-C904-47C6-A081-15F5B7AF9930}"/>
                  </a:ext>
                </a:extLst>
              </p:cNvPr>
              <p:cNvSpPr>
                <a:spLocks/>
              </p:cNvSpPr>
              <p:nvPr/>
            </p:nvSpPr>
            <p:spPr bwMode="auto">
              <a:xfrm>
                <a:off x="5235" y="934"/>
                <a:ext cx="381" cy="479"/>
              </a:xfrm>
              <a:custGeom>
                <a:avLst/>
                <a:gdLst>
                  <a:gd name="T0" fmla="*/ 1357 w 1440"/>
                  <a:gd name="T1" fmla="*/ 1813 h 1813"/>
                  <a:gd name="T2" fmla="*/ 1357 w 1440"/>
                  <a:gd name="T3" fmla="*/ 1813 h 1813"/>
                  <a:gd name="T4" fmla="*/ 79 w 1440"/>
                  <a:gd name="T5" fmla="*/ 1813 h 1813"/>
                  <a:gd name="T6" fmla="*/ 0 w 1440"/>
                  <a:gd name="T7" fmla="*/ 1730 h 1813"/>
                  <a:gd name="T8" fmla="*/ 0 w 1440"/>
                  <a:gd name="T9" fmla="*/ 81 h 1813"/>
                  <a:gd name="T10" fmla="*/ 79 w 1440"/>
                  <a:gd name="T11" fmla="*/ 0 h 1813"/>
                  <a:gd name="T12" fmla="*/ 573 w 1440"/>
                  <a:gd name="T13" fmla="*/ 0 h 1813"/>
                  <a:gd name="T14" fmla="*/ 573 w 1440"/>
                  <a:gd name="T15" fmla="*/ 27 h 1813"/>
                  <a:gd name="T16" fmla="*/ 79 w 1440"/>
                  <a:gd name="T17" fmla="*/ 27 h 1813"/>
                  <a:gd name="T18" fmla="*/ 27 w 1440"/>
                  <a:gd name="T19" fmla="*/ 81 h 1813"/>
                  <a:gd name="T20" fmla="*/ 27 w 1440"/>
                  <a:gd name="T21" fmla="*/ 1730 h 1813"/>
                  <a:gd name="T22" fmla="*/ 79 w 1440"/>
                  <a:gd name="T23" fmla="*/ 1787 h 1813"/>
                  <a:gd name="T24" fmla="*/ 1357 w 1440"/>
                  <a:gd name="T25" fmla="*/ 1787 h 1813"/>
                  <a:gd name="T26" fmla="*/ 1413 w 1440"/>
                  <a:gd name="T27" fmla="*/ 1730 h 1813"/>
                  <a:gd name="T28" fmla="*/ 1413 w 1440"/>
                  <a:gd name="T29" fmla="*/ 81 h 1813"/>
                  <a:gd name="T30" fmla="*/ 1357 w 1440"/>
                  <a:gd name="T31" fmla="*/ 27 h 1813"/>
                  <a:gd name="T32" fmla="*/ 853 w 1440"/>
                  <a:gd name="T33" fmla="*/ 27 h 1813"/>
                  <a:gd name="T34" fmla="*/ 853 w 1440"/>
                  <a:gd name="T35" fmla="*/ 0 h 1813"/>
                  <a:gd name="T36" fmla="*/ 1357 w 1440"/>
                  <a:gd name="T37" fmla="*/ 0 h 1813"/>
                  <a:gd name="T38" fmla="*/ 1440 w 1440"/>
                  <a:gd name="T39" fmla="*/ 81 h 1813"/>
                  <a:gd name="T40" fmla="*/ 1440 w 1440"/>
                  <a:gd name="T41" fmla="*/ 1730 h 1813"/>
                  <a:gd name="T42" fmla="*/ 1357 w 1440"/>
                  <a:gd name="T43" fmla="*/ 1813 h 1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0" h="1813">
                    <a:moveTo>
                      <a:pt x="1357" y="1813"/>
                    </a:moveTo>
                    <a:lnTo>
                      <a:pt x="1357" y="1813"/>
                    </a:lnTo>
                    <a:lnTo>
                      <a:pt x="79" y="1813"/>
                    </a:lnTo>
                    <a:cubicBezTo>
                      <a:pt x="37" y="1813"/>
                      <a:pt x="0" y="1774"/>
                      <a:pt x="0" y="1730"/>
                    </a:cubicBezTo>
                    <a:lnTo>
                      <a:pt x="0" y="81"/>
                    </a:lnTo>
                    <a:cubicBezTo>
                      <a:pt x="0" y="38"/>
                      <a:pt x="37" y="0"/>
                      <a:pt x="79" y="0"/>
                    </a:cubicBezTo>
                    <a:lnTo>
                      <a:pt x="573" y="0"/>
                    </a:lnTo>
                    <a:lnTo>
                      <a:pt x="573" y="27"/>
                    </a:lnTo>
                    <a:lnTo>
                      <a:pt x="79" y="27"/>
                    </a:lnTo>
                    <a:cubicBezTo>
                      <a:pt x="52" y="27"/>
                      <a:pt x="27" y="53"/>
                      <a:pt x="27" y="81"/>
                    </a:cubicBezTo>
                    <a:lnTo>
                      <a:pt x="27" y="1730"/>
                    </a:lnTo>
                    <a:cubicBezTo>
                      <a:pt x="27" y="1758"/>
                      <a:pt x="52" y="1787"/>
                      <a:pt x="79" y="1787"/>
                    </a:cubicBezTo>
                    <a:lnTo>
                      <a:pt x="1357" y="1787"/>
                    </a:lnTo>
                    <a:cubicBezTo>
                      <a:pt x="1385" y="1787"/>
                      <a:pt x="1413" y="1757"/>
                      <a:pt x="1413" y="1730"/>
                    </a:cubicBezTo>
                    <a:lnTo>
                      <a:pt x="1413" y="81"/>
                    </a:lnTo>
                    <a:cubicBezTo>
                      <a:pt x="1413" y="54"/>
                      <a:pt x="1385" y="27"/>
                      <a:pt x="1357" y="27"/>
                    </a:cubicBezTo>
                    <a:lnTo>
                      <a:pt x="853" y="27"/>
                    </a:lnTo>
                    <a:lnTo>
                      <a:pt x="853" y="0"/>
                    </a:lnTo>
                    <a:lnTo>
                      <a:pt x="1357" y="0"/>
                    </a:lnTo>
                    <a:cubicBezTo>
                      <a:pt x="1400" y="0"/>
                      <a:pt x="1440" y="39"/>
                      <a:pt x="1440" y="81"/>
                    </a:cubicBezTo>
                    <a:lnTo>
                      <a:pt x="1440" y="1730"/>
                    </a:lnTo>
                    <a:cubicBezTo>
                      <a:pt x="1440" y="1773"/>
                      <a:pt x="1400" y="1813"/>
                      <a:pt x="1357" y="1813"/>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725" name="Freeform 158">
                <a:extLst>
                  <a:ext uri="{FF2B5EF4-FFF2-40B4-BE49-F238E27FC236}">
                    <a16:creationId xmlns:a16="http://schemas.microsoft.com/office/drawing/2014/main" id="{6B952AD9-63B0-43A8-AE72-0399ABEA8999}"/>
                  </a:ext>
                </a:extLst>
              </p:cNvPr>
              <p:cNvSpPr>
                <a:spLocks/>
              </p:cNvSpPr>
              <p:nvPr/>
            </p:nvSpPr>
            <p:spPr bwMode="auto">
              <a:xfrm>
                <a:off x="5267" y="980"/>
                <a:ext cx="314" cy="401"/>
              </a:xfrm>
              <a:custGeom>
                <a:avLst/>
                <a:gdLst>
                  <a:gd name="T0" fmla="*/ 1173 w 1187"/>
                  <a:gd name="T1" fmla="*/ 1520 h 1520"/>
                  <a:gd name="T2" fmla="*/ 1173 w 1187"/>
                  <a:gd name="T3" fmla="*/ 1520 h 1520"/>
                  <a:gd name="T4" fmla="*/ 13 w 1187"/>
                  <a:gd name="T5" fmla="*/ 1520 h 1520"/>
                  <a:gd name="T6" fmla="*/ 0 w 1187"/>
                  <a:gd name="T7" fmla="*/ 1507 h 1520"/>
                  <a:gd name="T8" fmla="*/ 0 w 1187"/>
                  <a:gd name="T9" fmla="*/ 14 h 1520"/>
                  <a:gd name="T10" fmla="*/ 13 w 1187"/>
                  <a:gd name="T11" fmla="*/ 0 h 1520"/>
                  <a:gd name="T12" fmla="*/ 133 w 1187"/>
                  <a:gd name="T13" fmla="*/ 0 h 1520"/>
                  <a:gd name="T14" fmla="*/ 133 w 1187"/>
                  <a:gd name="T15" fmla="*/ 27 h 1520"/>
                  <a:gd name="T16" fmla="*/ 27 w 1187"/>
                  <a:gd name="T17" fmla="*/ 27 h 1520"/>
                  <a:gd name="T18" fmla="*/ 27 w 1187"/>
                  <a:gd name="T19" fmla="*/ 1494 h 1520"/>
                  <a:gd name="T20" fmla="*/ 1160 w 1187"/>
                  <a:gd name="T21" fmla="*/ 1494 h 1520"/>
                  <a:gd name="T22" fmla="*/ 1160 w 1187"/>
                  <a:gd name="T23" fmla="*/ 27 h 1520"/>
                  <a:gd name="T24" fmla="*/ 1053 w 1187"/>
                  <a:gd name="T25" fmla="*/ 27 h 1520"/>
                  <a:gd name="T26" fmla="*/ 1053 w 1187"/>
                  <a:gd name="T27" fmla="*/ 0 h 1520"/>
                  <a:gd name="T28" fmla="*/ 1173 w 1187"/>
                  <a:gd name="T29" fmla="*/ 0 h 1520"/>
                  <a:gd name="T30" fmla="*/ 1187 w 1187"/>
                  <a:gd name="T31" fmla="*/ 14 h 1520"/>
                  <a:gd name="T32" fmla="*/ 1187 w 1187"/>
                  <a:gd name="T33" fmla="*/ 1507 h 1520"/>
                  <a:gd name="T34" fmla="*/ 1173 w 1187"/>
                  <a:gd name="T35" fmla="*/ 152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7" h="1520">
                    <a:moveTo>
                      <a:pt x="1173" y="1520"/>
                    </a:moveTo>
                    <a:lnTo>
                      <a:pt x="1173" y="1520"/>
                    </a:lnTo>
                    <a:lnTo>
                      <a:pt x="13" y="1520"/>
                    </a:lnTo>
                    <a:cubicBezTo>
                      <a:pt x="6" y="1520"/>
                      <a:pt x="0" y="1514"/>
                      <a:pt x="0" y="1507"/>
                    </a:cubicBezTo>
                    <a:lnTo>
                      <a:pt x="0" y="14"/>
                    </a:lnTo>
                    <a:cubicBezTo>
                      <a:pt x="0" y="6"/>
                      <a:pt x="6" y="0"/>
                      <a:pt x="13" y="0"/>
                    </a:cubicBezTo>
                    <a:lnTo>
                      <a:pt x="133" y="0"/>
                    </a:lnTo>
                    <a:lnTo>
                      <a:pt x="133" y="27"/>
                    </a:lnTo>
                    <a:lnTo>
                      <a:pt x="27" y="27"/>
                    </a:lnTo>
                    <a:lnTo>
                      <a:pt x="27" y="1494"/>
                    </a:lnTo>
                    <a:lnTo>
                      <a:pt x="1160" y="1494"/>
                    </a:lnTo>
                    <a:lnTo>
                      <a:pt x="1160" y="27"/>
                    </a:lnTo>
                    <a:lnTo>
                      <a:pt x="1053" y="27"/>
                    </a:lnTo>
                    <a:lnTo>
                      <a:pt x="1053" y="0"/>
                    </a:lnTo>
                    <a:lnTo>
                      <a:pt x="1173" y="0"/>
                    </a:lnTo>
                    <a:cubicBezTo>
                      <a:pt x="1181" y="0"/>
                      <a:pt x="1187" y="6"/>
                      <a:pt x="1187" y="14"/>
                    </a:cubicBezTo>
                    <a:lnTo>
                      <a:pt x="1187" y="1507"/>
                    </a:lnTo>
                    <a:cubicBezTo>
                      <a:pt x="1187" y="1514"/>
                      <a:pt x="1181" y="1520"/>
                      <a:pt x="1173" y="1520"/>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726" name="Freeform 159">
                <a:extLst>
                  <a:ext uri="{FF2B5EF4-FFF2-40B4-BE49-F238E27FC236}">
                    <a16:creationId xmlns:a16="http://schemas.microsoft.com/office/drawing/2014/main" id="{F8AE9C84-A3DF-4665-B146-BA7D62BCD364}"/>
                  </a:ext>
                </a:extLst>
              </p:cNvPr>
              <p:cNvSpPr>
                <a:spLocks noEditPoints="1"/>
              </p:cNvSpPr>
              <p:nvPr/>
            </p:nvSpPr>
            <p:spPr bwMode="auto">
              <a:xfrm>
                <a:off x="5299" y="917"/>
                <a:ext cx="250" cy="91"/>
              </a:xfrm>
              <a:custGeom>
                <a:avLst/>
                <a:gdLst>
                  <a:gd name="T0" fmla="*/ 478 w 947"/>
                  <a:gd name="T1" fmla="*/ 122 h 344"/>
                  <a:gd name="T2" fmla="*/ 478 w 947"/>
                  <a:gd name="T3" fmla="*/ 122 h 344"/>
                  <a:gd name="T4" fmla="*/ 442 w 947"/>
                  <a:gd name="T5" fmla="*/ 158 h 344"/>
                  <a:gd name="T6" fmla="*/ 478 w 947"/>
                  <a:gd name="T7" fmla="*/ 194 h 344"/>
                  <a:gd name="T8" fmla="*/ 514 w 947"/>
                  <a:gd name="T9" fmla="*/ 158 h 344"/>
                  <a:gd name="T10" fmla="*/ 478 w 947"/>
                  <a:gd name="T11" fmla="*/ 122 h 344"/>
                  <a:gd name="T12" fmla="*/ 478 w 947"/>
                  <a:gd name="T13" fmla="*/ 220 h 344"/>
                  <a:gd name="T14" fmla="*/ 478 w 947"/>
                  <a:gd name="T15" fmla="*/ 220 h 344"/>
                  <a:gd name="T16" fmla="*/ 416 w 947"/>
                  <a:gd name="T17" fmla="*/ 158 h 344"/>
                  <a:gd name="T18" fmla="*/ 478 w 947"/>
                  <a:gd name="T19" fmla="*/ 95 h 344"/>
                  <a:gd name="T20" fmla="*/ 541 w 947"/>
                  <a:gd name="T21" fmla="*/ 158 h 344"/>
                  <a:gd name="T22" fmla="*/ 478 w 947"/>
                  <a:gd name="T23" fmla="*/ 220 h 344"/>
                  <a:gd name="T24" fmla="*/ 27 w 947"/>
                  <a:gd name="T25" fmla="*/ 317 h 344"/>
                  <a:gd name="T26" fmla="*/ 27 w 947"/>
                  <a:gd name="T27" fmla="*/ 317 h 344"/>
                  <a:gd name="T28" fmla="*/ 920 w 947"/>
                  <a:gd name="T29" fmla="*/ 317 h 344"/>
                  <a:gd name="T30" fmla="*/ 920 w 947"/>
                  <a:gd name="T31" fmla="*/ 227 h 344"/>
                  <a:gd name="T32" fmla="*/ 868 w 947"/>
                  <a:gd name="T33" fmla="*/ 184 h 344"/>
                  <a:gd name="T34" fmla="*/ 624 w 947"/>
                  <a:gd name="T35" fmla="*/ 184 h 344"/>
                  <a:gd name="T36" fmla="*/ 610 w 947"/>
                  <a:gd name="T37" fmla="*/ 171 h 344"/>
                  <a:gd name="T38" fmla="*/ 611 w 947"/>
                  <a:gd name="T39" fmla="*/ 169 h 344"/>
                  <a:gd name="T40" fmla="*/ 611 w 947"/>
                  <a:gd name="T41" fmla="*/ 161 h 344"/>
                  <a:gd name="T42" fmla="*/ 478 w 947"/>
                  <a:gd name="T43" fmla="*/ 27 h 344"/>
                  <a:gd name="T44" fmla="*/ 345 w 947"/>
                  <a:gd name="T45" fmla="*/ 161 h 344"/>
                  <a:gd name="T46" fmla="*/ 346 w 947"/>
                  <a:gd name="T47" fmla="*/ 170 h 344"/>
                  <a:gd name="T48" fmla="*/ 342 w 947"/>
                  <a:gd name="T49" fmla="*/ 180 h 344"/>
                  <a:gd name="T50" fmla="*/ 332 w 947"/>
                  <a:gd name="T51" fmla="*/ 184 h 344"/>
                  <a:gd name="T52" fmla="*/ 89 w 947"/>
                  <a:gd name="T53" fmla="*/ 184 h 344"/>
                  <a:gd name="T54" fmla="*/ 27 w 947"/>
                  <a:gd name="T55" fmla="*/ 227 h 344"/>
                  <a:gd name="T56" fmla="*/ 27 w 947"/>
                  <a:gd name="T57" fmla="*/ 317 h 344"/>
                  <a:gd name="T58" fmla="*/ 933 w 947"/>
                  <a:gd name="T59" fmla="*/ 344 h 344"/>
                  <a:gd name="T60" fmla="*/ 933 w 947"/>
                  <a:gd name="T61" fmla="*/ 344 h 344"/>
                  <a:gd name="T62" fmla="*/ 13 w 947"/>
                  <a:gd name="T63" fmla="*/ 344 h 344"/>
                  <a:gd name="T64" fmla="*/ 0 w 947"/>
                  <a:gd name="T65" fmla="*/ 331 h 344"/>
                  <a:gd name="T66" fmla="*/ 0 w 947"/>
                  <a:gd name="T67" fmla="*/ 227 h 344"/>
                  <a:gd name="T68" fmla="*/ 89 w 947"/>
                  <a:gd name="T69" fmla="*/ 157 h 344"/>
                  <a:gd name="T70" fmla="*/ 319 w 947"/>
                  <a:gd name="T71" fmla="*/ 157 h 344"/>
                  <a:gd name="T72" fmla="*/ 478 w 947"/>
                  <a:gd name="T73" fmla="*/ 0 h 344"/>
                  <a:gd name="T74" fmla="*/ 637 w 947"/>
                  <a:gd name="T75" fmla="*/ 157 h 344"/>
                  <a:gd name="T76" fmla="*/ 868 w 947"/>
                  <a:gd name="T77" fmla="*/ 157 h 344"/>
                  <a:gd name="T78" fmla="*/ 947 w 947"/>
                  <a:gd name="T79" fmla="*/ 227 h 344"/>
                  <a:gd name="T80" fmla="*/ 947 w 947"/>
                  <a:gd name="T81" fmla="*/ 331 h 344"/>
                  <a:gd name="T82" fmla="*/ 933 w 947"/>
                  <a:gd name="T83" fmla="*/ 34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7" h="344">
                    <a:moveTo>
                      <a:pt x="478" y="122"/>
                    </a:moveTo>
                    <a:lnTo>
                      <a:pt x="478" y="122"/>
                    </a:lnTo>
                    <a:cubicBezTo>
                      <a:pt x="458" y="122"/>
                      <a:pt x="442" y="138"/>
                      <a:pt x="442" y="158"/>
                    </a:cubicBezTo>
                    <a:cubicBezTo>
                      <a:pt x="442" y="178"/>
                      <a:pt x="458" y="194"/>
                      <a:pt x="478" y="194"/>
                    </a:cubicBezTo>
                    <a:cubicBezTo>
                      <a:pt x="498" y="194"/>
                      <a:pt x="514" y="178"/>
                      <a:pt x="514" y="158"/>
                    </a:cubicBezTo>
                    <a:cubicBezTo>
                      <a:pt x="514" y="138"/>
                      <a:pt x="498" y="122"/>
                      <a:pt x="478" y="122"/>
                    </a:cubicBezTo>
                    <a:close/>
                    <a:moveTo>
                      <a:pt x="478" y="220"/>
                    </a:moveTo>
                    <a:lnTo>
                      <a:pt x="478" y="220"/>
                    </a:lnTo>
                    <a:cubicBezTo>
                      <a:pt x="444" y="220"/>
                      <a:pt x="416" y="192"/>
                      <a:pt x="416" y="158"/>
                    </a:cubicBezTo>
                    <a:cubicBezTo>
                      <a:pt x="416" y="123"/>
                      <a:pt x="444" y="95"/>
                      <a:pt x="478" y="95"/>
                    </a:cubicBezTo>
                    <a:cubicBezTo>
                      <a:pt x="513" y="95"/>
                      <a:pt x="541" y="123"/>
                      <a:pt x="541" y="158"/>
                    </a:cubicBezTo>
                    <a:cubicBezTo>
                      <a:pt x="541" y="192"/>
                      <a:pt x="513" y="220"/>
                      <a:pt x="478" y="220"/>
                    </a:cubicBezTo>
                    <a:close/>
                    <a:moveTo>
                      <a:pt x="27" y="317"/>
                    </a:moveTo>
                    <a:lnTo>
                      <a:pt x="27" y="317"/>
                    </a:lnTo>
                    <a:lnTo>
                      <a:pt x="920" y="317"/>
                    </a:lnTo>
                    <a:lnTo>
                      <a:pt x="920" y="227"/>
                    </a:lnTo>
                    <a:cubicBezTo>
                      <a:pt x="920" y="199"/>
                      <a:pt x="893" y="184"/>
                      <a:pt x="868" y="184"/>
                    </a:cubicBezTo>
                    <a:lnTo>
                      <a:pt x="624" y="184"/>
                    </a:lnTo>
                    <a:cubicBezTo>
                      <a:pt x="616" y="184"/>
                      <a:pt x="610" y="178"/>
                      <a:pt x="610" y="171"/>
                    </a:cubicBezTo>
                    <a:cubicBezTo>
                      <a:pt x="610" y="170"/>
                      <a:pt x="611" y="169"/>
                      <a:pt x="611" y="169"/>
                    </a:cubicBezTo>
                    <a:cubicBezTo>
                      <a:pt x="611" y="167"/>
                      <a:pt x="611" y="162"/>
                      <a:pt x="611" y="161"/>
                    </a:cubicBezTo>
                    <a:cubicBezTo>
                      <a:pt x="611" y="87"/>
                      <a:pt x="551" y="27"/>
                      <a:pt x="478" y="27"/>
                    </a:cubicBezTo>
                    <a:cubicBezTo>
                      <a:pt x="405" y="27"/>
                      <a:pt x="345" y="87"/>
                      <a:pt x="345" y="161"/>
                    </a:cubicBezTo>
                    <a:cubicBezTo>
                      <a:pt x="345" y="164"/>
                      <a:pt x="346" y="170"/>
                      <a:pt x="346" y="170"/>
                    </a:cubicBezTo>
                    <a:cubicBezTo>
                      <a:pt x="346" y="174"/>
                      <a:pt x="344" y="177"/>
                      <a:pt x="342" y="180"/>
                    </a:cubicBezTo>
                    <a:cubicBezTo>
                      <a:pt x="339" y="182"/>
                      <a:pt x="336" y="184"/>
                      <a:pt x="332" y="184"/>
                    </a:cubicBezTo>
                    <a:lnTo>
                      <a:pt x="89" y="184"/>
                    </a:lnTo>
                    <a:cubicBezTo>
                      <a:pt x="59" y="184"/>
                      <a:pt x="27" y="202"/>
                      <a:pt x="27" y="227"/>
                    </a:cubicBezTo>
                    <a:lnTo>
                      <a:pt x="27" y="317"/>
                    </a:lnTo>
                    <a:close/>
                    <a:moveTo>
                      <a:pt x="933" y="344"/>
                    </a:moveTo>
                    <a:lnTo>
                      <a:pt x="933" y="344"/>
                    </a:lnTo>
                    <a:lnTo>
                      <a:pt x="13" y="344"/>
                    </a:lnTo>
                    <a:cubicBezTo>
                      <a:pt x="6" y="344"/>
                      <a:pt x="0" y="338"/>
                      <a:pt x="0" y="331"/>
                    </a:cubicBezTo>
                    <a:lnTo>
                      <a:pt x="0" y="227"/>
                    </a:lnTo>
                    <a:cubicBezTo>
                      <a:pt x="0" y="185"/>
                      <a:pt x="46" y="157"/>
                      <a:pt x="89" y="157"/>
                    </a:cubicBezTo>
                    <a:lnTo>
                      <a:pt x="319" y="157"/>
                    </a:lnTo>
                    <a:cubicBezTo>
                      <a:pt x="321" y="70"/>
                      <a:pt x="392" y="0"/>
                      <a:pt x="478" y="0"/>
                    </a:cubicBezTo>
                    <a:cubicBezTo>
                      <a:pt x="565" y="0"/>
                      <a:pt x="636" y="70"/>
                      <a:pt x="637" y="157"/>
                    </a:cubicBezTo>
                    <a:lnTo>
                      <a:pt x="868" y="157"/>
                    </a:lnTo>
                    <a:cubicBezTo>
                      <a:pt x="913" y="157"/>
                      <a:pt x="947" y="187"/>
                      <a:pt x="947" y="227"/>
                    </a:cubicBezTo>
                    <a:lnTo>
                      <a:pt x="947" y="331"/>
                    </a:lnTo>
                    <a:cubicBezTo>
                      <a:pt x="947" y="338"/>
                      <a:pt x="941" y="344"/>
                      <a:pt x="933" y="344"/>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727" name="Freeform 160">
                <a:extLst>
                  <a:ext uri="{FF2B5EF4-FFF2-40B4-BE49-F238E27FC236}">
                    <a16:creationId xmlns:a16="http://schemas.microsoft.com/office/drawing/2014/main" id="{32EC1CCB-F6F4-4CA5-ABAC-52CEF03BEE7C}"/>
                  </a:ext>
                </a:extLst>
              </p:cNvPr>
              <p:cNvSpPr>
                <a:spLocks noEditPoints="1"/>
              </p:cNvSpPr>
              <p:nvPr/>
            </p:nvSpPr>
            <p:spPr bwMode="auto">
              <a:xfrm>
                <a:off x="5366" y="1055"/>
                <a:ext cx="118" cy="119"/>
              </a:xfrm>
              <a:custGeom>
                <a:avLst/>
                <a:gdLst>
                  <a:gd name="T0" fmla="*/ 225 w 450"/>
                  <a:gd name="T1" fmla="*/ 27 h 450"/>
                  <a:gd name="T2" fmla="*/ 225 w 450"/>
                  <a:gd name="T3" fmla="*/ 27 h 450"/>
                  <a:gd name="T4" fmla="*/ 27 w 450"/>
                  <a:gd name="T5" fmla="*/ 225 h 450"/>
                  <a:gd name="T6" fmla="*/ 225 w 450"/>
                  <a:gd name="T7" fmla="*/ 423 h 450"/>
                  <a:gd name="T8" fmla="*/ 423 w 450"/>
                  <a:gd name="T9" fmla="*/ 225 h 450"/>
                  <a:gd name="T10" fmla="*/ 225 w 450"/>
                  <a:gd name="T11" fmla="*/ 27 h 450"/>
                  <a:gd name="T12" fmla="*/ 225 w 450"/>
                  <a:gd name="T13" fmla="*/ 450 h 450"/>
                  <a:gd name="T14" fmla="*/ 225 w 450"/>
                  <a:gd name="T15" fmla="*/ 450 h 450"/>
                  <a:gd name="T16" fmla="*/ 0 w 450"/>
                  <a:gd name="T17" fmla="*/ 225 h 450"/>
                  <a:gd name="T18" fmla="*/ 225 w 450"/>
                  <a:gd name="T19" fmla="*/ 0 h 450"/>
                  <a:gd name="T20" fmla="*/ 450 w 450"/>
                  <a:gd name="T21" fmla="*/ 225 h 450"/>
                  <a:gd name="T22" fmla="*/ 225 w 450"/>
                  <a:gd name="T23" fmla="*/ 4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0" h="450">
                    <a:moveTo>
                      <a:pt x="225" y="27"/>
                    </a:moveTo>
                    <a:lnTo>
                      <a:pt x="225" y="27"/>
                    </a:lnTo>
                    <a:cubicBezTo>
                      <a:pt x="116" y="27"/>
                      <a:pt x="27" y="116"/>
                      <a:pt x="27" y="225"/>
                    </a:cubicBezTo>
                    <a:cubicBezTo>
                      <a:pt x="27" y="334"/>
                      <a:pt x="116" y="423"/>
                      <a:pt x="225" y="423"/>
                    </a:cubicBezTo>
                    <a:cubicBezTo>
                      <a:pt x="334" y="423"/>
                      <a:pt x="423" y="334"/>
                      <a:pt x="423" y="225"/>
                    </a:cubicBezTo>
                    <a:cubicBezTo>
                      <a:pt x="423" y="116"/>
                      <a:pt x="334" y="27"/>
                      <a:pt x="225" y="27"/>
                    </a:cubicBezTo>
                    <a:close/>
                    <a:moveTo>
                      <a:pt x="225" y="450"/>
                    </a:moveTo>
                    <a:lnTo>
                      <a:pt x="225" y="450"/>
                    </a:lnTo>
                    <a:cubicBezTo>
                      <a:pt x="101" y="450"/>
                      <a:pt x="0" y="349"/>
                      <a:pt x="0" y="225"/>
                    </a:cubicBezTo>
                    <a:cubicBezTo>
                      <a:pt x="0" y="101"/>
                      <a:pt x="101" y="0"/>
                      <a:pt x="225" y="0"/>
                    </a:cubicBezTo>
                    <a:cubicBezTo>
                      <a:pt x="349" y="0"/>
                      <a:pt x="450" y="101"/>
                      <a:pt x="450" y="225"/>
                    </a:cubicBezTo>
                    <a:cubicBezTo>
                      <a:pt x="450" y="349"/>
                      <a:pt x="349" y="450"/>
                      <a:pt x="225" y="450"/>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728" name="Freeform 161">
                <a:extLst>
                  <a:ext uri="{FF2B5EF4-FFF2-40B4-BE49-F238E27FC236}">
                    <a16:creationId xmlns:a16="http://schemas.microsoft.com/office/drawing/2014/main" id="{72F654BF-ED77-4740-989F-6405140FE488}"/>
                  </a:ext>
                </a:extLst>
              </p:cNvPr>
              <p:cNvSpPr>
                <a:spLocks/>
              </p:cNvSpPr>
              <p:nvPr/>
            </p:nvSpPr>
            <p:spPr bwMode="auto">
              <a:xfrm>
                <a:off x="5396" y="1089"/>
                <a:ext cx="60" cy="49"/>
              </a:xfrm>
              <a:custGeom>
                <a:avLst/>
                <a:gdLst>
                  <a:gd name="T0" fmla="*/ 58 w 229"/>
                  <a:gd name="T1" fmla="*/ 185 h 185"/>
                  <a:gd name="T2" fmla="*/ 58 w 229"/>
                  <a:gd name="T3" fmla="*/ 185 h 185"/>
                  <a:gd name="T4" fmla="*/ 48 w 229"/>
                  <a:gd name="T5" fmla="*/ 181 h 185"/>
                  <a:gd name="T6" fmla="*/ 0 w 229"/>
                  <a:gd name="T7" fmla="*/ 133 h 185"/>
                  <a:gd name="T8" fmla="*/ 19 w 229"/>
                  <a:gd name="T9" fmla="*/ 114 h 185"/>
                  <a:gd name="T10" fmla="*/ 58 w 229"/>
                  <a:gd name="T11" fmla="*/ 153 h 185"/>
                  <a:gd name="T12" fmla="*/ 210 w 229"/>
                  <a:gd name="T13" fmla="*/ 0 h 185"/>
                  <a:gd name="T14" fmla="*/ 229 w 229"/>
                  <a:gd name="T15" fmla="*/ 19 h 185"/>
                  <a:gd name="T16" fmla="*/ 67 w 229"/>
                  <a:gd name="T17" fmla="*/ 181 h 185"/>
                  <a:gd name="T18" fmla="*/ 58 w 229"/>
                  <a:gd name="T1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5">
                    <a:moveTo>
                      <a:pt x="58" y="185"/>
                    </a:moveTo>
                    <a:lnTo>
                      <a:pt x="58" y="185"/>
                    </a:lnTo>
                    <a:cubicBezTo>
                      <a:pt x="54" y="185"/>
                      <a:pt x="51" y="184"/>
                      <a:pt x="48" y="181"/>
                    </a:cubicBezTo>
                    <a:lnTo>
                      <a:pt x="0" y="133"/>
                    </a:lnTo>
                    <a:lnTo>
                      <a:pt x="19" y="114"/>
                    </a:lnTo>
                    <a:lnTo>
                      <a:pt x="58" y="153"/>
                    </a:lnTo>
                    <a:lnTo>
                      <a:pt x="210" y="0"/>
                    </a:lnTo>
                    <a:lnTo>
                      <a:pt x="229" y="19"/>
                    </a:lnTo>
                    <a:lnTo>
                      <a:pt x="67" y="181"/>
                    </a:lnTo>
                    <a:cubicBezTo>
                      <a:pt x="64" y="184"/>
                      <a:pt x="61" y="185"/>
                      <a:pt x="58" y="185"/>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729" name="Freeform 162">
                <a:extLst>
                  <a:ext uri="{FF2B5EF4-FFF2-40B4-BE49-F238E27FC236}">
                    <a16:creationId xmlns:a16="http://schemas.microsoft.com/office/drawing/2014/main" id="{E37AF26E-D2F9-4438-876E-1595175B37C5}"/>
                  </a:ext>
                </a:extLst>
              </p:cNvPr>
              <p:cNvSpPr>
                <a:spLocks/>
              </p:cNvSpPr>
              <p:nvPr/>
            </p:nvSpPr>
            <p:spPr bwMode="auto">
              <a:xfrm>
                <a:off x="5355" y="1209"/>
                <a:ext cx="144" cy="7"/>
              </a:xfrm>
              <a:custGeom>
                <a:avLst/>
                <a:gdLst>
                  <a:gd name="T0" fmla="*/ 534 w 547"/>
                  <a:gd name="T1" fmla="*/ 27 h 27"/>
                  <a:gd name="T2" fmla="*/ 534 w 547"/>
                  <a:gd name="T3" fmla="*/ 27 h 27"/>
                  <a:gd name="T4" fmla="*/ 14 w 547"/>
                  <a:gd name="T5" fmla="*/ 27 h 27"/>
                  <a:gd name="T6" fmla="*/ 0 w 547"/>
                  <a:gd name="T7" fmla="*/ 13 h 27"/>
                  <a:gd name="T8" fmla="*/ 14 w 547"/>
                  <a:gd name="T9" fmla="*/ 0 h 27"/>
                  <a:gd name="T10" fmla="*/ 534 w 547"/>
                  <a:gd name="T11" fmla="*/ 0 h 27"/>
                  <a:gd name="T12" fmla="*/ 547 w 547"/>
                  <a:gd name="T13" fmla="*/ 13 h 27"/>
                  <a:gd name="T14" fmla="*/ 534 w 547"/>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7" h="27">
                    <a:moveTo>
                      <a:pt x="534" y="27"/>
                    </a:moveTo>
                    <a:lnTo>
                      <a:pt x="534" y="27"/>
                    </a:lnTo>
                    <a:lnTo>
                      <a:pt x="14" y="27"/>
                    </a:lnTo>
                    <a:cubicBezTo>
                      <a:pt x="6" y="27"/>
                      <a:pt x="0" y="21"/>
                      <a:pt x="0" y="13"/>
                    </a:cubicBezTo>
                    <a:cubicBezTo>
                      <a:pt x="0" y="6"/>
                      <a:pt x="6" y="0"/>
                      <a:pt x="14" y="0"/>
                    </a:cubicBezTo>
                    <a:lnTo>
                      <a:pt x="534" y="0"/>
                    </a:lnTo>
                    <a:cubicBezTo>
                      <a:pt x="541" y="0"/>
                      <a:pt x="547" y="6"/>
                      <a:pt x="547" y="13"/>
                    </a:cubicBezTo>
                    <a:cubicBezTo>
                      <a:pt x="547" y="21"/>
                      <a:pt x="541" y="27"/>
                      <a:pt x="534"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730" name="Freeform 163">
                <a:extLst>
                  <a:ext uri="{FF2B5EF4-FFF2-40B4-BE49-F238E27FC236}">
                    <a16:creationId xmlns:a16="http://schemas.microsoft.com/office/drawing/2014/main" id="{F438849D-C08F-4D0C-9689-00D4E83279F3}"/>
                  </a:ext>
                </a:extLst>
              </p:cNvPr>
              <p:cNvSpPr>
                <a:spLocks/>
              </p:cNvSpPr>
              <p:nvPr/>
            </p:nvSpPr>
            <p:spPr bwMode="auto">
              <a:xfrm>
                <a:off x="5334" y="1261"/>
                <a:ext cx="183" cy="8"/>
              </a:xfrm>
              <a:custGeom>
                <a:avLst/>
                <a:gdLst>
                  <a:gd name="T0" fmla="*/ 680 w 694"/>
                  <a:gd name="T1" fmla="*/ 27 h 27"/>
                  <a:gd name="T2" fmla="*/ 680 w 694"/>
                  <a:gd name="T3" fmla="*/ 27 h 27"/>
                  <a:gd name="T4" fmla="*/ 14 w 694"/>
                  <a:gd name="T5" fmla="*/ 27 h 27"/>
                  <a:gd name="T6" fmla="*/ 0 w 694"/>
                  <a:gd name="T7" fmla="*/ 13 h 27"/>
                  <a:gd name="T8" fmla="*/ 14 w 694"/>
                  <a:gd name="T9" fmla="*/ 0 h 27"/>
                  <a:gd name="T10" fmla="*/ 680 w 694"/>
                  <a:gd name="T11" fmla="*/ 0 h 27"/>
                  <a:gd name="T12" fmla="*/ 694 w 694"/>
                  <a:gd name="T13" fmla="*/ 13 h 27"/>
                  <a:gd name="T14" fmla="*/ 680 w 69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4" h="27">
                    <a:moveTo>
                      <a:pt x="680" y="27"/>
                    </a:moveTo>
                    <a:lnTo>
                      <a:pt x="680" y="27"/>
                    </a:lnTo>
                    <a:lnTo>
                      <a:pt x="14" y="27"/>
                    </a:lnTo>
                    <a:cubicBezTo>
                      <a:pt x="6" y="27"/>
                      <a:pt x="0" y="21"/>
                      <a:pt x="0" y="13"/>
                    </a:cubicBezTo>
                    <a:cubicBezTo>
                      <a:pt x="0" y="6"/>
                      <a:pt x="6" y="0"/>
                      <a:pt x="14" y="0"/>
                    </a:cubicBezTo>
                    <a:lnTo>
                      <a:pt x="680" y="0"/>
                    </a:lnTo>
                    <a:cubicBezTo>
                      <a:pt x="688" y="0"/>
                      <a:pt x="694" y="6"/>
                      <a:pt x="694" y="13"/>
                    </a:cubicBezTo>
                    <a:cubicBezTo>
                      <a:pt x="694" y="21"/>
                      <a:pt x="688" y="27"/>
                      <a:pt x="680"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731" name="Freeform 164">
                <a:extLst>
                  <a:ext uri="{FF2B5EF4-FFF2-40B4-BE49-F238E27FC236}">
                    <a16:creationId xmlns:a16="http://schemas.microsoft.com/office/drawing/2014/main" id="{F07AC845-7D97-43FA-9901-CA3C39B0DE01}"/>
                  </a:ext>
                </a:extLst>
              </p:cNvPr>
              <p:cNvSpPr>
                <a:spLocks/>
              </p:cNvSpPr>
              <p:nvPr/>
            </p:nvSpPr>
            <p:spPr bwMode="auto">
              <a:xfrm>
                <a:off x="5359" y="1307"/>
                <a:ext cx="130" cy="7"/>
              </a:xfrm>
              <a:custGeom>
                <a:avLst/>
                <a:gdLst>
                  <a:gd name="T0" fmla="*/ 480 w 493"/>
                  <a:gd name="T1" fmla="*/ 27 h 27"/>
                  <a:gd name="T2" fmla="*/ 480 w 493"/>
                  <a:gd name="T3" fmla="*/ 27 h 27"/>
                  <a:gd name="T4" fmla="*/ 13 w 493"/>
                  <a:gd name="T5" fmla="*/ 27 h 27"/>
                  <a:gd name="T6" fmla="*/ 0 w 493"/>
                  <a:gd name="T7" fmla="*/ 14 h 27"/>
                  <a:gd name="T8" fmla="*/ 13 w 493"/>
                  <a:gd name="T9" fmla="*/ 0 h 27"/>
                  <a:gd name="T10" fmla="*/ 480 w 493"/>
                  <a:gd name="T11" fmla="*/ 0 h 27"/>
                  <a:gd name="T12" fmla="*/ 493 w 493"/>
                  <a:gd name="T13" fmla="*/ 14 h 27"/>
                  <a:gd name="T14" fmla="*/ 480 w 493"/>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3" h="27">
                    <a:moveTo>
                      <a:pt x="480" y="27"/>
                    </a:moveTo>
                    <a:lnTo>
                      <a:pt x="480" y="27"/>
                    </a:lnTo>
                    <a:lnTo>
                      <a:pt x="13" y="27"/>
                    </a:lnTo>
                    <a:cubicBezTo>
                      <a:pt x="5" y="27"/>
                      <a:pt x="0" y="21"/>
                      <a:pt x="0" y="14"/>
                    </a:cubicBezTo>
                    <a:cubicBezTo>
                      <a:pt x="0" y="6"/>
                      <a:pt x="5" y="0"/>
                      <a:pt x="13" y="0"/>
                    </a:cubicBezTo>
                    <a:lnTo>
                      <a:pt x="480" y="0"/>
                    </a:lnTo>
                    <a:cubicBezTo>
                      <a:pt x="487" y="0"/>
                      <a:pt x="493" y="6"/>
                      <a:pt x="493" y="14"/>
                    </a:cubicBezTo>
                    <a:cubicBezTo>
                      <a:pt x="493" y="21"/>
                      <a:pt x="487" y="27"/>
                      <a:pt x="480"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grpSp>
      </p:grpSp>
      <p:sp>
        <p:nvSpPr>
          <p:cNvPr id="732" name="Isosceles Triangle 731">
            <a:extLst>
              <a:ext uri="{FF2B5EF4-FFF2-40B4-BE49-F238E27FC236}">
                <a16:creationId xmlns:a16="http://schemas.microsoft.com/office/drawing/2014/main" id="{DB5A2F86-F4A7-4DB4-80B5-867C5CEBD70E}"/>
              </a:ext>
            </a:extLst>
          </p:cNvPr>
          <p:cNvSpPr/>
          <p:nvPr/>
        </p:nvSpPr>
        <p:spPr bwMode="auto">
          <a:xfrm flipV="1">
            <a:off x="3688844" y="907532"/>
            <a:ext cx="1396653" cy="956771"/>
          </a:xfrm>
          <a:prstGeom prst="triangle">
            <a:avLst/>
          </a:prstGeom>
          <a:gradFill flip="none" rotWithShape="1">
            <a:gsLst>
              <a:gs pos="0">
                <a:srgbClr val="FFFFFF">
                  <a:lumMod val="50000"/>
                  <a:alpha val="56000"/>
                </a:srgbClr>
              </a:gs>
              <a:gs pos="72000">
                <a:srgbClr val="E6E6E6"/>
              </a:gs>
              <a:gs pos="100000">
                <a:srgbClr val="E6E6E6">
                  <a:alpha val="0"/>
                </a:srgb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r>
              <a:rPr lang="en-US" sz="1765" kern="0">
                <a:gradFill>
                  <a:gsLst>
                    <a:gs pos="0">
                      <a:srgbClr val="FFFFFF"/>
                    </a:gs>
                    <a:gs pos="100000">
                      <a:srgbClr val="FFFFFF"/>
                    </a:gs>
                  </a:gsLst>
                  <a:lin ang="5400000" scaled="0"/>
                </a:gradFill>
                <a:latin typeface="Segoe UI Semilight"/>
                <a:ea typeface="Segoe UI" pitchFamily="34" charset="0"/>
                <a:cs typeface="Segoe UI" pitchFamily="34" charset="0"/>
              </a:rPr>
              <a:t> </a:t>
            </a:r>
          </a:p>
        </p:txBody>
      </p:sp>
      <p:sp>
        <p:nvSpPr>
          <p:cNvPr id="733" name="TextBox 732">
            <a:extLst>
              <a:ext uri="{FF2B5EF4-FFF2-40B4-BE49-F238E27FC236}">
                <a16:creationId xmlns:a16="http://schemas.microsoft.com/office/drawing/2014/main" id="{E93903EE-DC59-4414-8EAE-34602A5517A1}"/>
              </a:ext>
            </a:extLst>
          </p:cNvPr>
          <p:cNvSpPr txBox="1"/>
          <p:nvPr/>
        </p:nvSpPr>
        <p:spPr>
          <a:xfrm>
            <a:off x="1466620" y="1420192"/>
            <a:ext cx="1328120" cy="371897"/>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defTabSz="658793" eaLnBrk="1" fontAlgn="auto" hangingPunct="1">
              <a:spcBef>
                <a:spcPts val="0"/>
              </a:spcBef>
              <a:spcAft>
                <a:spcPts val="0"/>
              </a:spcAft>
              <a:defRPr/>
            </a:pPr>
            <a:r>
              <a:rPr lang="en-US" sz="1009"/>
              <a:t>Employee &amp; Partner</a:t>
            </a:r>
            <a:br>
              <a:rPr lang="en-US" sz="1009"/>
            </a:br>
            <a:r>
              <a:rPr lang="en-US" sz="1009"/>
              <a:t>Users and Roles</a:t>
            </a:r>
          </a:p>
        </p:txBody>
      </p:sp>
      <p:sp>
        <p:nvSpPr>
          <p:cNvPr id="734" name="TextBox 733">
            <a:extLst>
              <a:ext uri="{FF2B5EF4-FFF2-40B4-BE49-F238E27FC236}">
                <a16:creationId xmlns:a16="http://schemas.microsoft.com/office/drawing/2014/main" id="{DD688D07-AC60-4772-946A-0910FE4DB776}"/>
              </a:ext>
            </a:extLst>
          </p:cNvPr>
          <p:cNvSpPr txBox="1"/>
          <p:nvPr/>
        </p:nvSpPr>
        <p:spPr>
          <a:xfrm>
            <a:off x="1262106" y="2048137"/>
            <a:ext cx="1244251" cy="371897"/>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defTabSz="658793" eaLnBrk="1" fontAlgn="auto" hangingPunct="1">
              <a:spcBef>
                <a:spcPts val="0"/>
              </a:spcBef>
              <a:spcAft>
                <a:spcPts val="0"/>
              </a:spcAft>
              <a:defRPr/>
            </a:pPr>
            <a:r>
              <a:rPr lang="en-US" sz="1009"/>
              <a:t>Trusted &amp;</a:t>
            </a:r>
            <a:br>
              <a:rPr lang="en-US" sz="1009"/>
            </a:br>
            <a:r>
              <a:rPr lang="en-US" sz="1009"/>
              <a:t>Compliant Devices</a:t>
            </a:r>
          </a:p>
        </p:txBody>
      </p:sp>
      <p:sp>
        <p:nvSpPr>
          <p:cNvPr id="735" name="TextBox 734">
            <a:extLst>
              <a:ext uri="{FF2B5EF4-FFF2-40B4-BE49-F238E27FC236}">
                <a16:creationId xmlns:a16="http://schemas.microsoft.com/office/drawing/2014/main" id="{72458D68-99C2-4AD9-B801-B71C36715F1B}"/>
              </a:ext>
            </a:extLst>
          </p:cNvPr>
          <p:cNvSpPr txBox="1"/>
          <p:nvPr/>
        </p:nvSpPr>
        <p:spPr>
          <a:xfrm>
            <a:off x="1407801" y="3394167"/>
            <a:ext cx="1081258" cy="371897"/>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defTabSz="658793" eaLnBrk="1" fontAlgn="auto" hangingPunct="1">
              <a:spcBef>
                <a:spcPts val="0"/>
              </a:spcBef>
              <a:spcAft>
                <a:spcPts val="0"/>
              </a:spcAft>
              <a:defRPr/>
            </a:pPr>
            <a:r>
              <a:rPr lang="en-US" sz="1009"/>
              <a:t>Physical &amp;</a:t>
            </a:r>
            <a:br>
              <a:rPr lang="en-US" sz="1009"/>
            </a:br>
            <a:r>
              <a:rPr lang="en-US" sz="1009"/>
              <a:t>Virtual Location</a:t>
            </a:r>
          </a:p>
        </p:txBody>
      </p:sp>
      <p:sp>
        <p:nvSpPr>
          <p:cNvPr id="736" name="TextBox 735">
            <a:extLst>
              <a:ext uri="{FF2B5EF4-FFF2-40B4-BE49-F238E27FC236}">
                <a16:creationId xmlns:a16="http://schemas.microsoft.com/office/drawing/2014/main" id="{197C5D9D-2E49-4906-A427-03C1DB7B810C}"/>
              </a:ext>
            </a:extLst>
          </p:cNvPr>
          <p:cNvSpPr txBox="1"/>
          <p:nvPr/>
        </p:nvSpPr>
        <p:spPr>
          <a:xfrm>
            <a:off x="1757673" y="3986819"/>
            <a:ext cx="958917" cy="371897"/>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r" defTabSz="658793" eaLnBrk="1" fontAlgn="auto" hangingPunct="1">
              <a:spcBef>
                <a:spcPts val="0"/>
              </a:spcBef>
              <a:spcAft>
                <a:spcPts val="0"/>
              </a:spcAft>
              <a:defRPr/>
            </a:pPr>
            <a:r>
              <a:rPr lang="en-US" sz="1009"/>
              <a:t>Client apps &amp;</a:t>
            </a:r>
            <a:br>
              <a:rPr lang="en-US" sz="1009"/>
            </a:br>
            <a:r>
              <a:rPr lang="en-US" sz="1009"/>
              <a:t>Auth Method</a:t>
            </a:r>
          </a:p>
        </p:txBody>
      </p:sp>
      <p:grpSp>
        <p:nvGrpSpPr>
          <p:cNvPr id="737" name="User">
            <a:extLst>
              <a:ext uri="{FF2B5EF4-FFF2-40B4-BE49-F238E27FC236}">
                <a16:creationId xmlns:a16="http://schemas.microsoft.com/office/drawing/2014/main" id="{D5A42E8B-6A2F-4025-9378-E617D6075FAB}"/>
              </a:ext>
            </a:extLst>
          </p:cNvPr>
          <p:cNvGrpSpPr/>
          <p:nvPr/>
        </p:nvGrpSpPr>
        <p:grpSpPr>
          <a:xfrm>
            <a:off x="1443969" y="2538110"/>
            <a:ext cx="739606" cy="739606"/>
            <a:chOff x="458079" y="2826567"/>
            <a:chExt cx="1006058" cy="1006058"/>
          </a:xfrm>
        </p:grpSpPr>
        <p:sp>
          <p:nvSpPr>
            <p:cNvPr id="738" name="Oval 737">
              <a:extLst>
                <a:ext uri="{FF2B5EF4-FFF2-40B4-BE49-F238E27FC236}">
                  <a16:creationId xmlns:a16="http://schemas.microsoft.com/office/drawing/2014/main" id="{A2B5592C-11EF-4447-B230-7E00959967D8}"/>
                </a:ext>
              </a:extLst>
            </p:cNvPr>
            <p:cNvSpPr/>
            <p:nvPr/>
          </p:nvSpPr>
          <p:spPr bwMode="auto">
            <a:xfrm>
              <a:off x="458079" y="2826567"/>
              <a:ext cx="1006058" cy="1006058"/>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02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39" name="Group 738">
              <a:extLst>
                <a:ext uri="{FF2B5EF4-FFF2-40B4-BE49-F238E27FC236}">
                  <a16:creationId xmlns:a16="http://schemas.microsoft.com/office/drawing/2014/main" id="{C88E5334-812A-48CB-A79A-6602866C7276}"/>
                </a:ext>
              </a:extLst>
            </p:cNvPr>
            <p:cNvGrpSpPr/>
            <p:nvPr/>
          </p:nvGrpSpPr>
          <p:grpSpPr>
            <a:xfrm>
              <a:off x="619199" y="3053561"/>
              <a:ext cx="683818" cy="552071"/>
              <a:chOff x="1124660" y="2438555"/>
              <a:chExt cx="1323363" cy="1068399"/>
            </a:xfrm>
          </p:grpSpPr>
          <p:sp>
            <p:nvSpPr>
              <p:cNvPr id="740" name="Freeform 5">
                <a:extLst>
                  <a:ext uri="{FF2B5EF4-FFF2-40B4-BE49-F238E27FC236}">
                    <a16:creationId xmlns:a16="http://schemas.microsoft.com/office/drawing/2014/main" id="{028B96B1-F307-4D2A-864B-6894C68557D9}"/>
                  </a:ext>
                </a:extLst>
              </p:cNvPr>
              <p:cNvSpPr>
                <a:spLocks noEditPoints="1"/>
              </p:cNvSpPr>
              <p:nvPr/>
            </p:nvSpPr>
            <p:spPr bwMode="auto">
              <a:xfrm>
                <a:off x="1610118" y="2948250"/>
                <a:ext cx="837905" cy="55870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5900" tIns="32951" rIns="65900" bIns="32951" numCol="1" anchor="t" anchorCtr="0" compatLnSpc="1">
                <a:prstTxWarp prst="textNoShape">
                  <a:avLst/>
                </a:prstTxWarp>
              </a:bodyPr>
              <a:lstStyle/>
              <a:p>
                <a:pPr defTabSz="658919" eaLnBrk="1" fontAlgn="auto" hangingPunct="1">
                  <a:spcBef>
                    <a:spcPts val="0"/>
                  </a:spcBef>
                  <a:spcAft>
                    <a:spcPts val="0"/>
                  </a:spcAft>
                  <a:defRPr/>
                </a:pPr>
                <a:endParaRPr lang="en-US" sz="1297" kern="0">
                  <a:solidFill>
                    <a:sysClr val="windowText" lastClr="000000"/>
                  </a:solidFill>
                  <a:latin typeface="Segoe UI"/>
                </a:endParaRPr>
              </a:p>
            </p:txBody>
          </p:sp>
          <p:grpSp>
            <p:nvGrpSpPr>
              <p:cNvPr id="741" name="Group 740">
                <a:extLst>
                  <a:ext uri="{FF2B5EF4-FFF2-40B4-BE49-F238E27FC236}">
                    <a16:creationId xmlns:a16="http://schemas.microsoft.com/office/drawing/2014/main" id="{324AF7DF-D41F-492F-A2DC-2D3FC8EAC39F}"/>
                  </a:ext>
                </a:extLst>
              </p:cNvPr>
              <p:cNvGrpSpPr/>
              <p:nvPr/>
            </p:nvGrpSpPr>
            <p:grpSpPr>
              <a:xfrm>
                <a:off x="1124660" y="2438555"/>
                <a:ext cx="593820" cy="706058"/>
                <a:chOff x="6447047" y="5804307"/>
                <a:chExt cx="414034" cy="492291"/>
              </a:xfrm>
            </p:grpSpPr>
            <p:sp>
              <p:nvSpPr>
                <p:cNvPr id="742" name="Freeform 9">
                  <a:extLst>
                    <a:ext uri="{FF2B5EF4-FFF2-40B4-BE49-F238E27FC236}">
                      <a16:creationId xmlns:a16="http://schemas.microsoft.com/office/drawing/2014/main" id="{4C59FC99-C638-4C98-934F-1CD6EF9EEC27}"/>
                    </a:ext>
                  </a:extLst>
                </p:cNvPr>
                <p:cNvSpPr>
                  <a:spLocks/>
                </p:cNvSpPr>
                <p:nvPr/>
              </p:nvSpPr>
              <p:spPr bwMode="auto">
                <a:xfrm>
                  <a:off x="6447047" y="6094541"/>
                  <a:ext cx="414034" cy="202057"/>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61" tIns="34280" rIns="68561" bIns="34280" numCol="1" anchor="t" anchorCtr="0" compatLnSpc="1">
                  <a:prstTxWarp prst="textNoShape">
                    <a:avLst/>
                  </a:prstTxWarp>
                </a:bodyPr>
                <a:lstStyle/>
                <a:p>
                  <a:pPr defTabSz="672161" eaLnBrk="1" fontAlgn="auto" hangingPunct="1">
                    <a:spcBef>
                      <a:spcPts val="0"/>
                    </a:spcBef>
                    <a:spcAft>
                      <a:spcPts val="0"/>
                    </a:spcAft>
                    <a:defRPr/>
                  </a:pPr>
                  <a:endParaRPr lang="en-US" sz="1324" kern="0">
                    <a:solidFill>
                      <a:srgbClr val="353535"/>
                    </a:solidFill>
                    <a:latin typeface="Segoe UI"/>
                  </a:endParaRPr>
                </a:p>
              </p:txBody>
            </p:sp>
            <p:sp>
              <p:nvSpPr>
                <p:cNvPr id="743" name="Oval 742">
                  <a:extLst>
                    <a:ext uri="{FF2B5EF4-FFF2-40B4-BE49-F238E27FC236}">
                      <a16:creationId xmlns:a16="http://schemas.microsoft.com/office/drawing/2014/main" id="{6DE80144-E0A9-4DC5-9C29-99F4EC88B450}"/>
                    </a:ext>
                  </a:extLst>
                </p:cNvPr>
                <p:cNvSpPr>
                  <a:spLocks noChangeArrowheads="1"/>
                </p:cNvSpPr>
                <p:nvPr/>
              </p:nvSpPr>
              <p:spPr bwMode="auto">
                <a:xfrm>
                  <a:off x="6507270" y="5804307"/>
                  <a:ext cx="293587" cy="290228"/>
                </a:xfrm>
                <a:prstGeom prst="ellipse">
                  <a:avLst/>
                </a:prstGeom>
                <a:noFill/>
                <a:ln w="19050" cap="flat">
                  <a:solidFill>
                    <a:srgbClr val="FFFFFF"/>
                  </a:solidFill>
                  <a:prstDash val="solid"/>
                  <a:miter lim="800000"/>
                  <a:headEnd/>
                  <a:tailEnd/>
                </a:ln>
              </p:spPr>
              <p:txBody>
                <a:bodyPr vert="horz" wrap="square" lIns="68561" tIns="34280" rIns="68561" bIns="34280" numCol="1" anchor="t" anchorCtr="0" compatLnSpc="1">
                  <a:prstTxWarp prst="textNoShape">
                    <a:avLst/>
                  </a:prstTxWarp>
                </a:bodyPr>
                <a:lstStyle/>
                <a:p>
                  <a:pPr defTabSz="672161" eaLnBrk="1" fontAlgn="auto" hangingPunct="1">
                    <a:spcBef>
                      <a:spcPts val="0"/>
                    </a:spcBef>
                    <a:spcAft>
                      <a:spcPts val="0"/>
                    </a:spcAft>
                    <a:defRPr/>
                  </a:pPr>
                  <a:endParaRPr lang="en-US" sz="1324" kern="0">
                    <a:solidFill>
                      <a:srgbClr val="353535"/>
                    </a:solidFill>
                    <a:latin typeface="Segoe UI"/>
                  </a:endParaRPr>
                </a:p>
              </p:txBody>
            </p:sp>
          </p:grpSp>
        </p:grpSp>
      </p:grpSp>
      <p:sp>
        <p:nvSpPr>
          <p:cNvPr id="745" name="Conditions">
            <a:extLst>
              <a:ext uri="{FF2B5EF4-FFF2-40B4-BE49-F238E27FC236}">
                <a16:creationId xmlns:a16="http://schemas.microsoft.com/office/drawing/2014/main" id="{267E88CB-D249-4635-A796-9AFD742814D9}"/>
              </a:ext>
            </a:extLst>
          </p:cNvPr>
          <p:cNvSpPr/>
          <p:nvPr/>
        </p:nvSpPr>
        <p:spPr>
          <a:xfrm>
            <a:off x="2451811" y="793394"/>
            <a:ext cx="1175643" cy="331950"/>
          </a:xfrm>
          <a:prstGeom prst="rect">
            <a:avLst/>
          </a:prstGeom>
        </p:spPr>
        <p:txBody>
          <a:bodyPr wrap="none">
            <a:spAutoFit/>
          </a:bodyPr>
          <a:lstStyle/>
          <a:p>
            <a:pPr algn="ctr" defTabSz="658793" eaLnBrk="1" fontAlgn="auto" hangingPunct="1">
              <a:lnSpc>
                <a:spcPct val="90000"/>
              </a:lnSpc>
              <a:spcBef>
                <a:spcPts val="0"/>
              </a:spcBef>
              <a:spcAft>
                <a:spcPts val="0"/>
              </a:spcAft>
              <a:defRPr/>
            </a:pPr>
            <a:r>
              <a:rPr lang="en-US" sz="1730" kern="0" spc="-51">
                <a:solidFill>
                  <a:srgbClr val="353535"/>
                </a:solidFill>
                <a:latin typeface="Segoe UI"/>
                <a:ea typeface="ＭＳ Ｐゴシック" charset="0"/>
                <a:cs typeface="Segoe UI Semibold" panose="020B0702040204020203" pitchFamily="34" charset="0"/>
              </a:rPr>
              <a:t>Conditions</a:t>
            </a:r>
          </a:p>
        </p:txBody>
      </p:sp>
      <p:grpSp>
        <p:nvGrpSpPr>
          <p:cNvPr id="746" name="Group 745">
            <a:extLst>
              <a:ext uri="{FF2B5EF4-FFF2-40B4-BE49-F238E27FC236}">
                <a16:creationId xmlns:a16="http://schemas.microsoft.com/office/drawing/2014/main" id="{0CDCBF53-3035-4775-A5C8-1DC6E6EE403D}"/>
              </a:ext>
            </a:extLst>
          </p:cNvPr>
          <p:cNvGrpSpPr/>
          <p:nvPr/>
        </p:nvGrpSpPr>
        <p:grpSpPr>
          <a:xfrm>
            <a:off x="3033848" y="1465655"/>
            <a:ext cx="2893016" cy="2889182"/>
            <a:chOff x="2873757" y="1463979"/>
            <a:chExt cx="3935261" cy="3930044"/>
          </a:xfrm>
        </p:grpSpPr>
        <p:sp>
          <p:nvSpPr>
            <p:cNvPr id="747" name="Freeform: Shape 746">
              <a:extLst>
                <a:ext uri="{FF2B5EF4-FFF2-40B4-BE49-F238E27FC236}">
                  <a16:creationId xmlns:a16="http://schemas.microsoft.com/office/drawing/2014/main" id="{39BA4B1E-034C-472A-B6AB-CFA5DCAC5644}"/>
                </a:ext>
              </a:extLst>
            </p:cNvPr>
            <p:cNvSpPr/>
            <p:nvPr/>
          </p:nvSpPr>
          <p:spPr bwMode="auto">
            <a:xfrm>
              <a:off x="6080484" y="2489200"/>
              <a:ext cx="728534" cy="1892300"/>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765"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48" name="Oval 747">
              <a:extLst>
                <a:ext uri="{FF2B5EF4-FFF2-40B4-BE49-F238E27FC236}">
                  <a16:creationId xmlns:a16="http://schemas.microsoft.com/office/drawing/2014/main" id="{6610EC9A-B797-40EE-BB27-8F3C49E87A03}"/>
                </a:ext>
              </a:extLst>
            </p:cNvPr>
            <p:cNvSpPr/>
            <p:nvPr/>
          </p:nvSpPr>
          <p:spPr bwMode="auto">
            <a:xfrm>
              <a:off x="2873757" y="1463979"/>
              <a:ext cx="3930268" cy="3930044"/>
            </a:xfrm>
            <a:prstGeom prst="ellipse">
              <a:avLst/>
            </a:prstGeom>
            <a:noFill/>
            <a:ln w="228600" cap="flat" cmpd="sng" algn="ctr">
              <a:solidFill>
                <a:srgbClr val="0078D7"/>
              </a:solidFill>
              <a:prstDash val="solid"/>
              <a:headEnd type="none"/>
              <a:tailEnd type="none"/>
            </a:ln>
            <a:effectLst/>
          </p:spPr>
          <p:txBody>
            <a:bodyPr rot="0" spcFirstLastPara="0" vertOverflow="overflow" horzOverflow="overflow" vert="horz" wrap="square" lIns="129211" tIns="103369" rIns="129211" bIns="103369" numCol="1" spcCol="0" rtlCol="0" fromWordArt="0" anchor="ctr" anchorCtr="0" forceAA="0" compatLnSpc="1">
              <a:prstTxWarp prst="textNoShape">
                <a:avLst/>
              </a:prstTxWarp>
              <a:noAutofit/>
            </a:bodyPr>
            <a:lstStyle/>
            <a:p>
              <a:pPr algn="ctr" defTabSz="658704" eaLnBrk="1" hangingPunct="1">
                <a:lnSpc>
                  <a:spcPct val="90000"/>
                </a:lnSpc>
                <a:defRPr/>
              </a:pPr>
              <a:endParaRPr lang="en-US" sz="1153"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49" name="Oval 748">
              <a:extLst>
                <a:ext uri="{FF2B5EF4-FFF2-40B4-BE49-F238E27FC236}">
                  <a16:creationId xmlns:a16="http://schemas.microsoft.com/office/drawing/2014/main" id="{BAD46A83-FC7F-4128-BF7C-0DE5F9C46E87}"/>
                </a:ext>
              </a:extLst>
            </p:cNvPr>
            <p:cNvSpPr/>
            <p:nvPr/>
          </p:nvSpPr>
          <p:spPr bwMode="auto">
            <a:xfrm>
              <a:off x="5312236" y="2759381"/>
              <a:ext cx="1339238" cy="1339238"/>
            </a:xfrm>
            <a:prstGeom prst="ellipse">
              <a:avLst/>
            </a:prstGeom>
            <a:solidFill>
              <a:srgbClr val="0078D7"/>
            </a:solidFill>
            <a:ln w="19050" cap="rnd" cmpd="sng" algn="ctr">
              <a:solidFill>
                <a:srgbClr val="00B0F0"/>
              </a:solidFill>
              <a:prstDash val="sysDot"/>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028" kern="0">
                <a:gradFill>
                  <a:gsLst>
                    <a:gs pos="0">
                      <a:srgbClr val="FFFFFF"/>
                    </a:gs>
                    <a:gs pos="100000">
                      <a:srgbClr val="FFFFFF"/>
                    </a:gs>
                  </a:gsLst>
                  <a:lin ang="5400000" scaled="0"/>
                </a:gradFill>
                <a:latin typeface="Segoe UI Semilight"/>
                <a:cs typeface="Segoe UI" pitchFamily="34" charset="0"/>
              </a:endParaRPr>
            </a:p>
          </p:txBody>
        </p:sp>
        <p:grpSp>
          <p:nvGrpSpPr>
            <p:cNvPr id="750" name="Group 749">
              <a:extLst>
                <a:ext uri="{FF2B5EF4-FFF2-40B4-BE49-F238E27FC236}">
                  <a16:creationId xmlns:a16="http://schemas.microsoft.com/office/drawing/2014/main" id="{9F5ADC23-22FD-43FC-9B80-989082730359}"/>
                </a:ext>
              </a:extLst>
            </p:cNvPr>
            <p:cNvGrpSpPr/>
            <p:nvPr/>
          </p:nvGrpSpPr>
          <p:grpSpPr>
            <a:xfrm rot="7443536">
              <a:off x="3418347" y="3378043"/>
              <a:ext cx="1407673" cy="1932398"/>
              <a:chOff x="5553745" y="2621551"/>
              <a:chExt cx="1407673" cy="1932398"/>
            </a:xfrm>
          </p:grpSpPr>
          <p:sp>
            <p:nvSpPr>
              <p:cNvPr id="754" name="Freeform: Shape 753">
                <a:extLst>
                  <a:ext uri="{FF2B5EF4-FFF2-40B4-BE49-F238E27FC236}">
                    <a16:creationId xmlns:a16="http://schemas.microsoft.com/office/drawing/2014/main" id="{2A6F5800-68BF-4D30-A006-6898027A9DC9}"/>
                  </a:ext>
                </a:extLst>
              </p:cNvPr>
              <p:cNvSpPr/>
              <p:nvPr/>
            </p:nvSpPr>
            <p:spPr bwMode="auto">
              <a:xfrm>
                <a:off x="6232884" y="2621551"/>
                <a:ext cx="728534" cy="1932398"/>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765"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5" name="Oval 754">
                <a:extLst>
                  <a:ext uri="{FF2B5EF4-FFF2-40B4-BE49-F238E27FC236}">
                    <a16:creationId xmlns:a16="http://schemas.microsoft.com/office/drawing/2014/main" id="{9CE1B58E-D021-46E9-B5D7-1901676A88A3}"/>
                  </a:ext>
                </a:extLst>
              </p:cNvPr>
              <p:cNvSpPr/>
              <p:nvPr/>
            </p:nvSpPr>
            <p:spPr bwMode="auto">
              <a:xfrm>
                <a:off x="5553745" y="2911781"/>
                <a:ext cx="1339238" cy="1339238"/>
              </a:xfrm>
              <a:prstGeom prst="ellipse">
                <a:avLst/>
              </a:prstGeom>
              <a:solidFill>
                <a:srgbClr val="0078D7"/>
              </a:solidFill>
              <a:ln w="19050" cap="rnd" cmpd="sng" algn="ctr">
                <a:solidFill>
                  <a:srgbClr val="00B0F0"/>
                </a:solidFill>
                <a:prstDash val="sysDot"/>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02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751" name="Group 750">
              <a:extLst>
                <a:ext uri="{FF2B5EF4-FFF2-40B4-BE49-F238E27FC236}">
                  <a16:creationId xmlns:a16="http://schemas.microsoft.com/office/drawing/2014/main" id="{D1FC3C2C-D613-4FB5-8CD2-666B51C749FA}"/>
                </a:ext>
              </a:extLst>
            </p:cNvPr>
            <p:cNvGrpSpPr/>
            <p:nvPr/>
          </p:nvGrpSpPr>
          <p:grpSpPr>
            <a:xfrm rot="14861745">
              <a:off x="3691207" y="1366766"/>
              <a:ext cx="1407673" cy="1932398"/>
              <a:chOff x="5553745" y="2621551"/>
              <a:chExt cx="1407673" cy="1932398"/>
            </a:xfrm>
          </p:grpSpPr>
          <p:sp>
            <p:nvSpPr>
              <p:cNvPr id="752" name="Freeform: Shape 751">
                <a:extLst>
                  <a:ext uri="{FF2B5EF4-FFF2-40B4-BE49-F238E27FC236}">
                    <a16:creationId xmlns:a16="http://schemas.microsoft.com/office/drawing/2014/main" id="{1A5AFBEF-2935-4CC4-87A0-4DD96E0DE394}"/>
                  </a:ext>
                </a:extLst>
              </p:cNvPr>
              <p:cNvSpPr/>
              <p:nvPr/>
            </p:nvSpPr>
            <p:spPr bwMode="auto">
              <a:xfrm>
                <a:off x="6232884" y="2621551"/>
                <a:ext cx="728534" cy="1932398"/>
              </a:xfrm>
              <a:custGeom>
                <a:avLst/>
                <a:gdLst>
                  <a:gd name="connsiteX0" fmla="*/ 542325 w 728534"/>
                  <a:gd name="connsiteY0" fmla="*/ 0 h 1932398"/>
                  <a:gd name="connsiteX1" fmla="*/ 567747 w 728534"/>
                  <a:gd name="connsiteY1" fmla="*/ 64118 h 1932398"/>
                  <a:gd name="connsiteX2" fmla="*/ 728534 w 728534"/>
                  <a:gd name="connsiteY2" fmla="*/ 977107 h 1932398"/>
                  <a:gd name="connsiteX3" fmla="*/ 567747 w 728534"/>
                  <a:gd name="connsiteY3" fmla="*/ 1890097 h 1932398"/>
                  <a:gd name="connsiteX4" fmla="*/ 550975 w 728534"/>
                  <a:gd name="connsiteY4" fmla="*/ 1932398 h 1932398"/>
                  <a:gd name="connsiteX5" fmla="*/ 518993 w 728534"/>
                  <a:gd name="connsiteY5" fmla="*/ 1886246 h 1932398"/>
                  <a:gd name="connsiteX6" fmla="*/ 128515 w 728534"/>
                  <a:gd name="connsiteY6" fmla="*/ 1650916 h 1932398"/>
                  <a:gd name="connsiteX7" fmla="*/ 0 w 728534"/>
                  <a:gd name="connsiteY7" fmla="*/ 1637961 h 1932398"/>
                  <a:gd name="connsiteX8" fmla="*/ 0 w 728534"/>
                  <a:gd name="connsiteY8" fmla="*/ 281954 h 1932398"/>
                  <a:gd name="connsiteX9" fmla="*/ 128515 w 728534"/>
                  <a:gd name="connsiteY9" fmla="*/ 268998 h 1932398"/>
                  <a:gd name="connsiteX10" fmla="*/ 518993 w 728534"/>
                  <a:gd name="connsiteY10" fmla="*/ 33669 h 193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8534" h="1932398">
                    <a:moveTo>
                      <a:pt x="542325" y="0"/>
                    </a:moveTo>
                    <a:lnTo>
                      <a:pt x="567747" y="64118"/>
                    </a:lnTo>
                    <a:cubicBezTo>
                      <a:pt x="672844" y="353168"/>
                      <a:pt x="728534" y="661686"/>
                      <a:pt x="728534" y="977107"/>
                    </a:cubicBezTo>
                    <a:cubicBezTo>
                      <a:pt x="728534" y="1292528"/>
                      <a:pt x="672844" y="1601047"/>
                      <a:pt x="567747" y="1890097"/>
                    </a:cubicBezTo>
                    <a:lnTo>
                      <a:pt x="550975" y="1932398"/>
                    </a:lnTo>
                    <a:lnTo>
                      <a:pt x="518993" y="1886246"/>
                    </a:lnTo>
                    <a:cubicBezTo>
                      <a:pt x="421286" y="1767853"/>
                      <a:pt x="284566" y="1682849"/>
                      <a:pt x="128515" y="1650916"/>
                    </a:cubicBezTo>
                    <a:lnTo>
                      <a:pt x="0" y="1637961"/>
                    </a:lnTo>
                    <a:lnTo>
                      <a:pt x="0" y="281954"/>
                    </a:lnTo>
                    <a:lnTo>
                      <a:pt x="128515" y="268998"/>
                    </a:lnTo>
                    <a:cubicBezTo>
                      <a:pt x="284566" y="237066"/>
                      <a:pt x="421286" y="152062"/>
                      <a:pt x="518993" y="33669"/>
                    </a:cubicBez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765"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53" name="Oval 752">
                <a:extLst>
                  <a:ext uri="{FF2B5EF4-FFF2-40B4-BE49-F238E27FC236}">
                    <a16:creationId xmlns:a16="http://schemas.microsoft.com/office/drawing/2014/main" id="{6D353466-7761-4CBA-A705-9D87BBA88EAF}"/>
                  </a:ext>
                </a:extLst>
              </p:cNvPr>
              <p:cNvSpPr/>
              <p:nvPr/>
            </p:nvSpPr>
            <p:spPr bwMode="auto">
              <a:xfrm>
                <a:off x="5553745" y="2911781"/>
                <a:ext cx="1339238" cy="1339238"/>
              </a:xfrm>
              <a:prstGeom prst="ellipse">
                <a:avLst/>
              </a:prstGeom>
              <a:solidFill>
                <a:srgbClr val="0078D7"/>
              </a:solidFill>
              <a:ln w="19050" cap="rnd" cmpd="sng" algn="ctr">
                <a:solidFill>
                  <a:srgbClr val="00B0F0"/>
                </a:solidFill>
                <a:prstDash val="sysDot"/>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028"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grpSp>
        <p:nvGrpSpPr>
          <p:cNvPr id="756" name="Math stuff">
            <a:extLst>
              <a:ext uri="{FF2B5EF4-FFF2-40B4-BE49-F238E27FC236}">
                <a16:creationId xmlns:a16="http://schemas.microsoft.com/office/drawing/2014/main" id="{D90E10CF-12FE-4A5F-BD55-14CBE158C98E}"/>
              </a:ext>
            </a:extLst>
          </p:cNvPr>
          <p:cNvGrpSpPr/>
          <p:nvPr/>
        </p:nvGrpSpPr>
        <p:grpSpPr>
          <a:xfrm>
            <a:off x="3783395" y="1733881"/>
            <a:ext cx="764830" cy="774913"/>
            <a:chOff x="4304659" y="1589541"/>
            <a:chExt cx="1073894" cy="1088052"/>
          </a:xfrm>
        </p:grpSpPr>
        <p:pic>
          <p:nvPicPr>
            <p:cNvPr id="757" name="Picture 756" descr="A picture containing water, rain, nature&#10;&#10;Description generated with high confidence">
              <a:extLst>
                <a:ext uri="{FF2B5EF4-FFF2-40B4-BE49-F238E27FC236}">
                  <a16:creationId xmlns:a16="http://schemas.microsoft.com/office/drawing/2014/main" id="{D3087575-1E70-4BE4-AEDA-5061D9C92274}"/>
                </a:ext>
              </a:extLst>
            </p:cNvPr>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424394" y="1709531"/>
              <a:ext cx="811362" cy="827347"/>
            </a:xfrm>
            <a:prstGeom prst="roundRect">
              <a:avLst>
                <a:gd name="adj" fmla="val 9137"/>
              </a:avLst>
            </a:prstGeom>
            <a:ln w="9525">
              <a:solidFill>
                <a:srgbClr val="353535"/>
              </a:solidFill>
            </a:ln>
          </p:spPr>
        </p:pic>
        <p:sp>
          <p:nvSpPr>
            <p:cNvPr id="758" name="chip">
              <a:extLst>
                <a:ext uri="{FF2B5EF4-FFF2-40B4-BE49-F238E27FC236}">
                  <a16:creationId xmlns:a16="http://schemas.microsoft.com/office/drawing/2014/main" id="{B9110493-75CA-4522-9A04-7FA524490725}"/>
                </a:ext>
              </a:extLst>
            </p:cNvPr>
            <p:cNvSpPr>
              <a:spLocks noChangeAspect="1" noEditPoints="1"/>
            </p:cNvSpPr>
            <p:nvPr/>
          </p:nvSpPr>
          <p:spPr bwMode="auto">
            <a:xfrm>
              <a:off x="4304659" y="1589541"/>
              <a:ext cx="1073894" cy="1088052"/>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952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algn="ctr" defTabSz="672161" eaLnBrk="1" fontAlgn="auto" hangingPunct="1">
                <a:spcBef>
                  <a:spcPts val="0"/>
                </a:spcBef>
                <a:spcAft>
                  <a:spcPts val="0"/>
                </a:spcAft>
                <a:defRPr/>
              </a:pPr>
              <a:endParaRPr lang="en-US" sz="1028" kern="0">
                <a:gradFill>
                  <a:gsLst>
                    <a:gs pos="0">
                      <a:srgbClr val="505050"/>
                    </a:gs>
                    <a:gs pos="100000">
                      <a:srgbClr val="505050"/>
                    </a:gs>
                  </a:gsLst>
                </a:gradFill>
                <a:latin typeface="Segoe UI"/>
              </a:endParaRPr>
            </a:p>
          </p:txBody>
        </p:sp>
        <p:sp>
          <p:nvSpPr>
            <p:cNvPr id="759" name="TextBox 758">
              <a:extLst>
                <a:ext uri="{FF2B5EF4-FFF2-40B4-BE49-F238E27FC236}">
                  <a16:creationId xmlns:a16="http://schemas.microsoft.com/office/drawing/2014/main" id="{5CDBD7F5-B872-48A1-998F-332FFEB7777C}"/>
                </a:ext>
              </a:extLst>
            </p:cNvPr>
            <p:cNvSpPr txBox="1"/>
            <p:nvPr/>
          </p:nvSpPr>
          <p:spPr>
            <a:xfrm>
              <a:off x="4405716" y="1900524"/>
              <a:ext cx="858440" cy="443851"/>
            </a:xfrm>
            <a:prstGeom prst="rect">
              <a:avLst/>
            </a:prstGeom>
            <a:ln w="9525">
              <a:noFill/>
            </a:ln>
          </p:spPr>
          <p:txBody>
            <a:bodyPr wrap="squar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algn="ctr" defTabSz="658793" eaLnBrk="1" fontAlgn="auto" hangingPunct="1">
                <a:spcBef>
                  <a:spcPts val="0"/>
                </a:spcBef>
                <a:spcAft>
                  <a:spcPts val="0"/>
                </a:spcAft>
                <a:defRPr/>
              </a:pPr>
              <a:r>
                <a:rPr lang="en-US" sz="808" dirty="0">
                  <a:solidFill>
                    <a:srgbClr val="FFFFFF"/>
                  </a:solidFill>
                  <a:latin typeface="Segoe UI Semibold"/>
                </a:rPr>
                <a:t>Machine</a:t>
              </a:r>
              <a:br>
                <a:rPr lang="en-US" sz="808" dirty="0">
                  <a:solidFill>
                    <a:srgbClr val="FFFFFF"/>
                  </a:solidFill>
                  <a:latin typeface="Segoe UI Semibold"/>
                </a:rPr>
              </a:br>
              <a:r>
                <a:rPr lang="en-US" sz="808" dirty="0">
                  <a:solidFill>
                    <a:srgbClr val="FFFFFF"/>
                  </a:solidFill>
                  <a:latin typeface="Segoe UI Semibold"/>
                </a:rPr>
                <a:t>learning</a:t>
              </a:r>
            </a:p>
          </p:txBody>
        </p:sp>
      </p:grpSp>
      <p:grpSp>
        <p:nvGrpSpPr>
          <p:cNvPr id="760" name="Group 759">
            <a:extLst>
              <a:ext uri="{FF2B5EF4-FFF2-40B4-BE49-F238E27FC236}">
                <a16:creationId xmlns:a16="http://schemas.microsoft.com/office/drawing/2014/main" id="{4BA6DD12-767E-4A8E-9EBB-5E94006DE576}"/>
              </a:ext>
            </a:extLst>
          </p:cNvPr>
          <p:cNvGrpSpPr/>
          <p:nvPr/>
        </p:nvGrpSpPr>
        <p:grpSpPr>
          <a:xfrm>
            <a:off x="3659334" y="3309690"/>
            <a:ext cx="665992" cy="672832"/>
            <a:chOff x="3725362" y="3896538"/>
            <a:chExt cx="905924" cy="915228"/>
          </a:xfrm>
        </p:grpSpPr>
        <p:grpSp>
          <p:nvGrpSpPr>
            <p:cNvPr id="761" name="Group 760">
              <a:extLst>
                <a:ext uri="{FF2B5EF4-FFF2-40B4-BE49-F238E27FC236}">
                  <a16:creationId xmlns:a16="http://schemas.microsoft.com/office/drawing/2014/main" id="{DD49815A-095B-4A9A-A985-4EC75BF1D34F}"/>
                </a:ext>
              </a:extLst>
            </p:cNvPr>
            <p:cNvGrpSpPr/>
            <p:nvPr/>
          </p:nvGrpSpPr>
          <p:grpSpPr>
            <a:xfrm>
              <a:off x="3725362" y="3896538"/>
              <a:ext cx="790940" cy="602507"/>
              <a:chOff x="4314657" y="4074265"/>
              <a:chExt cx="1059471" cy="807063"/>
            </a:xfrm>
            <a:solidFill>
              <a:srgbClr val="FFFFFF"/>
            </a:solidFill>
          </p:grpSpPr>
          <p:grpSp>
            <p:nvGrpSpPr>
              <p:cNvPr id="763" name="Group 762">
                <a:extLst>
                  <a:ext uri="{FF2B5EF4-FFF2-40B4-BE49-F238E27FC236}">
                    <a16:creationId xmlns:a16="http://schemas.microsoft.com/office/drawing/2014/main" id="{D3206099-D3E7-49FD-88E7-CA1DE043CA44}"/>
                  </a:ext>
                </a:extLst>
              </p:cNvPr>
              <p:cNvGrpSpPr/>
              <p:nvPr/>
            </p:nvGrpSpPr>
            <p:grpSpPr>
              <a:xfrm>
                <a:off x="4816142" y="4074265"/>
                <a:ext cx="557986" cy="539640"/>
                <a:chOff x="9763287" y="5133362"/>
                <a:chExt cx="590975" cy="571545"/>
              </a:xfrm>
              <a:grpFill/>
            </p:grpSpPr>
            <p:sp>
              <p:nvSpPr>
                <p:cNvPr id="796" name="Freeform 212">
                  <a:extLst>
                    <a:ext uri="{FF2B5EF4-FFF2-40B4-BE49-F238E27FC236}">
                      <a16:creationId xmlns:a16="http://schemas.microsoft.com/office/drawing/2014/main" id="{A0EFB338-8203-4A74-A9E5-1CF22CD44BE9}"/>
                    </a:ext>
                  </a:extLst>
                </p:cNvPr>
                <p:cNvSpPr>
                  <a:spLocks/>
                </p:cNvSpPr>
                <p:nvPr/>
              </p:nvSpPr>
              <p:spPr bwMode="auto">
                <a:xfrm>
                  <a:off x="9860434" y="5617475"/>
                  <a:ext cx="87432" cy="87432"/>
                </a:xfrm>
                <a:custGeom>
                  <a:avLst/>
                  <a:gdLst>
                    <a:gd name="T0" fmla="*/ 255 w 268"/>
                    <a:gd name="T1" fmla="*/ 269 h 269"/>
                    <a:gd name="T2" fmla="*/ 255 w 268"/>
                    <a:gd name="T3" fmla="*/ 269 h 269"/>
                    <a:gd name="T4" fmla="*/ 0 w 268"/>
                    <a:gd name="T5" fmla="*/ 13 h 269"/>
                    <a:gd name="T6" fmla="*/ 13 w 268"/>
                    <a:gd name="T7" fmla="*/ 0 h 269"/>
                    <a:gd name="T8" fmla="*/ 27 w 268"/>
                    <a:gd name="T9" fmla="*/ 13 h 269"/>
                    <a:gd name="T10" fmla="*/ 255 w 268"/>
                    <a:gd name="T11" fmla="*/ 242 h 269"/>
                    <a:gd name="T12" fmla="*/ 268 w 268"/>
                    <a:gd name="T13" fmla="*/ 255 h 269"/>
                    <a:gd name="T14" fmla="*/ 255 w 268"/>
                    <a:gd name="T15" fmla="*/ 269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9">
                      <a:moveTo>
                        <a:pt x="255" y="269"/>
                      </a:moveTo>
                      <a:lnTo>
                        <a:pt x="255" y="269"/>
                      </a:lnTo>
                      <a:cubicBezTo>
                        <a:pt x="114" y="269"/>
                        <a:pt x="0" y="154"/>
                        <a:pt x="0" y="13"/>
                      </a:cubicBezTo>
                      <a:cubicBezTo>
                        <a:pt x="0" y="6"/>
                        <a:pt x="6" y="0"/>
                        <a:pt x="13" y="0"/>
                      </a:cubicBezTo>
                      <a:cubicBezTo>
                        <a:pt x="21" y="0"/>
                        <a:pt x="27" y="6"/>
                        <a:pt x="27" y="13"/>
                      </a:cubicBezTo>
                      <a:cubicBezTo>
                        <a:pt x="27" y="139"/>
                        <a:pt x="129" y="242"/>
                        <a:pt x="255" y="242"/>
                      </a:cubicBezTo>
                      <a:cubicBezTo>
                        <a:pt x="262" y="242"/>
                        <a:pt x="268" y="248"/>
                        <a:pt x="268" y="255"/>
                      </a:cubicBezTo>
                      <a:cubicBezTo>
                        <a:pt x="268" y="263"/>
                        <a:pt x="262" y="269"/>
                        <a:pt x="255" y="269"/>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97" name="Freeform 213">
                  <a:extLst>
                    <a:ext uri="{FF2B5EF4-FFF2-40B4-BE49-F238E27FC236}">
                      <a16:creationId xmlns:a16="http://schemas.microsoft.com/office/drawing/2014/main" id="{1E53C59D-3443-44BA-BE50-CB5091438B31}"/>
                    </a:ext>
                  </a:extLst>
                </p:cNvPr>
                <p:cNvSpPr>
                  <a:spLocks noEditPoints="1"/>
                </p:cNvSpPr>
                <p:nvPr/>
              </p:nvSpPr>
              <p:spPr bwMode="auto">
                <a:xfrm>
                  <a:off x="10187494" y="5617475"/>
                  <a:ext cx="166768" cy="87432"/>
                </a:xfrm>
                <a:custGeom>
                  <a:avLst/>
                  <a:gdLst>
                    <a:gd name="T0" fmla="*/ 27 w 510"/>
                    <a:gd name="T1" fmla="*/ 27 h 269"/>
                    <a:gd name="T2" fmla="*/ 27 w 510"/>
                    <a:gd name="T3" fmla="*/ 27 h 269"/>
                    <a:gd name="T4" fmla="*/ 255 w 510"/>
                    <a:gd name="T5" fmla="*/ 242 h 269"/>
                    <a:gd name="T6" fmla="*/ 483 w 510"/>
                    <a:gd name="T7" fmla="*/ 27 h 269"/>
                    <a:gd name="T8" fmla="*/ 27 w 510"/>
                    <a:gd name="T9" fmla="*/ 27 h 269"/>
                    <a:gd name="T10" fmla="*/ 255 w 510"/>
                    <a:gd name="T11" fmla="*/ 269 h 269"/>
                    <a:gd name="T12" fmla="*/ 255 w 510"/>
                    <a:gd name="T13" fmla="*/ 269 h 269"/>
                    <a:gd name="T14" fmla="*/ 0 w 510"/>
                    <a:gd name="T15" fmla="*/ 13 h 269"/>
                    <a:gd name="T16" fmla="*/ 0 w 510"/>
                    <a:gd name="T17" fmla="*/ 0 h 269"/>
                    <a:gd name="T18" fmla="*/ 510 w 510"/>
                    <a:gd name="T19" fmla="*/ 0 h 269"/>
                    <a:gd name="T20" fmla="*/ 510 w 510"/>
                    <a:gd name="T21" fmla="*/ 13 h 269"/>
                    <a:gd name="T22" fmla="*/ 255 w 510"/>
                    <a:gd name="T23"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269">
                      <a:moveTo>
                        <a:pt x="27" y="27"/>
                      </a:moveTo>
                      <a:lnTo>
                        <a:pt x="27" y="27"/>
                      </a:lnTo>
                      <a:cubicBezTo>
                        <a:pt x="34" y="146"/>
                        <a:pt x="134" y="242"/>
                        <a:pt x="255" y="242"/>
                      </a:cubicBezTo>
                      <a:cubicBezTo>
                        <a:pt x="377" y="242"/>
                        <a:pt x="476" y="146"/>
                        <a:pt x="483" y="27"/>
                      </a:cubicBezTo>
                      <a:lnTo>
                        <a:pt x="27" y="27"/>
                      </a:lnTo>
                      <a:close/>
                      <a:moveTo>
                        <a:pt x="255" y="269"/>
                      </a:moveTo>
                      <a:lnTo>
                        <a:pt x="255" y="269"/>
                      </a:lnTo>
                      <a:cubicBezTo>
                        <a:pt x="115" y="269"/>
                        <a:pt x="0" y="154"/>
                        <a:pt x="0" y="13"/>
                      </a:cubicBezTo>
                      <a:lnTo>
                        <a:pt x="0" y="0"/>
                      </a:lnTo>
                      <a:lnTo>
                        <a:pt x="510" y="0"/>
                      </a:lnTo>
                      <a:lnTo>
                        <a:pt x="510" y="13"/>
                      </a:lnTo>
                      <a:cubicBezTo>
                        <a:pt x="510" y="154"/>
                        <a:pt x="396" y="269"/>
                        <a:pt x="255" y="269"/>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98" name="Freeform 214">
                  <a:extLst>
                    <a:ext uri="{FF2B5EF4-FFF2-40B4-BE49-F238E27FC236}">
                      <a16:creationId xmlns:a16="http://schemas.microsoft.com/office/drawing/2014/main" id="{7CABB729-767E-45F1-A544-6D0F6607D058}"/>
                    </a:ext>
                  </a:extLst>
                </p:cNvPr>
                <p:cNvSpPr>
                  <a:spLocks/>
                </p:cNvSpPr>
                <p:nvPr/>
              </p:nvSpPr>
              <p:spPr bwMode="auto">
                <a:xfrm>
                  <a:off x="10187494" y="5212698"/>
                  <a:ext cx="8096" cy="412873"/>
                </a:xfrm>
                <a:custGeom>
                  <a:avLst/>
                  <a:gdLst>
                    <a:gd name="T0" fmla="*/ 14 w 27"/>
                    <a:gd name="T1" fmla="*/ 1260 h 1260"/>
                    <a:gd name="T2" fmla="*/ 14 w 27"/>
                    <a:gd name="T3" fmla="*/ 1260 h 1260"/>
                    <a:gd name="T4" fmla="*/ 0 w 27"/>
                    <a:gd name="T5" fmla="*/ 1246 h 1260"/>
                    <a:gd name="T6" fmla="*/ 0 w 27"/>
                    <a:gd name="T7" fmla="*/ 13 h 1260"/>
                    <a:gd name="T8" fmla="*/ 14 w 27"/>
                    <a:gd name="T9" fmla="*/ 0 h 1260"/>
                    <a:gd name="T10" fmla="*/ 27 w 27"/>
                    <a:gd name="T11" fmla="*/ 13 h 1260"/>
                    <a:gd name="T12" fmla="*/ 27 w 27"/>
                    <a:gd name="T13" fmla="*/ 1246 h 1260"/>
                    <a:gd name="T14" fmla="*/ 14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4" y="1260"/>
                      </a:moveTo>
                      <a:lnTo>
                        <a:pt x="14" y="1260"/>
                      </a:lnTo>
                      <a:cubicBezTo>
                        <a:pt x="6" y="1260"/>
                        <a:pt x="0" y="1254"/>
                        <a:pt x="0" y="1246"/>
                      </a:cubicBezTo>
                      <a:lnTo>
                        <a:pt x="0" y="13"/>
                      </a:lnTo>
                      <a:cubicBezTo>
                        <a:pt x="0" y="6"/>
                        <a:pt x="6" y="0"/>
                        <a:pt x="14" y="0"/>
                      </a:cubicBezTo>
                      <a:cubicBezTo>
                        <a:pt x="21" y="0"/>
                        <a:pt x="27" y="6"/>
                        <a:pt x="27" y="13"/>
                      </a:cubicBezTo>
                      <a:lnTo>
                        <a:pt x="27" y="1246"/>
                      </a:lnTo>
                      <a:cubicBezTo>
                        <a:pt x="27" y="1254"/>
                        <a:pt x="21" y="1260"/>
                        <a:pt x="14" y="1260"/>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99" name="Freeform 215">
                  <a:extLst>
                    <a:ext uri="{FF2B5EF4-FFF2-40B4-BE49-F238E27FC236}">
                      <a16:creationId xmlns:a16="http://schemas.microsoft.com/office/drawing/2014/main" id="{24FA2793-A687-4EFE-9060-85E0CC119E4D}"/>
                    </a:ext>
                  </a:extLst>
                </p:cNvPr>
                <p:cNvSpPr>
                  <a:spLocks/>
                </p:cNvSpPr>
                <p:nvPr/>
              </p:nvSpPr>
              <p:spPr bwMode="auto">
                <a:xfrm>
                  <a:off x="9860434" y="5212698"/>
                  <a:ext cx="8096" cy="412873"/>
                </a:xfrm>
                <a:custGeom>
                  <a:avLst/>
                  <a:gdLst>
                    <a:gd name="T0" fmla="*/ 13 w 27"/>
                    <a:gd name="T1" fmla="*/ 1260 h 1260"/>
                    <a:gd name="T2" fmla="*/ 13 w 27"/>
                    <a:gd name="T3" fmla="*/ 1260 h 1260"/>
                    <a:gd name="T4" fmla="*/ 0 w 27"/>
                    <a:gd name="T5" fmla="*/ 1246 h 1260"/>
                    <a:gd name="T6" fmla="*/ 0 w 27"/>
                    <a:gd name="T7" fmla="*/ 13 h 1260"/>
                    <a:gd name="T8" fmla="*/ 13 w 27"/>
                    <a:gd name="T9" fmla="*/ 0 h 1260"/>
                    <a:gd name="T10" fmla="*/ 27 w 27"/>
                    <a:gd name="T11" fmla="*/ 13 h 1260"/>
                    <a:gd name="T12" fmla="*/ 27 w 27"/>
                    <a:gd name="T13" fmla="*/ 1246 h 1260"/>
                    <a:gd name="T14" fmla="*/ 13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3" y="1260"/>
                      </a:moveTo>
                      <a:lnTo>
                        <a:pt x="13" y="1260"/>
                      </a:lnTo>
                      <a:cubicBezTo>
                        <a:pt x="6" y="1260"/>
                        <a:pt x="0" y="1254"/>
                        <a:pt x="0" y="1246"/>
                      </a:cubicBezTo>
                      <a:lnTo>
                        <a:pt x="0" y="13"/>
                      </a:lnTo>
                      <a:cubicBezTo>
                        <a:pt x="0" y="6"/>
                        <a:pt x="6" y="0"/>
                        <a:pt x="13" y="0"/>
                      </a:cubicBezTo>
                      <a:cubicBezTo>
                        <a:pt x="21" y="0"/>
                        <a:pt x="27" y="6"/>
                        <a:pt x="27" y="13"/>
                      </a:cubicBezTo>
                      <a:lnTo>
                        <a:pt x="27" y="1246"/>
                      </a:lnTo>
                      <a:cubicBezTo>
                        <a:pt x="27" y="1254"/>
                        <a:pt x="21" y="1260"/>
                        <a:pt x="13" y="1260"/>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800" name="Freeform 216">
                  <a:extLst>
                    <a:ext uri="{FF2B5EF4-FFF2-40B4-BE49-F238E27FC236}">
                      <a16:creationId xmlns:a16="http://schemas.microsoft.com/office/drawing/2014/main" id="{336B1ECD-A853-4F69-874B-3D77B8528FB0}"/>
                    </a:ext>
                  </a:extLst>
                </p:cNvPr>
                <p:cNvSpPr>
                  <a:spLocks/>
                </p:cNvSpPr>
                <p:nvPr/>
              </p:nvSpPr>
              <p:spPr bwMode="auto">
                <a:xfrm>
                  <a:off x="9842623" y="5133362"/>
                  <a:ext cx="273630" cy="9715"/>
                </a:xfrm>
                <a:custGeom>
                  <a:avLst/>
                  <a:gdLst>
                    <a:gd name="T0" fmla="*/ 831 w 844"/>
                    <a:gd name="T1" fmla="*/ 27 h 27"/>
                    <a:gd name="T2" fmla="*/ 831 w 844"/>
                    <a:gd name="T3" fmla="*/ 27 h 27"/>
                    <a:gd name="T4" fmla="*/ 14 w 844"/>
                    <a:gd name="T5" fmla="*/ 27 h 27"/>
                    <a:gd name="T6" fmla="*/ 0 w 844"/>
                    <a:gd name="T7" fmla="*/ 13 h 27"/>
                    <a:gd name="T8" fmla="*/ 14 w 844"/>
                    <a:gd name="T9" fmla="*/ 0 h 27"/>
                    <a:gd name="T10" fmla="*/ 831 w 844"/>
                    <a:gd name="T11" fmla="*/ 0 h 27"/>
                    <a:gd name="T12" fmla="*/ 844 w 844"/>
                    <a:gd name="T13" fmla="*/ 13 h 27"/>
                    <a:gd name="T14" fmla="*/ 831 w 8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4" h="27">
                      <a:moveTo>
                        <a:pt x="831" y="27"/>
                      </a:moveTo>
                      <a:lnTo>
                        <a:pt x="831" y="27"/>
                      </a:lnTo>
                      <a:lnTo>
                        <a:pt x="14" y="27"/>
                      </a:lnTo>
                      <a:cubicBezTo>
                        <a:pt x="6" y="27"/>
                        <a:pt x="0" y="21"/>
                        <a:pt x="0" y="13"/>
                      </a:cubicBezTo>
                      <a:cubicBezTo>
                        <a:pt x="0" y="6"/>
                        <a:pt x="6" y="0"/>
                        <a:pt x="14" y="0"/>
                      </a:cubicBezTo>
                      <a:lnTo>
                        <a:pt x="831" y="0"/>
                      </a:lnTo>
                      <a:cubicBezTo>
                        <a:pt x="838" y="0"/>
                        <a:pt x="844" y="6"/>
                        <a:pt x="844" y="13"/>
                      </a:cubicBezTo>
                      <a:cubicBezTo>
                        <a:pt x="844" y="21"/>
                        <a:pt x="838" y="27"/>
                        <a:pt x="831"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801" name="Freeform 217">
                  <a:extLst>
                    <a:ext uri="{FF2B5EF4-FFF2-40B4-BE49-F238E27FC236}">
                      <a16:creationId xmlns:a16="http://schemas.microsoft.com/office/drawing/2014/main" id="{4C19876D-2C0C-4DC8-9ADD-B3E0F9A0C869}"/>
                    </a:ext>
                  </a:extLst>
                </p:cNvPr>
                <p:cNvSpPr>
                  <a:spLocks/>
                </p:cNvSpPr>
                <p:nvPr/>
              </p:nvSpPr>
              <p:spPr bwMode="auto">
                <a:xfrm>
                  <a:off x="9939770" y="5695192"/>
                  <a:ext cx="335156" cy="9715"/>
                </a:xfrm>
                <a:custGeom>
                  <a:avLst/>
                  <a:gdLst>
                    <a:gd name="T0" fmla="*/ 1016 w 1030"/>
                    <a:gd name="T1" fmla="*/ 27 h 27"/>
                    <a:gd name="T2" fmla="*/ 1016 w 1030"/>
                    <a:gd name="T3" fmla="*/ 27 h 27"/>
                    <a:gd name="T4" fmla="*/ 14 w 1030"/>
                    <a:gd name="T5" fmla="*/ 27 h 27"/>
                    <a:gd name="T6" fmla="*/ 0 w 1030"/>
                    <a:gd name="T7" fmla="*/ 13 h 27"/>
                    <a:gd name="T8" fmla="*/ 14 w 1030"/>
                    <a:gd name="T9" fmla="*/ 0 h 27"/>
                    <a:gd name="T10" fmla="*/ 1016 w 1030"/>
                    <a:gd name="T11" fmla="*/ 0 h 27"/>
                    <a:gd name="T12" fmla="*/ 1030 w 1030"/>
                    <a:gd name="T13" fmla="*/ 13 h 27"/>
                    <a:gd name="T14" fmla="*/ 1016 w 1030"/>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27">
                      <a:moveTo>
                        <a:pt x="1016" y="27"/>
                      </a:moveTo>
                      <a:lnTo>
                        <a:pt x="1016" y="27"/>
                      </a:lnTo>
                      <a:lnTo>
                        <a:pt x="14" y="27"/>
                      </a:lnTo>
                      <a:cubicBezTo>
                        <a:pt x="6" y="27"/>
                        <a:pt x="0" y="21"/>
                        <a:pt x="0" y="13"/>
                      </a:cubicBezTo>
                      <a:cubicBezTo>
                        <a:pt x="0" y="6"/>
                        <a:pt x="6" y="0"/>
                        <a:pt x="14" y="0"/>
                      </a:cubicBezTo>
                      <a:lnTo>
                        <a:pt x="1016" y="0"/>
                      </a:lnTo>
                      <a:cubicBezTo>
                        <a:pt x="1024" y="0"/>
                        <a:pt x="1030" y="6"/>
                        <a:pt x="1030" y="13"/>
                      </a:cubicBezTo>
                      <a:cubicBezTo>
                        <a:pt x="1030" y="21"/>
                        <a:pt x="1024" y="27"/>
                        <a:pt x="1016"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802" name="Freeform 218">
                  <a:extLst>
                    <a:ext uri="{FF2B5EF4-FFF2-40B4-BE49-F238E27FC236}">
                      <a16:creationId xmlns:a16="http://schemas.microsoft.com/office/drawing/2014/main" id="{131E1B0C-FA11-45D4-95A0-70429E1325A3}"/>
                    </a:ext>
                  </a:extLst>
                </p:cNvPr>
                <p:cNvSpPr>
                  <a:spLocks/>
                </p:cNvSpPr>
                <p:nvPr/>
              </p:nvSpPr>
              <p:spPr bwMode="auto">
                <a:xfrm>
                  <a:off x="9763287" y="5133362"/>
                  <a:ext cx="432302" cy="89051"/>
                </a:xfrm>
                <a:custGeom>
                  <a:avLst/>
                  <a:gdLst>
                    <a:gd name="T0" fmla="*/ 1314 w 1327"/>
                    <a:gd name="T1" fmla="*/ 269 h 269"/>
                    <a:gd name="T2" fmla="*/ 1314 w 1327"/>
                    <a:gd name="T3" fmla="*/ 269 h 269"/>
                    <a:gd name="T4" fmla="*/ 1300 w 1327"/>
                    <a:gd name="T5" fmla="*/ 255 h 269"/>
                    <a:gd name="T6" fmla="*/ 1072 w 1327"/>
                    <a:gd name="T7" fmla="*/ 27 h 269"/>
                    <a:gd name="T8" fmla="*/ 843 w 1327"/>
                    <a:gd name="T9" fmla="*/ 255 h 269"/>
                    <a:gd name="T10" fmla="*/ 843 w 1327"/>
                    <a:gd name="T11" fmla="*/ 269 h 269"/>
                    <a:gd name="T12" fmla="*/ 0 w 1327"/>
                    <a:gd name="T13" fmla="*/ 269 h 269"/>
                    <a:gd name="T14" fmla="*/ 0 w 1327"/>
                    <a:gd name="T15" fmla="*/ 255 h 269"/>
                    <a:gd name="T16" fmla="*/ 255 w 1327"/>
                    <a:gd name="T17" fmla="*/ 0 h 269"/>
                    <a:gd name="T18" fmla="*/ 268 w 1327"/>
                    <a:gd name="T19" fmla="*/ 13 h 269"/>
                    <a:gd name="T20" fmla="*/ 255 w 1327"/>
                    <a:gd name="T21" fmla="*/ 27 h 269"/>
                    <a:gd name="T22" fmla="*/ 27 w 1327"/>
                    <a:gd name="T23" fmla="*/ 242 h 269"/>
                    <a:gd name="T24" fmla="*/ 817 w 1327"/>
                    <a:gd name="T25" fmla="*/ 242 h 269"/>
                    <a:gd name="T26" fmla="*/ 1072 w 1327"/>
                    <a:gd name="T27" fmla="*/ 0 h 269"/>
                    <a:gd name="T28" fmla="*/ 1327 w 1327"/>
                    <a:gd name="T29" fmla="*/ 255 h 269"/>
                    <a:gd name="T30" fmla="*/ 1314 w 1327"/>
                    <a:gd name="T3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7" h="269">
                      <a:moveTo>
                        <a:pt x="1314" y="269"/>
                      </a:moveTo>
                      <a:lnTo>
                        <a:pt x="1314" y="269"/>
                      </a:lnTo>
                      <a:cubicBezTo>
                        <a:pt x="1306" y="269"/>
                        <a:pt x="1300" y="263"/>
                        <a:pt x="1300" y="255"/>
                      </a:cubicBezTo>
                      <a:cubicBezTo>
                        <a:pt x="1300" y="129"/>
                        <a:pt x="1198" y="27"/>
                        <a:pt x="1072" y="27"/>
                      </a:cubicBezTo>
                      <a:cubicBezTo>
                        <a:pt x="946" y="27"/>
                        <a:pt x="843" y="129"/>
                        <a:pt x="843" y="255"/>
                      </a:cubicBezTo>
                      <a:lnTo>
                        <a:pt x="843" y="269"/>
                      </a:lnTo>
                      <a:lnTo>
                        <a:pt x="0" y="269"/>
                      </a:lnTo>
                      <a:lnTo>
                        <a:pt x="0" y="255"/>
                      </a:lnTo>
                      <a:cubicBezTo>
                        <a:pt x="0" y="115"/>
                        <a:pt x="114" y="0"/>
                        <a:pt x="255" y="0"/>
                      </a:cubicBezTo>
                      <a:cubicBezTo>
                        <a:pt x="262" y="0"/>
                        <a:pt x="268" y="6"/>
                        <a:pt x="268" y="13"/>
                      </a:cubicBezTo>
                      <a:cubicBezTo>
                        <a:pt x="268" y="21"/>
                        <a:pt x="262" y="27"/>
                        <a:pt x="255" y="27"/>
                      </a:cubicBezTo>
                      <a:cubicBezTo>
                        <a:pt x="133" y="27"/>
                        <a:pt x="33" y="122"/>
                        <a:pt x="27" y="242"/>
                      </a:cubicBezTo>
                      <a:lnTo>
                        <a:pt x="817" y="242"/>
                      </a:lnTo>
                      <a:cubicBezTo>
                        <a:pt x="824" y="107"/>
                        <a:pt x="936" y="0"/>
                        <a:pt x="1072" y="0"/>
                      </a:cubicBezTo>
                      <a:cubicBezTo>
                        <a:pt x="1213" y="0"/>
                        <a:pt x="1327" y="115"/>
                        <a:pt x="1327" y="255"/>
                      </a:cubicBezTo>
                      <a:cubicBezTo>
                        <a:pt x="1327" y="263"/>
                        <a:pt x="1321" y="269"/>
                        <a:pt x="1314" y="269"/>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803" name="Freeform 219">
                  <a:extLst>
                    <a:ext uri="{FF2B5EF4-FFF2-40B4-BE49-F238E27FC236}">
                      <a16:creationId xmlns:a16="http://schemas.microsoft.com/office/drawing/2014/main" id="{03217780-F001-4ECF-AF36-BA2C2522EA9D}"/>
                    </a:ext>
                  </a:extLst>
                </p:cNvPr>
                <p:cNvSpPr>
                  <a:spLocks/>
                </p:cNvSpPr>
                <p:nvPr/>
              </p:nvSpPr>
              <p:spPr bwMode="auto">
                <a:xfrm>
                  <a:off x="9920341" y="5266129"/>
                  <a:ext cx="221818" cy="9715"/>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804" name="Freeform 220">
                  <a:extLst>
                    <a:ext uri="{FF2B5EF4-FFF2-40B4-BE49-F238E27FC236}">
                      <a16:creationId xmlns:a16="http://schemas.microsoft.com/office/drawing/2014/main" id="{3C63A011-682A-4A17-8910-F3F1BD2AB05D}"/>
                    </a:ext>
                  </a:extLst>
                </p:cNvPr>
                <p:cNvSpPr>
                  <a:spLocks/>
                </p:cNvSpPr>
                <p:nvPr/>
              </p:nvSpPr>
              <p:spPr bwMode="auto">
                <a:xfrm>
                  <a:off x="9920341" y="5314702"/>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805" name="Freeform 221">
                  <a:extLst>
                    <a:ext uri="{FF2B5EF4-FFF2-40B4-BE49-F238E27FC236}">
                      <a16:creationId xmlns:a16="http://schemas.microsoft.com/office/drawing/2014/main" id="{1370ECAB-46BD-494B-9A29-B5881BAF2685}"/>
                    </a:ext>
                  </a:extLst>
                </p:cNvPr>
                <p:cNvSpPr>
                  <a:spLocks/>
                </p:cNvSpPr>
                <p:nvPr/>
              </p:nvSpPr>
              <p:spPr bwMode="auto">
                <a:xfrm>
                  <a:off x="9920341" y="5364894"/>
                  <a:ext cx="221818" cy="8096"/>
                </a:xfrm>
                <a:custGeom>
                  <a:avLst/>
                  <a:gdLst>
                    <a:gd name="T0" fmla="*/ 665 w 678"/>
                    <a:gd name="T1" fmla="*/ 26 h 26"/>
                    <a:gd name="T2" fmla="*/ 665 w 678"/>
                    <a:gd name="T3" fmla="*/ 26 h 26"/>
                    <a:gd name="T4" fmla="*/ 13 w 678"/>
                    <a:gd name="T5" fmla="*/ 26 h 26"/>
                    <a:gd name="T6" fmla="*/ 0 w 678"/>
                    <a:gd name="T7" fmla="*/ 13 h 26"/>
                    <a:gd name="T8" fmla="*/ 13 w 678"/>
                    <a:gd name="T9" fmla="*/ 0 h 26"/>
                    <a:gd name="T10" fmla="*/ 665 w 678"/>
                    <a:gd name="T11" fmla="*/ 0 h 26"/>
                    <a:gd name="T12" fmla="*/ 678 w 678"/>
                    <a:gd name="T13" fmla="*/ 13 h 26"/>
                    <a:gd name="T14" fmla="*/ 665 w 67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6">
                      <a:moveTo>
                        <a:pt x="665" y="26"/>
                      </a:moveTo>
                      <a:lnTo>
                        <a:pt x="665" y="26"/>
                      </a:lnTo>
                      <a:lnTo>
                        <a:pt x="13" y="26"/>
                      </a:lnTo>
                      <a:cubicBezTo>
                        <a:pt x="6" y="26"/>
                        <a:pt x="0" y="20"/>
                        <a:pt x="0" y="13"/>
                      </a:cubicBezTo>
                      <a:cubicBezTo>
                        <a:pt x="0" y="6"/>
                        <a:pt x="6" y="0"/>
                        <a:pt x="13" y="0"/>
                      </a:cubicBezTo>
                      <a:lnTo>
                        <a:pt x="665" y="0"/>
                      </a:lnTo>
                      <a:cubicBezTo>
                        <a:pt x="672" y="0"/>
                        <a:pt x="678" y="6"/>
                        <a:pt x="678" y="13"/>
                      </a:cubicBezTo>
                      <a:cubicBezTo>
                        <a:pt x="678" y="20"/>
                        <a:pt x="672" y="26"/>
                        <a:pt x="665" y="26"/>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806" name="Freeform 222">
                  <a:extLst>
                    <a:ext uri="{FF2B5EF4-FFF2-40B4-BE49-F238E27FC236}">
                      <a16:creationId xmlns:a16="http://schemas.microsoft.com/office/drawing/2014/main" id="{49B37F05-9871-42C5-90F5-AACD35776812}"/>
                    </a:ext>
                  </a:extLst>
                </p:cNvPr>
                <p:cNvSpPr>
                  <a:spLocks/>
                </p:cNvSpPr>
                <p:nvPr/>
              </p:nvSpPr>
              <p:spPr bwMode="auto">
                <a:xfrm>
                  <a:off x="9920341" y="5413468"/>
                  <a:ext cx="221818" cy="8096"/>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807" name="Freeform 223">
                  <a:extLst>
                    <a:ext uri="{FF2B5EF4-FFF2-40B4-BE49-F238E27FC236}">
                      <a16:creationId xmlns:a16="http://schemas.microsoft.com/office/drawing/2014/main" id="{856B9919-454D-4361-8FE3-EBD39E493802}"/>
                    </a:ext>
                  </a:extLst>
                </p:cNvPr>
                <p:cNvSpPr>
                  <a:spLocks/>
                </p:cNvSpPr>
                <p:nvPr/>
              </p:nvSpPr>
              <p:spPr bwMode="auto">
                <a:xfrm>
                  <a:off x="9920341" y="5462041"/>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808" name="Freeform 224">
                  <a:extLst>
                    <a:ext uri="{FF2B5EF4-FFF2-40B4-BE49-F238E27FC236}">
                      <a16:creationId xmlns:a16="http://schemas.microsoft.com/office/drawing/2014/main" id="{142D952B-DA4D-4FD0-8ADC-F5B300EDA7B6}"/>
                    </a:ext>
                  </a:extLst>
                </p:cNvPr>
                <p:cNvSpPr>
                  <a:spLocks/>
                </p:cNvSpPr>
                <p:nvPr/>
              </p:nvSpPr>
              <p:spPr bwMode="auto">
                <a:xfrm>
                  <a:off x="9920340" y="5518710"/>
                  <a:ext cx="219456" cy="9715"/>
                </a:xfrm>
                <a:custGeom>
                  <a:avLst/>
                  <a:gdLst>
                    <a:gd name="T0" fmla="*/ 330 w 344"/>
                    <a:gd name="T1" fmla="*/ 27 h 27"/>
                    <a:gd name="T2" fmla="*/ 330 w 344"/>
                    <a:gd name="T3" fmla="*/ 27 h 27"/>
                    <a:gd name="T4" fmla="*/ 13 w 344"/>
                    <a:gd name="T5" fmla="*/ 27 h 27"/>
                    <a:gd name="T6" fmla="*/ 0 w 344"/>
                    <a:gd name="T7" fmla="*/ 14 h 27"/>
                    <a:gd name="T8" fmla="*/ 13 w 344"/>
                    <a:gd name="T9" fmla="*/ 0 h 27"/>
                    <a:gd name="T10" fmla="*/ 330 w 344"/>
                    <a:gd name="T11" fmla="*/ 0 h 27"/>
                    <a:gd name="T12" fmla="*/ 344 w 344"/>
                    <a:gd name="T13" fmla="*/ 14 h 27"/>
                    <a:gd name="T14" fmla="*/ 330 w 3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7">
                      <a:moveTo>
                        <a:pt x="330" y="27"/>
                      </a:moveTo>
                      <a:lnTo>
                        <a:pt x="330" y="27"/>
                      </a:lnTo>
                      <a:lnTo>
                        <a:pt x="13" y="27"/>
                      </a:lnTo>
                      <a:cubicBezTo>
                        <a:pt x="6" y="27"/>
                        <a:pt x="0" y="21"/>
                        <a:pt x="0" y="14"/>
                      </a:cubicBezTo>
                      <a:cubicBezTo>
                        <a:pt x="0" y="6"/>
                        <a:pt x="6" y="0"/>
                        <a:pt x="13" y="0"/>
                      </a:cubicBezTo>
                      <a:lnTo>
                        <a:pt x="330" y="0"/>
                      </a:lnTo>
                      <a:cubicBezTo>
                        <a:pt x="338" y="0"/>
                        <a:pt x="344" y="6"/>
                        <a:pt x="344" y="14"/>
                      </a:cubicBezTo>
                      <a:cubicBezTo>
                        <a:pt x="344" y="21"/>
                        <a:pt x="338" y="27"/>
                        <a:pt x="330"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grpSp>
          <p:grpSp>
            <p:nvGrpSpPr>
              <p:cNvPr id="764" name="Group 763">
                <a:extLst>
                  <a:ext uri="{FF2B5EF4-FFF2-40B4-BE49-F238E27FC236}">
                    <a16:creationId xmlns:a16="http://schemas.microsoft.com/office/drawing/2014/main" id="{62A81BBC-28C5-426C-9368-E325076B768F}"/>
                  </a:ext>
                </a:extLst>
              </p:cNvPr>
              <p:cNvGrpSpPr/>
              <p:nvPr/>
            </p:nvGrpSpPr>
            <p:grpSpPr>
              <a:xfrm>
                <a:off x="4565401" y="4207980"/>
                <a:ext cx="557986" cy="539640"/>
                <a:chOff x="4212581" y="4384439"/>
                <a:chExt cx="590975" cy="571545"/>
              </a:xfrm>
              <a:grpFill/>
            </p:grpSpPr>
            <p:sp>
              <p:nvSpPr>
                <p:cNvPr id="781" name="Rectangle: Top Corners Rounded 780">
                  <a:extLst>
                    <a:ext uri="{FF2B5EF4-FFF2-40B4-BE49-F238E27FC236}">
                      <a16:creationId xmlns:a16="http://schemas.microsoft.com/office/drawing/2014/main" id="{1B42C5B5-D931-4333-A3FA-BD90F0078F5B}"/>
                    </a:ext>
                  </a:extLst>
                </p:cNvPr>
                <p:cNvSpPr/>
                <p:nvPr/>
              </p:nvSpPr>
              <p:spPr bwMode="auto">
                <a:xfrm>
                  <a:off x="4317350" y="4394156"/>
                  <a:ext cx="319438" cy="493088"/>
                </a:xfrm>
                <a:prstGeom prst="round2SameRect">
                  <a:avLst>
                    <a:gd name="adj1" fmla="val 22258"/>
                    <a:gd name="adj2" fmla="val 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765"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82" name="Group 781">
                  <a:extLst>
                    <a:ext uri="{FF2B5EF4-FFF2-40B4-BE49-F238E27FC236}">
                      <a16:creationId xmlns:a16="http://schemas.microsoft.com/office/drawing/2014/main" id="{69D1DC1F-6617-47FE-80C1-350DE6EC7A86}"/>
                    </a:ext>
                  </a:extLst>
                </p:cNvPr>
                <p:cNvGrpSpPr/>
                <p:nvPr/>
              </p:nvGrpSpPr>
              <p:grpSpPr>
                <a:xfrm>
                  <a:off x="4212581" y="4384439"/>
                  <a:ext cx="590975" cy="571545"/>
                  <a:chOff x="9763287" y="5133362"/>
                  <a:chExt cx="590975" cy="571545"/>
                </a:xfrm>
                <a:grpFill/>
              </p:grpSpPr>
              <p:sp>
                <p:nvSpPr>
                  <p:cNvPr id="783" name="Freeform 212">
                    <a:extLst>
                      <a:ext uri="{FF2B5EF4-FFF2-40B4-BE49-F238E27FC236}">
                        <a16:creationId xmlns:a16="http://schemas.microsoft.com/office/drawing/2014/main" id="{5C933840-2C62-40B7-9702-7AE63B9509B0}"/>
                      </a:ext>
                    </a:extLst>
                  </p:cNvPr>
                  <p:cNvSpPr>
                    <a:spLocks/>
                  </p:cNvSpPr>
                  <p:nvPr/>
                </p:nvSpPr>
                <p:spPr bwMode="auto">
                  <a:xfrm>
                    <a:off x="9860434" y="5617475"/>
                    <a:ext cx="87432" cy="87432"/>
                  </a:xfrm>
                  <a:custGeom>
                    <a:avLst/>
                    <a:gdLst>
                      <a:gd name="T0" fmla="*/ 255 w 268"/>
                      <a:gd name="T1" fmla="*/ 269 h 269"/>
                      <a:gd name="T2" fmla="*/ 255 w 268"/>
                      <a:gd name="T3" fmla="*/ 269 h 269"/>
                      <a:gd name="T4" fmla="*/ 0 w 268"/>
                      <a:gd name="T5" fmla="*/ 13 h 269"/>
                      <a:gd name="T6" fmla="*/ 13 w 268"/>
                      <a:gd name="T7" fmla="*/ 0 h 269"/>
                      <a:gd name="T8" fmla="*/ 27 w 268"/>
                      <a:gd name="T9" fmla="*/ 13 h 269"/>
                      <a:gd name="T10" fmla="*/ 255 w 268"/>
                      <a:gd name="T11" fmla="*/ 242 h 269"/>
                      <a:gd name="T12" fmla="*/ 268 w 268"/>
                      <a:gd name="T13" fmla="*/ 255 h 269"/>
                      <a:gd name="T14" fmla="*/ 255 w 268"/>
                      <a:gd name="T15" fmla="*/ 269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9">
                        <a:moveTo>
                          <a:pt x="255" y="269"/>
                        </a:moveTo>
                        <a:lnTo>
                          <a:pt x="255" y="269"/>
                        </a:lnTo>
                        <a:cubicBezTo>
                          <a:pt x="114" y="269"/>
                          <a:pt x="0" y="154"/>
                          <a:pt x="0" y="13"/>
                        </a:cubicBezTo>
                        <a:cubicBezTo>
                          <a:pt x="0" y="6"/>
                          <a:pt x="6" y="0"/>
                          <a:pt x="13" y="0"/>
                        </a:cubicBezTo>
                        <a:cubicBezTo>
                          <a:pt x="21" y="0"/>
                          <a:pt x="27" y="6"/>
                          <a:pt x="27" y="13"/>
                        </a:cubicBezTo>
                        <a:cubicBezTo>
                          <a:pt x="27" y="139"/>
                          <a:pt x="129" y="242"/>
                          <a:pt x="255" y="242"/>
                        </a:cubicBezTo>
                        <a:cubicBezTo>
                          <a:pt x="262" y="242"/>
                          <a:pt x="268" y="248"/>
                          <a:pt x="268" y="255"/>
                        </a:cubicBezTo>
                        <a:cubicBezTo>
                          <a:pt x="268" y="263"/>
                          <a:pt x="262" y="269"/>
                          <a:pt x="255" y="269"/>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84" name="Freeform 213">
                    <a:extLst>
                      <a:ext uri="{FF2B5EF4-FFF2-40B4-BE49-F238E27FC236}">
                        <a16:creationId xmlns:a16="http://schemas.microsoft.com/office/drawing/2014/main" id="{CDC104BD-18E2-4DA6-A61D-EA586DB02817}"/>
                      </a:ext>
                    </a:extLst>
                  </p:cNvPr>
                  <p:cNvSpPr>
                    <a:spLocks noEditPoints="1"/>
                  </p:cNvSpPr>
                  <p:nvPr/>
                </p:nvSpPr>
                <p:spPr bwMode="auto">
                  <a:xfrm>
                    <a:off x="10187494" y="5617475"/>
                    <a:ext cx="166768" cy="87432"/>
                  </a:xfrm>
                  <a:custGeom>
                    <a:avLst/>
                    <a:gdLst>
                      <a:gd name="T0" fmla="*/ 27 w 510"/>
                      <a:gd name="T1" fmla="*/ 27 h 269"/>
                      <a:gd name="T2" fmla="*/ 27 w 510"/>
                      <a:gd name="T3" fmla="*/ 27 h 269"/>
                      <a:gd name="T4" fmla="*/ 255 w 510"/>
                      <a:gd name="T5" fmla="*/ 242 h 269"/>
                      <a:gd name="T6" fmla="*/ 483 w 510"/>
                      <a:gd name="T7" fmla="*/ 27 h 269"/>
                      <a:gd name="T8" fmla="*/ 27 w 510"/>
                      <a:gd name="T9" fmla="*/ 27 h 269"/>
                      <a:gd name="T10" fmla="*/ 255 w 510"/>
                      <a:gd name="T11" fmla="*/ 269 h 269"/>
                      <a:gd name="T12" fmla="*/ 255 w 510"/>
                      <a:gd name="T13" fmla="*/ 269 h 269"/>
                      <a:gd name="T14" fmla="*/ 0 w 510"/>
                      <a:gd name="T15" fmla="*/ 13 h 269"/>
                      <a:gd name="T16" fmla="*/ 0 w 510"/>
                      <a:gd name="T17" fmla="*/ 0 h 269"/>
                      <a:gd name="T18" fmla="*/ 510 w 510"/>
                      <a:gd name="T19" fmla="*/ 0 h 269"/>
                      <a:gd name="T20" fmla="*/ 510 w 510"/>
                      <a:gd name="T21" fmla="*/ 13 h 269"/>
                      <a:gd name="T22" fmla="*/ 255 w 510"/>
                      <a:gd name="T23"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269">
                        <a:moveTo>
                          <a:pt x="27" y="27"/>
                        </a:moveTo>
                        <a:lnTo>
                          <a:pt x="27" y="27"/>
                        </a:lnTo>
                        <a:cubicBezTo>
                          <a:pt x="34" y="146"/>
                          <a:pt x="134" y="242"/>
                          <a:pt x="255" y="242"/>
                        </a:cubicBezTo>
                        <a:cubicBezTo>
                          <a:pt x="377" y="242"/>
                          <a:pt x="476" y="146"/>
                          <a:pt x="483" y="27"/>
                        </a:cubicBezTo>
                        <a:lnTo>
                          <a:pt x="27" y="27"/>
                        </a:lnTo>
                        <a:close/>
                        <a:moveTo>
                          <a:pt x="255" y="269"/>
                        </a:moveTo>
                        <a:lnTo>
                          <a:pt x="255" y="269"/>
                        </a:lnTo>
                        <a:cubicBezTo>
                          <a:pt x="115" y="269"/>
                          <a:pt x="0" y="154"/>
                          <a:pt x="0" y="13"/>
                        </a:cubicBezTo>
                        <a:lnTo>
                          <a:pt x="0" y="0"/>
                        </a:lnTo>
                        <a:lnTo>
                          <a:pt x="510" y="0"/>
                        </a:lnTo>
                        <a:lnTo>
                          <a:pt x="510" y="13"/>
                        </a:lnTo>
                        <a:cubicBezTo>
                          <a:pt x="510" y="154"/>
                          <a:pt x="396" y="269"/>
                          <a:pt x="255" y="269"/>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85" name="Freeform 214">
                    <a:extLst>
                      <a:ext uri="{FF2B5EF4-FFF2-40B4-BE49-F238E27FC236}">
                        <a16:creationId xmlns:a16="http://schemas.microsoft.com/office/drawing/2014/main" id="{1C236A29-339E-4516-9537-0014E5C3E500}"/>
                      </a:ext>
                    </a:extLst>
                  </p:cNvPr>
                  <p:cNvSpPr>
                    <a:spLocks/>
                  </p:cNvSpPr>
                  <p:nvPr/>
                </p:nvSpPr>
                <p:spPr bwMode="auto">
                  <a:xfrm>
                    <a:off x="10187494" y="5212698"/>
                    <a:ext cx="8096" cy="412873"/>
                  </a:xfrm>
                  <a:custGeom>
                    <a:avLst/>
                    <a:gdLst>
                      <a:gd name="T0" fmla="*/ 14 w 27"/>
                      <a:gd name="T1" fmla="*/ 1260 h 1260"/>
                      <a:gd name="T2" fmla="*/ 14 w 27"/>
                      <a:gd name="T3" fmla="*/ 1260 h 1260"/>
                      <a:gd name="T4" fmla="*/ 0 w 27"/>
                      <a:gd name="T5" fmla="*/ 1246 h 1260"/>
                      <a:gd name="T6" fmla="*/ 0 w 27"/>
                      <a:gd name="T7" fmla="*/ 13 h 1260"/>
                      <a:gd name="T8" fmla="*/ 14 w 27"/>
                      <a:gd name="T9" fmla="*/ 0 h 1260"/>
                      <a:gd name="T10" fmla="*/ 27 w 27"/>
                      <a:gd name="T11" fmla="*/ 13 h 1260"/>
                      <a:gd name="T12" fmla="*/ 27 w 27"/>
                      <a:gd name="T13" fmla="*/ 1246 h 1260"/>
                      <a:gd name="T14" fmla="*/ 14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4" y="1260"/>
                        </a:moveTo>
                        <a:lnTo>
                          <a:pt x="14" y="1260"/>
                        </a:lnTo>
                        <a:cubicBezTo>
                          <a:pt x="6" y="1260"/>
                          <a:pt x="0" y="1254"/>
                          <a:pt x="0" y="1246"/>
                        </a:cubicBezTo>
                        <a:lnTo>
                          <a:pt x="0" y="13"/>
                        </a:lnTo>
                        <a:cubicBezTo>
                          <a:pt x="0" y="6"/>
                          <a:pt x="6" y="0"/>
                          <a:pt x="14" y="0"/>
                        </a:cubicBezTo>
                        <a:cubicBezTo>
                          <a:pt x="21" y="0"/>
                          <a:pt x="27" y="6"/>
                          <a:pt x="27" y="13"/>
                        </a:cubicBezTo>
                        <a:lnTo>
                          <a:pt x="27" y="1246"/>
                        </a:lnTo>
                        <a:cubicBezTo>
                          <a:pt x="27" y="1254"/>
                          <a:pt x="21" y="1260"/>
                          <a:pt x="14" y="1260"/>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86" name="Freeform 215">
                    <a:extLst>
                      <a:ext uri="{FF2B5EF4-FFF2-40B4-BE49-F238E27FC236}">
                        <a16:creationId xmlns:a16="http://schemas.microsoft.com/office/drawing/2014/main" id="{C99FAEC5-1309-41DE-8450-36B6AC3BFBBD}"/>
                      </a:ext>
                    </a:extLst>
                  </p:cNvPr>
                  <p:cNvSpPr>
                    <a:spLocks/>
                  </p:cNvSpPr>
                  <p:nvPr/>
                </p:nvSpPr>
                <p:spPr bwMode="auto">
                  <a:xfrm>
                    <a:off x="9860434" y="5212698"/>
                    <a:ext cx="8096" cy="412873"/>
                  </a:xfrm>
                  <a:custGeom>
                    <a:avLst/>
                    <a:gdLst>
                      <a:gd name="T0" fmla="*/ 13 w 27"/>
                      <a:gd name="T1" fmla="*/ 1260 h 1260"/>
                      <a:gd name="T2" fmla="*/ 13 w 27"/>
                      <a:gd name="T3" fmla="*/ 1260 h 1260"/>
                      <a:gd name="T4" fmla="*/ 0 w 27"/>
                      <a:gd name="T5" fmla="*/ 1246 h 1260"/>
                      <a:gd name="T6" fmla="*/ 0 w 27"/>
                      <a:gd name="T7" fmla="*/ 13 h 1260"/>
                      <a:gd name="T8" fmla="*/ 13 w 27"/>
                      <a:gd name="T9" fmla="*/ 0 h 1260"/>
                      <a:gd name="T10" fmla="*/ 27 w 27"/>
                      <a:gd name="T11" fmla="*/ 13 h 1260"/>
                      <a:gd name="T12" fmla="*/ 27 w 27"/>
                      <a:gd name="T13" fmla="*/ 1246 h 1260"/>
                      <a:gd name="T14" fmla="*/ 13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3" y="1260"/>
                        </a:moveTo>
                        <a:lnTo>
                          <a:pt x="13" y="1260"/>
                        </a:lnTo>
                        <a:cubicBezTo>
                          <a:pt x="6" y="1260"/>
                          <a:pt x="0" y="1254"/>
                          <a:pt x="0" y="1246"/>
                        </a:cubicBezTo>
                        <a:lnTo>
                          <a:pt x="0" y="13"/>
                        </a:lnTo>
                        <a:cubicBezTo>
                          <a:pt x="0" y="6"/>
                          <a:pt x="6" y="0"/>
                          <a:pt x="13" y="0"/>
                        </a:cubicBezTo>
                        <a:cubicBezTo>
                          <a:pt x="21" y="0"/>
                          <a:pt x="27" y="6"/>
                          <a:pt x="27" y="13"/>
                        </a:cubicBezTo>
                        <a:lnTo>
                          <a:pt x="27" y="1246"/>
                        </a:lnTo>
                        <a:cubicBezTo>
                          <a:pt x="27" y="1254"/>
                          <a:pt x="21" y="1260"/>
                          <a:pt x="13" y="1260"/>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87" name="Freeform 216">
                    <a:extLst>
                      <a:ext uri="{FF2B5EF4-FFF2-40B4-BE49-F238E27FC236}">
                        <a16:creationId xmlns:a16="http://schemas.microsoft.com/office/drawing/2014/main" id="{003B7CDE-07C6-44D2-A857-52E4A37A1C30}"/>
                      </a:ext>
                    </a:extLst>
                  </p:cNvPr>
                  <p:cNvSpPr>
                    <a:spLocks/>
                  </p:cNvSpPr>
                  <p:nvPr/>
                </p:nvSpPr>
                <p:spPr bwMode="auto">
                  <a:xfrm>
                    <a:off x="9842623" y="5133362"/>
                    <a:ext cx="273630" cy="9715"/>
                  </a:xfrm>
                  <a:custGeom>
                    <a:avLst/>
                    <a:gdLst>
                      <a:gd name="T0" fmla="*/ 831 w 844"/>
                      <a:gd name="T1" fmla="*/ 27 h 27"/>
                      <a:gd name="T2" fmla="*/ 831 w 844"/>
                      <a:gd name="T3" fmla="*/ 27 h 27"/>
                      <a:gd name="T4" fmla="*/ 14 w 844"/>
                      <a:gd name="T5" fmla="*/ 27 h 27"/>
                      <a:gd name="T6" fmla="*/ 0 w 844"/>
                      <a:gd name="T7" fmla="*/ 13 h 27"/>
                      <a:gd name="T8" fmla="*/ 14 w 844"/>
                      <a:gd name="T9" fmla="*/ 0 h 27"/>
                      <a:gd name="T10" fmla="*/ 831 w 844"/>
                      <a:gd name="T11" fmla="*/ 0 h 27"/>
                      <a:gd name="T12" fmla="*/ 844 w 844"/>
                      <a:gd name="T13" fmla="*/ 13 h 27"/>
                      <a:gd name="T14" fmla="*/ 831 w 8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4" h="27">
                        <a:moveTo>
                          <a:pt x="831" y="27"/>
                        </a:moveTo>
                        <a:lnTo>
                          <a:pt x="831" y="27"/>
                        </a:lnTo>
                        <a:lnTo>
                          <a:pt x="14" y="27"/>
                        </a:lnTo>
                        <a:cubicBezTo>
                          <a:pt x="6" y="27"/>
                          <a:pt x="0" y="21"/>
                          <a:pt x="0" y="13"/>
                        </a:cubicBezTo>
                        <a:cubicBezTo>
                          <a:pt x="0" y="6"/>
                          <a:pt x="6" y="0"/>
                          <a:pt x="14" y="0"/>
                        </a:cubicBezTo>
                        <a:lnTo>
                          <a:pt x="831" y="0"/>
                        </a:lnTo>
                        <a:cubicBezTo>
                          <a:pt x="838" y="0"/>
                          <a:pt x="844" y="6"/>
                          <a:pt x="844" y="13"/>
                        </a:cubicBezTo>
                        <a:cubicBezTo>
                          <a:pt x="844" y="21"/>
                          <a:pt x="838" y="27"/>
                          <a:pt x="831"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88" name="Freeform 218">
                    <a:extLst>
                      <a:ext uri="{FF2B5EF4-FFF2-40B4-BE49-F238E27FC236}">
                        <a16:creationId xmlns:a16="http://schemas.microsoft.com/office/drawing/2014/main" id="{1875EC98-4604-477F-A545-9650122FF481}"/>
                      </a:ext>
                    </a:extLst>
                  </p:cNvPr>
                  <p:cNvSpPr>
                    <a:spLocks/>
                  </p:cNvSpPr>
                  <p:nvPr/>
                </p:nvSpPr>
                <p:spPr bwMode="auto">
                  <a:xfrm>
                    <a:off x="9763287" y="5133362"/>
                    <a:ext cx="432302" cy="89051"/>
                  </a:xfrm>
                  <a:custGeom>
                    <a:avLst/>
                    <a:gdLst>
                      <a:gd name="T0" fmla="*/ 1314 w 1327"/>
                      <a:gd name="T1" fmla="*/ 269 h 269"/>
                      <a:gd name="T2" fmla="*/ 1314 w 1327"/>
                      <a:gd name="T3" fmla="*/ 269 h 269"/>
                      <a:gd name="T4" fmla="*/ 1300 w 1327"/>
                      <a:gd name="T5" fmla="*/ 255 h 269"/>
                      <a:gd name="T6" fmla="*/ 1072 w 1327"/>
                      <a:gd name="T7" fmla="*/ 27 h 269"/>
                      <a:gd name="T8" fmla="*/ 843 w 1327"/>
                      <a:gd name="T9" fmla="*/ 255 h 269"/>
                      <a:gd name="T10" fmla="*/ 843 w 1327"/>
                      <a:gd name="T11" fmla="*/ 269 h 269"/>
                      <a:gd name="T12" fmla="*/ 0 w 1327"/>
                      <a:gd name="T13" fmla="*/ 269 h 269"/>
                      <a:gd name="T14" fmla="*/ 0 w 1327"/>
                      <a:gd name="T15" fmla="*/ 255 h 269"/>
                      <a:gd name="T16" fmla="*/ 255 w 1327"/>
                      <a:gd name="T17" fmla="*/ 0 h 269"/>
                      <a:gd name="T18" fmla="*/ 268 w 1327"/>
                      <a:gd name="T19" fmla="*/ 13 h 269"/>
                      <a:gd name="T20" fmla="*/ 255 w 1327"/>
                      <a:gd name="T21" fmla="*/ 27 h 269"/>
                      <a:gd name="T22" fmla="*/ 27 w 1327"/>
                      <a:gd name="T23" fmla="*/ 242 h 269"/>
                      <a:gd name="T24" fmla="*/ 817 w 1327"/>
                      <a:gd name="T25" fmla="*/ 242 h 269"/>
                      <a:gd name="T26" fmla="*/ 1072 w 1327"/>
                      <a:gd name="T27" fmla="*/ 0 h 269"/>
                      <a:gd name="T28" fmla="*/ 1327 w 1327"/>
                      <a:gd name="T29" fmla="*/ 255 h 269"/>
                      <a:gd name="T30" fmla="*/ 1314 w 1327"/>
                      <a:gd name="T3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7" h="269">
                        <a:moveTo>
                          <a:pt x="1314" y="269"/>
                        </a:moveTo>
                        <a:lnTo>
                          <a:pt x="1314" y="269"/>
                        </a:lnTo>
                        <a:cubicBezTo>
                          <a:pt x="1306" y="269"/>
                          <a:pt x="1300" y="263"/>
                          <a:pt x="1300" y="255"/>
                        </a:cubicBezTo>
                        <a:cubicBezTo>
                          <a:pt x="1300" y="129"/>
                          <a:pt x="1198" y="27"/>
                          <a:pt x="1072" y="27"/>
                        </a:cubicBezTo>
                        <a:cubicBezTo>
                          <a:pt x="946" y="27"/>
                          <a:pt x="843" y="129"/>
                          <a:pt x="843" y="255"/>
                        </a:cubicBezTo>
                        <a:lnTo>
                          <a:pt x="843" y="269"/>
                        </a:lnTo>
                        <a:lnTo>
                          <a:pt x="0" y="269"/>
                        </a:lnTo>
                        <a:lnTo>
                          <a:pt x="0" y="255"/>
                        </a:lnTo>
                        <a:cubicBezTo>
                          <a:pt x="0" y="115"/>
                          <a:pt x="114" y="0"/>
                          <a:pt x="255" y="0"/>
                        </a:cubicBezTo>
                        <a:cubicBezTo>
                          <a:pt x="262" y="0"/>
                          <a:pt x="268" y="6"/>
                          <a:pt x="268" y="13"/>
                        </a:cubicBezTo>
                        <a:cubicBezTo>
                          <a:pt x="268" y="21"/>
                          <a:pt x="262" y="27"/>
                          <a:pt x="255" y="27"/>
                        </a:cubicBezTo>
                        <a:cubicBezTo>
                          <a:pt x="133" y="27"/>
                          <a:pt x="33" y="122"/>
                          <a:pt x="27" y="242"/>
                        </a:cubicBezTo>
                        <a:lnTo>
                          <a:pt x="817" y="242"/>
                        </a:lnTo>
                        <a:cubicBezTo>
                          <a:pt x="824" y="107"/>
                          <a:pt x="936" y="0"/>
                          <a:pt x="1072" y="0"/>
                        </a:cubicBezTo>
                        <a:cubicBezTo>
                          <a:pt x="1213" y="0"/>
                          <a:pt x="1327" y="115"/>
                          <a:pt x="1327" y="255"/>
                        </a:cubicBezTo>
                        <a:cubicBezTo>
                          <a:pt x="1327" y="263"/>
                          <a:pt x="1321" y="269"/>
                          <a:pt x="1314" y="269"/>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89" name="Freeform 219">
                    <a:extLst>
                      <a:ext uri="{FF2B5EF4-FFF2-40B4-BE49-F238E27FC236}">
                        <a16:creationId xmlns:a16="http://schemas.microsoft.com/office/drawing/2014/main" id="{C63A508A-1B22-4A8F-AE4F-39C1795D954B}"/>
                      </a:ext>
                    </a:extLst>
                  </p:cNvPr>
                  <p:cNvSpPr>
                    <a:spLocks/>
                  </p:cNvSpPr>
                  <p:nvPr/>
                </p:nvSpPr>
                <p:spPr bwMode="auto">
                  <a:xfrm>
                    <a:off x="9920341" y="5266129"/>
                    <a:ext cx="221818" cy="9715"/>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90" name="Freeform 220">
                    <a:extLst>
                      <a:ext uri="{FF2B5EF4-FFF2-40B4-BE49-F238E27FC236}">
                        <a16:creationId xmlns:a16="http://schemas.microsoft.com/office/drawing/2014/main" id="{8BBE9593-2E72-44D1-9E4B-950F4C6E1EF4}"/>
                      </a:ext>
                    </a:extLst>
                  </p:cNvPr>
                  <p:cNvSpPr>
                    <a:spLocks/>
                  </p:cNvSpPr>
                  <p:nvPr/>
                </p:nvSpPr>
                <p:spPr bwMode="auto">
                  <a:xfrm>
                    <a:off x="9920341" y="5314702"/>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91" name="Freeform 221">
                    <a:extLst>
                      <a:ext uri="{FF2B5EF4-FFF2-40B4-BE49-F238E27FC236}">
                        <a16:creationId xmlns:a16="http://schemas.microsoft.com/office/drawing/2014/main" id="{F850612A-730B-4249-8C42-0F388812F88D}"/>
                      </a:ext>
                    </a:extLst>
                  </p:cNvPr>
                  <p:cNvSpPr>
                    <a:spLocks/>
                  </p:cNvSpPr>
                  <p:nvPr/>
                </p:nvSpPr>
                <p:spPr bwMode="auto">
                  <a:xfrm>
                    <a:off x="9920341" y="5364894"/>
                    <a:ext cx="221818" cy="8096"/>
                  </a:xfrm>
                  <a:custGeom>
                    <a:avLst/>
                    <a:gdLst>
                      <a:gd name="T0" fmla="*/ 665 w 678"/>
                      <a:gd name="T1" fmla="*/ 26 h 26"/>
                      <a:gd name="T2" fmla="*/ 665 w 678"/>
                      <a:gd name="T3" fmla="*/ 26 h 26"/>
                      <a:gd name="T4" fmla="*/ 13 w 678"/>
                      <a:gd name="T5" fmla="*/ 26 h 26"/>
                      <a:gd name="T6" fmla="*/ 0 w 678"/>
                      <a:gd name="T7" fmla="*/ 13 h 26"/>
                      <a:gd name="T8" fmla="*/ 13 w 678"/>
                      <a:gd name="T9" fmla="*/ 0 h 26"/>
                      <a:gd name="T10" fmla="*/ 665 w 678"/>
                      <a:gd name="T11" fmla="*/ 0 h 26"/>
                      <a:gd name="T12" fmla="*/ 678 w 678"/>
                      <a:gd name="T13" fmla="*/ 13 h 26"/>
                      <a:gd name="T14" fmla="*/ 665 w 67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6">
                        <a:moveTo>
                          <a:pt x="665" y="26"/>
                        </a:moveTo>
                        <a:lnTo>
                          <a:pt x="665" y="26"/>
                        </a:lnTo>
                        <a:lnTo>
                          <a:pt x="13" y="26"/>
                        </a:lnTo>
                        <a:cubicBezTo>
                          <a:pt x="6" y="26"/>
                          <a:pt x="0" y="20"/>
                          <a:pt x="0" y="13"/>
                        </a:cubicBezTo>
                        <a:cubicBezTo>
                          <a:pt x="0" y="6"/>
                          <a:pt x="6" y="0"/>
                          <a:pt x="13" y="0"/>
                        </a:cubicBezTo>
                        <a:lnTo>
                          <a:pt x="665" y="0"/>
                        </a:lnTo>
                        <a:cubicBezTo>
                          <a:pt x="672" y="0"/>
                          <a:pt x="678" y="6"/>
                          <a:pt x="678" y="13"/>
                        </a:cubicBezTo>
                        <a:cubicBezTo>
                          <a:pt x="678" y="20"/>
                          <a:pt x="672" y="26"/>
                          <a:pt x="665" y="26"/>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92" name="Freeform 222">
                    <a:extLst>
                      <a:ext uri="{FF2B5EF4-FFF2-40B4-BE49-F238E27FC236}">
                        <a16:creationId xmlns:a16="http://schemas.microsoft.com/office/drawing/2014/main" id="{744022DA-E8A6-4BD0-B90D-14BD7094DFA1}"/>
                      </a:ext>
                    </a:extLst>
                  </p:cNvPr>
                  <p:cNvSpPr>
                    <a:spLocks/>
                  </p:cNvSpPr>
                  <p:nvPr/>
                </p:nvSpPr>
                <p:spPr bwMode="auto">
                  <a:xfrm>
                    <a:off x="9920341" y="5413468"/>
                    <a:ext cx="221818" cy="8096"/>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93" name="Freeform 223">
                    <a:extLst>
                      <a:ext uri="{FF2B5EF4-FFF2-40B4-BE49-F238E27FC236}">
                        <a16:creationId xmlns:a16="http://schemas.microsoft.com/office/drawing/2014/main" id="{EF25AB5F-956F-4B06-8358-84AB4C882A27}"/>
                      </a:ext>
                    </a:extLst>
                  </p:cNvPr>
                  <p:cNvSpPr>
                    <a:spLocks/>
                  </p:cNvSpPr>
                  <p:nvPr/>
                </p:nvSpPr>
                <p:spPr bwMode="auto">
                  <a:xfrm>
                    <a:off x="9920341" y="5462041"/>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94" name="Freeform 224">
                    <a:extLst>
                      <a:ext uri="{FF2B5EF4-FFF2-40B4-BE49-F238E27FC236}">
                        <a16:creationId xmlns:a16="http://schemas.microsoft.com/office/drawing/2014/main" id="{24084C06-977B-4A02-96C1-C63F9E08B8B4}"/>
                      </a:ext>
                    </a:extLst>
                  </p:cNvPr>
                  <p:cNvSpPr>
                    <a:spLocks/>
                  </p:cNvSpPr>
                  <p:nvPr/>
                </p:nvSpPr>
                <p:spPr bwMode="auto">
                  <a:xfrm>
                    <a:off x="9920340" y="5518710"/>
                    <a:ext cx="219456" cy="9715"/>
                  </a:xfrm>
                  <a:custGeom>
                    <a:avLst/>
                    <a:gdLst>
                      <a:gd name="T0" fmla="*/ 330 w 344"/>
                      <a:gd name="T1" fmla="*/ 27 h 27"/>
                      <a:gd name="T2" fmla="*/ 330 w 344"/>
                      <a:gd name="T3" fmla="*/ 27 h 27"/>
                      <a:gd name="T4" fmla="*/ 13 w 344"/>
                      <a:gd name="T5" fmla="*/ 27 h 27"/>
                      <a:gd name="T6" fmla="*/ 0 w 344"/>
                      <a:gd name="T7" fmla="*/ 14 h 27"/>
                      <a:gd name="T8" fmla="*/ 13 w 344"/>
                      <a:gd name="T9" fmla="*/ 0 h 27"/>
                      <a:gd name="T10" fmla="*/ 330 w 344"/>
                      <a:gd name="T11" fmla="*/ 0 h 27"/>
                      <a:gd name="T12" fmla="*/ 344 w 344"/>
                      <a:gd name="T13" fmla="*/ 14 h 27"/>
                      <a:gd name="T14" fmla="*/ 330 w 3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7">
                        <a:moveTo>
                          <a:pt x="330" y="27"/>
                        </a:moveTo>
                        <a:lnTo>
                          <a:pt x="330" y="27"/>
                        </a:lnTo>
                        <a:lnTo>
                          <a:pt x="13" y="27"/>
                        </a:lnTo>
                        <a:cubicBezTo>
                          <a:pt x="6" y="27"/>
                          <a:pt x="0" y="21"/>
                          <a:pt x="0" y="14"/>
                        </a:cubicBezTo>
                        <a:cubicBezTo>
                          <a:pt x="0" y="6"/>
                          <a:pt x="6" y="0"/>
                          <a:pt x="13" y="0"/>
                        </a:cubicBezTo>
                        <a:lnTo>
                          <a:pt x="330" y="0"/>
                        </a:lnTo>
                        <a:cubicBezTo>
                          <a:pt x="338" y="0"/>
                          <a:pt x="344" y="6"/>
                          <a:pt x="344" y="14"/>
                        </a:cubicBezTo>
                        <a:cubicBezTo>
                          <a:pt x="344" y="21"/>
                          <a:pt x="338" y="27"/>
                          <a:pt x="330"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95" name="Freeform 217">
                    <a:extLst>
                      <a:ext uri="{FF2B5EF4-FFF2-40B4-BE49-F238E27FC236}">
                        <a16:creationId xmlns:a16="http://schemas.microsoft.com/office/drawing/2014/main" id="{2ADE238C-00F7-44D5-9B24-982FD724A3C8}"/>
                      </a:ext>
                    </a:extLst>
                  </p:cNvPr>
                  <p:cNvSpPr>
                    <a:spLocks/>
                  </p:cNvSpPr>
                  <p:nvPr/>
                </p:nvSpPr>
                <p:spPr bwMode="auto">
                  <a:xfrm>
                    <a:off x="9939770" y="5695192"/>
                    <a:ext cx="335156" cy="9715"/>
                  </a:xfrm>
                  <a:custGeom>
                    <a:avLst/>
                    <a:gdLst>
                      <a:gd name="T0" fmla="*/ 1016 w 1030"/>
                      <a:gd name="T1" fmla="*/ 27 h 27"/>
                      <a:gd name="T2" fmla="*/ 1016 w 1030"/>
                      <a:gd name="T3" fmla="*/ 27 h 27"/>
                      <a:gd name="T4" fmla="*/ 14 w 1030"/>
                      <a:gd name="T5" fmla="*/ 27 h 27"/>
                      <a:gd name="T6" fmla="*/ 0 w 1030"/>
                      <a:gd name="T7" fmla="*/ 13 h 27"/>
                      <a:gd name="T8" fmla="*/ 14 w 1030"/>
                      <a:gd name="T9" fmla="*/ 0 h 27"/>
                      <a:gd name="T10" fmla="*/ 1016 w 1030"/>
                      <a:gd name="T11" fmla="*/ 0 h 27"/>
                      <a:gd name="T12" fmla="*/ 1030 w 1030"/>
                      <a:gd name="T13" fmla="*/ 13 h 27"/>
                      <a:gd name="T14" fmla="*/ 1016 w 1030"/>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27">
                        <a:moveTo>
                          <a:pt x="1016" y="27"/>
                        </a:moveTo>
                        <a:lnTo>
                          <a:pt x="1016" y="27"/>
                        </a:lnTo>
                        <a:lnTo>
                          <a:pt x="14" y="27"/>
                        </a:lnTo>
                        <a:cubicBezTo>
                          <a:pt x="6" y="27"/>
                          <a:pt x="0" y="21"/>
                          <a:pt x="0" y="13"/>
                        </a:cubicBezTo>
                        <a:cubicBezTo>
                          <a:pt x="0" y="6"/>
                          <a:pt x="6" y="0"/>
                          <a:pt x="14" y="0"/>
                        </a:cubicBezTo>
                        <a:lnTo>
                          <a:pt x="1016" y="0"/>
                        </a:lnTo>
                        <a:cubicBezTo>
                          <a:pt x="1024" y="0"/>
                          <a:pt x="1030" y="6"/>
                          <a:pt x="1030" y="13"/>
                        </a:cubicBezTo>
                        <a:cubicBezTo>
                          <a:pt x="1030" y="21"/>
                          <a:pt x="1024" y="27"/>
                          <a:pt x="1016"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grpSp>
          </p:grpSp>
          <p:grpSp>
            <p:nvGrpSpPr>
              <p:cNvPr id="765" name="Group 764">
                <a:extLst>
                  <a:ext uri="{FF2B5EF4-FFF2-40B4-BE49-F238E27FC236}">
                    <a16:creationId xmlns:a16="http://schemas.microsoft.com/office/drawing/2014/main" id="{07643E9A-3300-47A8-A71C-413C5F0E0199}"/>
                  </a:ext>
                </a:extLst>
              </p:cNvPr>
              <p:cNvGrpSpPr/>
              <p:nvPr/>
            </p:nvGrpSpPr>
            <p:grpSpPr>
              <a:xfrm>
                <a:off x="4314657" y="4341688"/>
                <a:ext cx="557986" cy="539640"/>
                <a:chOff x="4212581" y="4384439"/>
                <a:chExt cx="590975" cy="571545"/>
              </a:xfrm>
              <a:grpFill/>
            </p:grpSpPr>
            <p:sp>
              <p:nvSpPr>
                <p:cNvPr id="766" name="Rectangle: Top Corners Rounded 765">
                  <a:extLst>
                    <a:ext uri="{FF2B5EF4-FFF2-40B4-BE49-F238E27FC236}">
                      <a16:creationId xmlns:a16="http://schemas.microsoft.com/office/drawing/2014/main" id="{97E94F8F-39BA-4007-9CDA-5EFA1B149F2B}"/>
                    </a:ext>
                  </a:extLst>
                </p:cNvPr>
                <p:cNvSpPr/>
                <p:nvPr/>
              </p:nvSpPr>
              <p:spPr bwMode="auto">
                <a:xfrm>
                  <a:off x="4317350" y="4394156"/>
                  <a:ext cx="319438" cy="493088"/>
                </a:xfrm>
                <a:prstGeom prst="round2SameRect">
                  <a:avLst>
                    <a:gd name="adj1" fmla="val 22258"/>
                    <a:gd name="adj2" fmla="val 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765"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67" name="Group 766">
                  <a:extLst>
                    <a:ext uri="{FF2B5EF4-FFF2-40B4-BE49-F238E27FC236}">
                      <a16:creationId xmlns:a16="http://schemas.microsoft.com/office/drawing/2014/main" id="{1DC5223C-E18D-42D1-AECE-5DA415811745}"/>
                    </a:ext>
                  </a:extLst>
                </p:cNvPr>
                <p:cNvGrpSpPr/>
                <p:nvPr/>
              </p:nvGrpSpPr>
              <p:grpSpPr>
                <a:xfrm>
                  <a:off x="4212581" y="4384439"/>
                  <a:ext cx="590975" cy="571545"/>
                  <a:chOff x="9763287" y="5133362"/>
                  <a:chExt cx="590975" cy="571545"/>
                </a:xfrm>
                <a:grpFill/>
              </p:grpSpPr>
              <p:sp>
                <p:nvSpPr>
                  <p:cNvPr id="768" name="Freeform 212">
                    <a:extLst>
                      <a:ext uri="{FF2B5EF4-FFF2-40B4-BE49-F238E27FC236}">
                        <a16:creationId xmlns:a16="http://schemas.microsoft.com/office/drawing/2014/main" id="{33A84C06-2EB9-4D4A-B145-E5D388D9C2D9}"/>
                      </a:ext>
                    </a:extLst>
                  </p:cNvPr>
                  <p:cNvSpPr>
                    <a:spLocks/>
                  </p:cNvSpPr>
                  <p:nvPr/>
                </p:nvSpPr>
                <p:spPr bwMode="auto">
                  <a:xfrm>
                    <a:off x="9860434" y="5617475"/>
                    <a:ext cx="87432" cy="87432"/>
                  </a:xfrm>
                  <a:custGeom>
                    <a:avLst/>
                    <a:gdLst>
                      <a:gd name="T0" fmla="*/ 255 w 268"/>
                      <a:gd name="T1" fmla="*/ 269 h 269"/>
                      <a:gd name="T2" fmla="*/ 255 w 268"/>
                      <a:gd name="T3" fmla="*/ 269 h 269"/>
                      <a:gd name="T4" fmla="*/ 0 w 268"/>
                      <a:gd name="T5" fmla="*/ 13 h 269"/>
                      <a:gd name="T6" fmla="*/ 13 w 268"/>
                      <a:gd name="T7" fmla="*/ 0 h 269"/>
                      <a:gd name="T8" fmla="*/ 27 w 268"/>
                      <a:gd name="T9" fmla="*/ 13 h 269"/>
                      <a:gd name="T10" fmla="*/ 255 w 268"/>
                      <a:gd name="T11" fmla="*/ 242 h 269"/>
                      <a:gd name="T12" fmla="*/ 268 w 268"/>
                      <a:gd name="T13" fmla="*/ 255 h 269"/>
                      <a:gd name="T14" fmla="*/ 255 w 268"/>
                      <a:gd name="T15" fmla="*/ 269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8" h="269">
                        <a:moveTo>
                          <a:pt x="255" y="269"/>
                        </a:moveTo>
                        <a:lnTo>
                          <a:pt x="255" y="269"/>
                        </a:lnTo>
                        <a:cubicBezTo>
                          <a:pt x="114" y="269"/>
                          <a:pt x="0" y="154"/>
                          <a:pt x="0" y="13"/>
                        </a:cubicBezTo>
                        <a:cubicBezTo>
                          <a:pt x="0" y="6"/>
                          <a:pt x="6" y="0"/>
                          <a:pt x="13" y="0"/>
                        </a:cubicBezTo>
                        <a:cubicBezTo>
                          <a:pt x="21" y="0"/>
                          <a:pt x="27" y="6"/>
                          <a:pt x="27" y="13"/>
                        </a:cubicBezTo>
                        <a:cubicBezTo>
                          <a:pt x="27" y="139"/>
                          <a:pt x="129" y="242"/>
                          <a:pt x="255" y="242"/>
                        </a:cubicBezTo>
                        <a:cubicBezTo>
                          <a:pt x="262" y="242"/>
                          <a:pt x="268" y="248"/>
                          <a:pt x="268" y="255"/>
                        </a:cubicBezTo>
                        <a:cubicBezTo>
                          <a:pt x="268" y="263"/>
                          <a:pt x="262" y="269"/>
                          <a:pt x="255" y="269"/>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69" name="Freeform 213">
                    <a:extLst>
                      <a:ext uri="{FF2B5EF4-FFF2-40B4-BE49-F238E27FC236}">
                        <a16:creationId xmlns:a16="http://schemas.microsoft.com/office/drawing/2014/main" id="{F99628B3-DC07-4390-8DEC-AE815403F677}"/>
                      </a:ext>
                    </a:extLst>
                  </p:cNvPr>
                  <p:cNvSpPr>
                    <a:spLocks noEditPoints="1"/>
                  </p:cNvSpPr>
                  <p:nvPr/>
                </p:nvSpPr>
                <p:spPr bwMode="auto">
                  <a:xfrm>
                    <a:off x="10187494" y="5617475"/>
                    <a:ext cx="166768" cy="87432"/>
                  </a:xfrm>
                  <a:custGeom>
                    <a:avLst/>
                    <a:gdLst>
                      <a:gd name="T0" fmla="*/ 27 w 510"/>
                      <a:gd name="T1" fmla="*/ 27 h 269"/>
                      <a:gd name="T2" fmla="*/ 27 w 510"/>
                      <a:gd name="T3" fmla="*/ 27 h 269"/>
                      <a:gd name="T4" fmla="*/ 255 w 510"/>
                      <a:gd name="T5" fmla="*/ 242 h 269"/>
                      <a:gd name="T6" fmla="*/ 483 w 510"/>
                      <a:gd name="T7" fmla="*/ 27 h 269"/>
                      <a:gd name="T8" fmla="*/ 27 w 510"/>
                      <a:gd name="T9" fmla="*/ 27 h 269"/>
                      <a:gd name="T10" fmla="*/ 255 w 510"/>
                      <a:gd name="T11" fmla="*/ 269 h 269"/>
                      <a:gd name="T12" fmla="*/ 255 w 510"/>
                      <a:gd name="T13" fmla="*/ 269 h 269"/>
                      <a:gd name="T14" fmla="*/ 0 w 510"/>
                      <a:gd name="T15" fmla="*/ 13 h 269"/>
                      <a:gd name="T16" fmla="*/ 0 w 510"/>
                      <a:gd name="T17" fmla="*/ 0 h 269"/>
                      <a:gd name="T18" fmla="*/ 510 w 510"/>
                      <a:gd name="T19" fmla="*/ 0 h 269"/>
                      <a:gd name="T20" fmla="*/ 510 w 510"/>
                      <a:gd name="T21" fmla="*/ 13 h 269"/>
                      <a:gd name="T22" fmla="*/ 255 w 510"/>
                      <a:gd name="T23"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269">
                        <a:moveTo>
                          <a:pt x="27" y="27"/>
                        </a:moveTo>
                        <a:lnTo>
                          <a:pt x="27" y="27"/>
                        </a:lnTo>
                        <a:cubicBezTo>
                          <a:pt x="34" y="146"/>
                          <a:pt x="134" y="242"/>
                          <a:pt x="255" y="242"/>
                        </a:cubicBezTo>
                        <a:cubicBezTo>
                          <a:pt x="377" y="242"/>
                          <a:pt x="476" y="146"/>
                          <a:pt x="483" y="27"/>
                        </a:cubicBezTo>
                        <a:lnTo>
                          <a:pt x="27" y="27"/>
                        </a:lnTo>
                        <a:close/>
                        <a:moveTo>
                          <a:pt x="255" y="269"/>
                        </a:moveTo>
                        <a:lnTo>
                          <a:pt x="255" y="269"/>
                        </a:lnTo>
                        <a:cubicBezTo>
                          <a:pt x="115" y="269"/>
                          <a:pt x="0" y="154"/>
                          <a:pt x="0" y="13"/>
                        </a:cubicBezTo>
                        <a:lnTo>
                          <a:pt x="0" y="0"/>
                        </a:lnTo>
                        <a:lnTo>
                          <a:pt x="510" y="0"/>
                        </a:lnTo>
                        <a:lnTo>
                          <a:pt x="510" y="13"/>
                        </a:lnTo>
                        <a:cubicBezTo>
                          <a:pt x="510" y="154"/>
                          <a:pt x="396" y="269"/>
                          <a:pt x="255" y="269"/>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70" name="Freeform 214">
                    <a:extLst>
                      <a:ext uri="{FF2B5EF4-FFF2-40B4-BE49-F238E27FC236}">
                        <a16:creationId xmlns:a16="http://schemas.microsoft.com/office/drawing/2014/main" id="{DB85421D-B1C0-49F4-A54A-0B1BBEC8DD66}"/>
                      </a:ext>
                    </a:extLst>
                  </p:cNvPr>
                  <p:cNvSpPr>
                    <a:spLocks/>
                  </p:cNvSpPr>
                  <p:nvPr/>
                </p:nvSpPr>
                <p:spPr bwMode="auto">
                  <a:xfrm>
                    <a:off x="10187494" y="5212698"/>
                    <a:ext cx="8096" cy="412873"/>
                  </a:xfrm>
                  <a:custGeom>
                    <a:avLst/>
                    <a:gdLst>
                      <a:gd name="T0" fmla="*/ 14 w 27"/>
                      <a:gd name="T1" fmla="*/ 1260 h 1260"/>
                      <a:gd name="T2" fmla="*/ 14 w 27"/>
                      <a:gd name="T3" fmla="*/ 1260 h 1260"/>
                      <a:gd name="T4" fmla="*/ 0 w 27"/>
                      <a:gd name="T5" fmla="*/ 1246 h 1260"/>
                      <a:gd name="T6" fmla="*/ 0 w 27"/>
                      <a:gd name="T7" fmla="*/ 13 h 1260"/>
                      <a:gd name="T8" fmla="*/ 14 w 27"/>
                      <a:gd name="T9" fmla="*/ 0 h 1260"/>
                      <a:gd name="T10" fmla="*/ 27 w 27"/>
                      <a:gd name="T11" fmla="*/ 13 h 1260"/>
                      <a:gd name="T12" fmla="*/ 27 w 27"/>
                      <a:gd name="T13" fmla="*/ 1246 h 1260"/>
                      <a:gd name="T14" fmla="*/ 14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4" y="1260"/>
                        </a:moveTo>
                        <a:lnTo>
                          <a:pt x="14" y="1260"/>
                        </a:lnTo>
                        <a:cubicBezTo>
                          <a:pt x="6" y="1260"/>
                          <a:pt x="0" y="1254"/>
                          <a:pt x="0" y="1246"/>
                        </a:cubicBezTo>
                        <a:lnTo>
                          <a:pt x="0" y="13"/>
                        </a:lnTo>
                        <a:cubicBezTo>
                          <a:pt x="0" y="6"/>
                          <a:pt x="6" y="0"/>
                          <a:pt x="14" y="0"/>
                        </a:cubicBezTo>
                        <a:cubicBezTo>
                          <a:pt x="21" y="0"/>
                          <a:pt x="27" y="6"/>
                          <a:pt x="27" y="13"/>
                        </a:cubicBezTo>
                        <a:lnTo>
                          <a:pt x="27" y="1246"/>
                        </a:lnTo>
                        <a:cubicBezTo>
                          <a:pt x="27" y="1254"/>
                          <a:pt x="21" y="1260"/>
                          <a:pt x="14" y="1260"/>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71" name="Freeform 215">
                    <a:extLst>
                      <a:ext uri="{FF2B5EF4-FFF2-40B4-BE49-F238E27FC236}">
                        <a16:creationId xmlns:a16="http://schemas.microsoft.com/office/drawing/2014/main" id="{EFE56B8D-1520-449D-8996-C6E38015E16F}"/>
                      </a:ext>
                    </a:extLst>
                  </p:cNvPr>
                  <p:cNvSpPr>
                    <a:spLocks/>
                  </p:cNvSpPr>
                  <p:nvPr/>
                </p:nvSpPr>
                <p:spPr bwMode="auto">
                  <a:xfrm>
                    <a:off x="9860434" y="5212698"/>
                    <a:ext cx="8096" cy="412873"/>
                  </a:xfrm>
                  <a:custGeom>
                    <a:avLst/>
                    <a:gdLst>
                      <a:gd name="T0" fmla="*/ 13 w 27"/>
                      <a:gd name="T1" fmla="*/ 1260 h 1260"/>
                      <a:gd name="T2" fmla="*/ 13 w 27"/>
                      <a:gd name="T3" fmla="*/ 1260 h 1260"/>
                      <a:gd name="T4" fmla="*/ 0 w 27"/>
                      <a:gd name="T5" fmla="*/ 1246 h 1260"/>
                      <a:gd name="T6" fmla="*/ 0 w 27"/>
                      <a:gd name="T7" fmla="*/ 13 h 1260"/>
                      <a:gd name="T8" fmla="*/ 13 w 27"/>
                      <a:gd name="T9" fmla="*/ 0 h 1260"/>
                      <a:gd name="T10" fmla="*/ 27 w 27"/>
                      <a:gd name="T11" fmla="*/ 13 h 1260"/>
                      <a:gd name="T12" fmla="*/ 27 w 27"/>
                      <a:gd name="T13" fmla="*/ 1246 h 1260"/>
                      <a:gd name="T14" fmla="*/ 13 w 27"/>
                      <a:gd name="T15" fmla="*/ 1260 h 1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260">
                        <a:moveTo>
                          <a:pt x="13" y="1260"/>
                        </a:moveTo>
                        <a:lnTo>
                          <a:pt x="13" y="1260"/>
                        </a:lnTo>
                        <a:cubicBezTo>
                          <a:pt x="6" y="1260"/>
                          <a:pt x="0" y="1254"/>
                          <a:pt x="0" y="1246"/>
                        </a:cubicBezTo>
                        <a:lnTo>
                          <a:pt x="0" y="13"/>
                        </a:lnTo>
                        <a:cubicBezTo>
                          <a:pt x="0" y="6"/>
                          <a:pt x="6" y="0"/>
                          <a:pt x="13" y="0"/>
                        </a:cubicBezTo>
                        <a:cubicBezTo>
                          <a:pt x="21" y="0"/>
                          <a:pt x="27" y="6"/>
                          <a:pt x="27" y="13"/>
                        </a:cubicBezTo>
                        <a:lnTo>
                          <a:pt x="27" y="1246"/>
                        </a:lnTo>
                        <a:cubicBezTo>
                          <a:pt x="27" y="1254"/>
                          <a:pt x="21" y="1260"/>
                          <a:pt x="13" y="1260"/>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72" name="Freeform 216">
                    <a:extLst>
                      <a:ext uri="{FF2B5EF4-FFF2-40B4-BE49-F238E27FC236}">
                        <a16:creationId xmlns:a16="http://schemas.microsoft.com/office/drawing/2014/main" id="{1CC8B350-4D96-4B56-A67E-34BA0572BC77}"/>
                      </a:ext>
                    </a:extLst>
                  </p:cNvPr>
                  <p:cNvSpPr>
                    <a:spLocks/>
                  </p:cNvSpPr>
                  <p:nvPr/>
                </p:nvSpPr>
                <p:spPr bwMode="auto">
                  <a:xfrm>
                    <a:off x="9842623" y="5133362"/>
                    <a:ext cx="273630" cy="9715"/>
                  </a:xfrm>
                  <a:custGeom>
                    <a:avLst/>
                    <a:gdLst>
                      <a:gd name="T0" fmla="*/ 831 w 844"/>
                      <a:gd name="T1" fmla="*/ 27 h 27"/>
                      <a:gd name="T2" fmla="*/ 831 w 844"/>
                      <a:gd name="T3" fmla="*/ 27 h 27"/>
                      <a:gd name="T4" fmla="*/ 14 w 844"/>
                      <a:gd name="T5" fmla="*/ 27 h 27"/>
                      <a:gd name="T6" fmla="*/ 0 w 844"/>
                      <a:gd name="T7" fmla="*/ 13 h 27"/>
                      <a:gd name="T8" fmla="*/ 14 w 844"/>
                      <a:gd name="T9" fmla="*/ 0 h 27"/>
                      <a:gd name="T10" fmla="*/ 831 w 844"/>
                      <a:gd name="T11" fmla="*/ 0 h 27"/>
                      <a:gd name="T12" fmla="*/ 844 w 844"/>
                      <a:gd name="T13" fmla="*/ 13 h 27"/>
                      <a:gd name="T14" fmla="*/ 831 w 8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4" h="27">
                        <a:moveTo>
                          <a:pt x="831" y="27"/>
                        </a:moveTo>
                        <a:lnTo>
                          <a:pt x="831" y="27"/>
                        </a:lnTo>
                        <a:lnTo>
                          <a:pt x="14" y="27"/>
                        </a:lnTo>
                        <a:cubicBezTo>
                          <a:pt x="6" y="27"/>
                          <a:pt x="0" y="21"/>
                          <a:pt x="0" y="13"/>
                        </a:cubicBezTo>
                        <a:cubicBezTo>
                          <a:pt x="0" y="6"/>
                          <a:pt x="6" y="0"/>
                          <a:pt x="14" y="0"/>
                        </a:cubicBezTo>
                        <a:lnTo>
                          <a:pt x="831" y="0"/>
                        </a:lnTo>
                        <a:cubicBezTo>
                          <a:pt x="838" y="0"/>
                          <a:pt x="844" y="6"/>
                          <a:pt x="844" y="13"/>
                        </a:cubicBezTo>
                        <a:cubicBezTo>
                          <a:pt x="844" y="21"/>
                          <a:pt x="838" y="27"/>
                          <a:pt x="831"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73" name="Freeform 218">
                    <a:extLst>
                      <a:ext uri="{FF2B5EF4-FFF2-40B4-BE49-F238E27FC236}">
                        <a16:creationId xmlns:a16="http://schemas.microsoft.com/office/drawing/2014/main" id="{D423D962-858D-4453-805E-DCB417112D9F}"/>
                      </a:ext>
                    </a:extLst>
                  </p:cNvPr>
                  <p:cNvSpPr>
                    <a:spLocks/>
                  </p:cNvSpPr>
                  <p:nvPr/>
                </p:nvSpPr>
                <p:spPr bwMode="auto">
                  <a:xfrm>
                    <a:off x="9763287" y="5133362"/>
                    <a:ext cx="432302" cy="89051"/>
                  </a:xfrm>
                  <a:custGeom>
                    <a:avLst/>
                    <a:gdLst>
                      <a:gd name="T0" fmla="*/ 1314 w 1327"/>
                      <a:gd name="T1" fmla="*/ 269 h 269"/>
                      <a:gd name="T2" fmla="*/ 1314 w 1327"/>
                      <a:gd name="T3" fmla="*/ 269 h 269"/>
                      <a:gd name="T4" fmla="*/ 1300 w 1327"/>
                      <a:gd name="T5" fmla="*/ 255 h 269"/>
                      <a:gd name="T6" fmla="*/ 1072 w 1327"/>
                      <a:gd name="T7" fmla="*/ 27 h 269"/>
                      <a:gd name="T8" fmla="*/ 843 w 1327"/>
                      <a:gd name="T9" fmla="*/ 255 h 269"/>
                      <a:gd name="T10" fmla="*/ 843 w 1327"/>
                      <a:gd name="T11" fmla="*/ 269 h 269"/>
                      <a:gd name="T12" fmla="*/ 0 w 1327"/>
                      <a:gd name="T13" fmla="*/ 269 h 269"/>
                      <a:gd name="T14" fmla="*/ 0 w 1327"/>
                      <a:gd name="T15" fmla="*/ 255 h 269"/>
                      <a:gd name="T16" fmla="*/ 255 w 1327"/>
                      <a:gd name="T17" fmla="*/ 0 h 269"/>
                      <a:gd name="T18" fmla="*/ 268 w 1327"/>
                      <a:gd name="T19" fmla="*/ 13 h 269"/>
                      <a:gd name="T20" fmla="*/ 255 w 1327"/>
                      <a:gd name="T21" fmla="*/ 27 h 269"/>
                      <a:gd name="T22" fmla="*/ 27 w 1327"/>
                      <a:gd name="T23" fmla="*/ 242 h 269"/>
                      <a:gd name="T24" fmla="*/ 817 w 1327"/>
                      <a:gd name="T25" fmla="*/ 242 h 269"/>
                      <a:gd name="T26" fmla="*/ 1072 w 1327"/>
                      <a:gd name="T27" fmla="*/ 0 h 269"/>
                      <a:gd name="T28" fmla="*/ 1327 w 1327"/>
                      <a:gd name="T29" fmla="*/ 255 h 269"/>
                      <a:gd name="T30" fmla="*/ 1314 w 1327"/>
                      <a:gd name="T31"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7" h="269">
                        <a:moveTo>
                          <a:pt x="1314" y="269"/>
                        </a:moveTo>
                        <a:lnTo>
                          <a:pt x="1314" y="269"/>
                        </a:lnTo>
                        <a:cubicBezTo>
                          <a:pt x="1306" y="269"/>
                          <a:pt x="1300" y="263"/>
                          <a:pt x="1300" y="255"/>
                        </a:cubicBezTo>
                        <a:cubicBezTo>
                          <a:pt x="1300" y="129"/>
                          <a:pt x="1198" y="27"/>
                          <a:pt x="1072" y="27"/>
                        </a:cubicBezTo>
                        <a:cubicBezTo>
                          <a:pt x="946" y="27"/>
                          <a:pt x="843" y="129"/>
                          <a:pt x="843" y="255"/>
                        </a:cubicBezTo>
                        <a:lnTo>
                          <a:pt x="843" y="269"/>
                        </a:lnTo>
                        <a:lnTo>
                          <a:pt x="0" y="269"/>
                        </a:lnTo>
                        <a:lnTo>
                          <a:pt x="0" y="255"/>
                        </a:lnTo>
                        <a:cubicBezTo>
                          <a:pt x="0" y="115"/>
                          <a:pt x="114" y="0"/>
                          <a:pt x="255" y="0"/>
                        </a:cubicBezTo>
                        <a:cubicBezTo>
                          <a:pt x="262" y="0"/>
                          <a:pt x="268" y="6"/>
                          <a:pt x="268" y="13"/>
                        </a:cubicBezTo>
                        <a:cubicBezTo>
                          <a:pt x="268" y="21"/>
                          <a:pt x="262" y="27"/>
                          <a:pt x="255" y="27"/>
                        </a:cubicBezTo>
                        <a:cubicBezTo>
                          <a:pt x="133" y="27"/>
                          <a:pt x="33" y="122"/>
                          <a:pt x="27" y="242"/>
                        </a:cubicBezTo>
                        <a:lnTo>
                          <a:pt x="817" y="242"/>
                        </a:lnTo>
                        <a:cubicBezTo>
                          <a:pt x="824" y="107"/>
                          <a:pt x="936" y="0"/>
                          <a:pt x="1072" y="0"/>
                        </a:cubicBezTo>
                        <a:cubicBezTo>
                          <a:pt x="1213" y="0"/>
                          <a:pt x="1327" y="115"/>
                          <a:pt x="1327" y="255"/>
                        </a:cubicBezTo>
                        <a:cubicBezTo>
                          <a:pt x="1327" y="263"/>
                          <a:pt x="1321" y="269"/>
                          <a:pt x="1314" y="269"/>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74" name="Freeform 219">
                    <a:extLst>
                      <a:ext uri="{FF2B5EF4-FFF2-40B4-BE49-F238E27FC236}">
                        <a16:creationId xmlns:a16="http://schemas.microsoft.com/office/drawing/2014/main" id="{4B9DC8E7-9479-44AD-8890-9CC855D3AE3F}"/>
                      </a:ext>
                    </a:extLst>
                  </p:cNvPr>
                  <p:cNvSpPr>
                    <a:spLocks/>
                  </p:cNvSpPr>
                  <p:nvPr/>
                </p:nvSpPr>
                <p:spPr bwMode="auto">
                  <a:xfrm>
                    <a:off x="9920341" y="5266129"/>
                    <a:ext cx="221818" cy="9715"/>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75" name="Freeform 220">
                    <a:extLst>
                      <a:ext uri="{FF2B5EF4-FFF2-40B4-BE49-F238E27FC236}">
                        <a16:creationId xmlns:a16="http://schemas.microsoft.com/office/drawing/2014/main" id="{44BABB93-466A-42BC-86BF-F9D88F840BE7}"/>
                      </a:ext>
                    </a:extLst>
                  </p:cNvPr>
                  <p:cNvSpPr>
                    <a:spLocks/>
                  </p:cNvSpPr>
                  <p:nvPr/>
                </p:nvSpPr>
                <p:spPr bwMode="auto">
                  <a:xfrm>
                    <a:off x="9920341" y="5314702"/>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76" name="Freeform 221">
                    <a:extLst>
                      <a:ext uri="{FF2B5EF4-FFF2-40B4-BE49-F238E27FC236}">
                        <a16:creationId xmlns:a16="http://schemas.microsoft.com/office/drawing/2014/main" id="{5D918C85-408B-4F5E-89FE-24BA71A7A294}"/>
                      </a:ext>
                    </a:extLst>
                  </p:cNvPr>
                  <p:cNvSpPr>
                    <a:spLocks/>
                  </p:cNvSpPr>
                  <p:nvPr/>
                </p:nvSpPr>
                <p:spPr bwMode="auto">
                  <a:xfrm>
                    <a:off x="9920341" y="5364894"/>
                    <a:ext cx="221818" cy="8096"/>
                  </a:xfrm>
                  <a:custGeom>
                    <a:avLst/>
                    <a:gdLst>
                      <a:gd name="T0" fmla="*/ 665 w 678"/>
                      <a:gd name="T1" fmla="*/ 26 h 26"/>
                      <a:gd name="T2" fmla="*/ 665 w 678"/>
                      <a:gd name="T3" fmla="*/ 26 h 26"/>
                      <a:gd name="T4" fmla="*/ 13 w 678"/>
                      <a:gd name="T5" fmla="*/ 26 h 26"/>
                      <a:gd name="T6" fmla="*/ 0 w 678"/>
                      <a:gd name="T7" fmla="*/ 13 h 26"/>
                      <a:gd name="T8" fmla="*/ 13 w 678"/>
                      <a:gd name="T9" fmla="*/ 0 h 26"/>
                      <a:gd name="T10" fmla="*/ 665 w 678"/>
                      <a:gd name="T11" fmla="*/ 0 h 26"/>
                      <a:gd name="T12" fmla="*/ 678 w 678"/>
                      <a:gd name="T13" fmla="*/ 13 h 26"/>
                      <a:gd name="T14" fmla="*/ 665 w 678"/>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6">
                        <a:moveTo>
                          <a:pt x="665" y="26"/>
                        </a:moveTo>
                        <a:lnTo>
                          <a:pt x="665" y="26"/>
                        </a:lnTo>
                        <a:lnTo>
                          <a:pt x="13" y="26"/>
                        </a:lnTo>
                        <a:cubicBezTo>
                          <a:pt x="6" y="26"/>
                          <a:pt x="0" y="20"/>
                          <a:pt x="0" y="13"/>
                        </a:cubicBezTo>
                        <a:cubicBezTo>
                          <a:pt x="0" y="6"/>
                          <a:pt x="6" y="0"/>
                          <a:pt x="13" y="0"/>
                        </a:cubicBezTo>
                        <a:lnTo>
                          <a:pt x="665" y="0"/>
                        </a:lnTo>
                        <a:cubicBezTo>
                          <a:pt x="672" y="0"/>
                          <a:pt x="678" y="6"/>
                          <a:pt x="678" y="13"/>
                        </a:cubicBezTo>
                        <a:cubicBezTo>
                          <a:pt x="678" y="20"/>
                          <a:pt x="672" y="26"/>
                          <a:pt x="665" y="26"/>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77" name="Freeform 222">
                    <a:extLst>
                      <a:ext uri="{FF2B5EF4-FFF2-40B4-BE49-F238E27FC236}">
                        <a16:creationId xmlns:a16="http://schemas.microsoft.com/office/drawing/2014/main" id="{E2B2E72F-E537-4026-BE86-44FCFB9F34FB}"/>
                      </a:ext>
                    </a:extLst>
                  </p:cNvPr>
                  <p:cNvSpPr>
                    <a:spLocks/>
                  </p:cNvSpPr>
                  <p:nvPr/>
                </p:nvSpPr>
                <p:spPr bwMode="auto">
                  <a:xfrm>
                    <a:off x="9920341" y="5413468"/>
                    <a:ext cx="221818" cy="8096"/>
                  </a:xfrm>
                  <a:custGeom>
                    <a:avLst/>
                    <a:gdLst>
                      <a:gd name="T0" fmla="*/ 665 w 678"/>
                      <a:gd name="T1" fmla="*/ 27 h 27"/>
                      <a:gd name="T2" fmla="*/ 665 w 678"/>
                      <a:gd name="T3" fmla="*/ 27 h 27"/>
                      <a:gd name="T4" fmla="*/ 13 w 678"/>
                      <a:gd name="T5" fmla="*/ 27 h 27"/>
                      <a:gd name="T6" fmla="*/ 0 w 678"/>
                      <a:gd name="T7" fmla="*/ 14 h 27"/>
                      <a:gd name="T8" fmla="*/ 13 w 678"/>
                      <a:gd name="T9" fmla="*/ 0 h 27"/>
                      <a:gd name="T10" fmla="*/ 665 w 678"/>
                      <a:gd name="T11" fmla="*/ 0 h 27"/>
                      <a:gd name="T12" fmla="*/ 678 w 678"/>
                      <a:gd name="T13" fmla="*/ 14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4"/>
                        </a:cubicBezTo>
                        <a:cubicBezTo>
                          <a:pt x="0" y="6"/>
                          <a:pt x="6" y="0"/>
                          <a:pt x="13" y="0"/>
                        </a:cubicBezTo>
                        <a:lnTo>
                          <a:pt x="665" y="0"/>
                        </a:lnTo>
                        <a:cubicBezTo>
                          <a:pt x="672" y="0"/>
                          <a:pt x="678" y="6"/>
                          <a:pt x="678" y="14"/>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78" name="Freeform 223">
                    <a:extLst>
                      <a:ext uri="{FF2B5EF4-FFF2-40B4-BE49-F238E27FC236}">
                        <a16:creationId xmlns:a16="http://schemas.microsoft.com/office/drawing/2014/main" id="{9F19374B-047A-4B2D-951C-1154D86F2F12}"/>
                      </a:ext>
                    </a:extLst>
                  </p:cNvPr>
                  <p:cNvSpPr>
                    <a:spLocks/>
                  </p:cNvSpPr>
                  <p:nvPr/>
                </p:nvSpPr>
                <p:spPr bwMode="auto">
                  <a:xfrm>
                    <a:off x="9920341" y="5462041"/>
                    <a:ext cx="221818" cy="9715"/>
                  </a:xfrm>
                  <a:custGeom>
                    <a:avLst/>
                    <a:gdLst>
                      <a:gd name="T0" fmla="*/ 665 w 678"/>
                      <a:gd name="T1" fmla="*/ 27 h 27"/>
                      <a:gd name="T2" fmla="*/ 665 w 678"/>
                      <a:gd name="T3" fmla="*/ 27 h 27"/>
                      <a:gd name="T4" fmla="*/ 13 w 678"/>
                      <a:gd name="T5" fmla="*/ 27 h 27"/>
                      <a:gd name="T6" fmla="*/ 0 w 678"/>
                      <a:gd name="T7" fmla="*/ 13 h 27"/>
                      <a:gd name="T8" fmla="*/ 13 w 678"/>
                      <a:gd name="T9" fmla="*/ 0 h 27"/>
                      <a:gd name="T10" fmla="*/ 665 w 678"/>
                      <a:gd name="T11" fmla="*/ 0 h 27"/>
                      <a:gd name="T12" fmla="*/ 678 w 678"/>
                      <a:gd name="T13" fmla="*/ 13 h 27"/>
                      <a:gd name="T14" fmla="*/ 665 w 678"/>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27">
                        <a:moveTo>
                          <a:pt x="665" y="27"/>
                        </a:moveTo>
                        <a:lnTo>
                          <a:pt x="665" y="27"/>
                        </a:lnTo>
                        <a:lnTo>
                          <a:pt x="13" y="27"/>
                        </a:lnTo>
                        <a:cubicBezTo>
                          <a:pt x="6" y="27"/>
                          <a:pt x="0" y="21"/>
                          <a:pt x="0" y="13"/>
                        </a:cubicBezTo>
                        <a:cubicBezTo>
                          <a:pt x="0" y="6"/>
                          <a:pt x="6" y="0"/>
                          <a:pt x="13" y="0"/>
                        </a:cubicBezTo>
                        <a:lnTo>
                          <a:pt x="665" y="0"/>
                        </a:lnTo>
                        <a:cubicBezTo>
                          <a:pt x="672" y="0"/>
                          <a:pt x="678" y="6"/>
                          <a:pt x="678" y="13"/>
                        </a:cubicBezTo>
                        <a:cubicBezTo>
                          <a:pt x="678" y="21"/>
                          <a:pt x="672" y="27"/>
                          <a:pt x="665"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79" name="Freeform 224">
                    <a:extLst>
                      <a:ext uri="{FF2B5EF4-FFF2-40B4-BE49-F238E27FC236}">
                        <a16:creationId xmlns:a16="http://schemas.microsoft.com/office/drawing/2014/main" id="{501FA98B-246D-43F2-B0DB-91152B985642}"/>
                      </a:ext>
                    </a:extLst>
                  </p:cNvPr>
                  <p:cNvSpPr>
                    <a:spLocks/>
                  </p:cNvSpPr>
                  <p:nvPr/>
                </p:nvSpPr>
                <p:spPr bwMode="auto">
                  <a:xfrm>
                    <a:off x="9920340" y="5518710"/>
                    <a:ext cx="219456" cy="9715"/>
                  </a:xfrm>
                  <a:custGeom>
                    <a:avLst/>
                    <a:gdLst>
                      <a:gd name="T0" fmla="*/ 330 w 344"/>
                      <a:gd name="T1" fmla="*/ 27 h 27"/>
                      <a:gd name="T2" fmla="*/ 330 w 344"/>
                      <a:gd name="T3" fmla="*/ 27 h 27"/>
                      <a:gd name="T4" fmla="*/ 13 w 344"/>
                      <a:gd name="T5" fmla="*/ 27 h 27"/>
                      <a:gd name="T6" fmla="*/ 0 w 344"/>
                      <a:gd name="T7" fmla="*/ 14 h 27"/>
                      <a:gd name="T8" fmla="*/ 13 w 344"/>
                      <a:gd name="T9" fmla="*/ 0 h 27"/>
                      <a:gd name="T10" fmla="*/ 330 w 344"/>
                      <a:gd name="T11" fmla="*/ 0 h 27"/>
                      <a:gd name="T12" fmla="*/ 344 w 344"/>
                      <a:gd name="T13" fmla="*/ 14 h 27"/>
                      <a:gd name="T14" fmla="*/ 330 w 34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7">
                        <a:moveTo>
                          <a:pt x="330" y="27"/>
                        </a:moveTo>
                        <a:lnTo>
                          <a:pt x="330" y="27"/>
                        </a:lnTo>
                        <a:lnTo>
                          <a:pt x="13" y="27"/>
                        </a:lnTo>
                        <a:cubicBezTo>
                          <a:pt x="6" y="27"/>
                          <a:pt x="0" y="21"/>
                          <a:pt x="0" y="14"/>
                        </a:cubicBezTo>
                        <a:cubicBezTo>
                          <a:pt x="0" y="6"/>
                          <a:pt x="6" y="0"/>
                          <a:pt x="13" y="0"/>
                        </a:cubicBezTo>
                        <a:lnTo>
                          <a:pt x="330" y="0"/>
                        </a:lnTo>
                        <a:cubicBezTo>
                          <a:pt x="338" y="0"/>
                          <a:pt x="344" y="6"/>
                          <a:pt x="344" y="14"/>
                        </a:cubicBezTo>
                        <a:cubicBezTo>
                          <a:pt x="344" y="21"/>
                          <a:pt x="338" y="27"/>
                          <a:pt x="330"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sp>
                <p:nvSpPr>
                  <p:cNvPr id="780" name="Freeform 217">
                    <a:extLst>
                      <a:ext uri="{FF2B5EF4-FFF2-40B4-BE49-F238E27FC236}">
                        <a16:creationId xmlns:a16="http://schemas.microsoft.com/office/drawing/2014/main" id="{1C66A497-A797-4AC4-AD7C-37733399CA9C}"/>
                      </a:ext>
                    </a:extLst>
                  </p:cNvPr>
                  <p:cNvSpPr>
                    <a:spLocks/>
                  </p:cNvSpPr>
                  <p:nvPr/>
                </p:nvSpPr>
                <p:spPr bwMode="auto">
                  <a:xfrm>
                    <a:off x="9939770" y="5695192"/>
                    <a:ext cx="335156" cy="9715"/>
                  </a:xfrm>
                  <a:custGeom>
                    <a:avLst/>
                    <a:gdLst>
                      <a:gd name="T0" fmla="*/ 1016 w 1030"/>
                      <a:gd name="T1" fmla="*/ 27 h 27"/>
                      <a:gd name="T2" fmla="*/ 1016 w 1030"/>
                      <a:gd name="T3" fmla="*/ 27 h 27"/>
                      <a:gd name="T4" fmla="*/ 14 w 1030"/>
                      <a:gd name="T5" fmla="*/ 27 h 27"/>
                      <a:gd name="T6" fmla="*/ 0 w 1030"/>
                      <a:gd name="T7" fmla="*/ 13 h 27"/>
                      <a:gd name="T8" fmla="*/ 14 w 1030"/>
                      <a:gd name="T9" fmla="*/ 0 h 27"/>
                      <a:gd name="T10" fmla="*/ 1016 w 1030"/>
                      <a:gd name="T11" fmla="*/ 0 h 27"/>
                      <a:gd name="T12" fmla="*/ 1030 w 1030"/>
                      <a:gd name="T13" fmla="*/ 13 h 27"/>
                      <a:gd name="T14" fmla="*/ 1016 w 1030"/>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0" h="27">
                        <a:moveTo>
                          <a:pt x="1016" y="27"/>
                        </a:moveTo>
                        <a:lnTo>
                          <a:pt x="1016" y="27"/>
                        </a:lnTo>
                        <a:lnTo>
                          <a:pt x="14" y="27"/>
                        </a:lnTo>
                        <a:cubicBezTo>
                          <a:pt x="6" y="27"/>
                          <a:pt x="0" y="21"/>
                          <a:pt x="0" y="13"/>
                        </a:cubicBezTo>
                        <a:cubicBezTo>
                          <a:pt x="0" y="6"/>
                          <a:pt x="6" y="0"/>
                          <a:pt x="14" y="0"/>
                        </a:cubicBezTo>
                        <a:lnTo>
                          <a:pt x="1016" y="0"/>
                        </a:lnTo>
                        <a:cubicBezTo>
                          <a:pt x="1024" y="0"/>
                          <a:pt x="1030" y="6"/>
                          <a:pt x="1030" y="13"/>
                        </a:cubicBezTo>
                        <a:cubicBezTo>
                          <a:pt x="1030" y="21"/>
                          <a:pt x="1024" y="27"/>
                          <a:pt x="1016" y="2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505050"/>
                      </a:solidFill>
                      <a:latin typeface="Segoe UI"/>
                    </a:endParaRPr>
                  </a:p>
                </p:txBody>
              </p:sp>
            </p:grpSp>
          </p:grpSp>
        </p:grpSp>
        <p:sp>
          <p:nvSpPr>
            <p:cNvPr id="762" name="TextBox 761">
              <a:extLst>
                <a:ext uri="{FF2B5EF4-FFF2-40B4-BE49-F238E27FC236}">
                  <a16:creationId xmlns:a16="http://schemas.microsoft.com/office/drawing/2014/main" id="{0E921EF8-2A75-4564-8809-498AF28460BD}"/>
                </a:ext>
              </a:extLst>
            </p:cNvPr>
            <p:cNvSpPr txBox="1"/>
            <p:nvPr/>
          </p:nvSpPr>
          <p:spPr>
            <a:xfrm>
              <a:off x="3882064" y="4520188"/>
              <a:ext cx="749222" cy="291578"/>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793" eaLnBrk="1" fontAlgn="auto" hangingPunct="1">
                <a:spcBef>
                  <a:spcPts val="0"/>
                </a:spcBef>
                <a:spcAft>
                  <a:spcPts val="0"/>
                </a:spcAft>
                <a:defRPr/>
              </a:pPr>
              <a:r>
                <a:rPr lang="en-US" sz="881">
                  <a:solidFill>
                    <a:srgbClr val="FFFFFF"/>
                  </a:solidFill>
                </a:rPr>
                <a:t>Policies</a:t>
              </a:r>
            </a:p>
          </p:txBody>
        </p:sp>
      </p:grpSp>
      <p:grpSp>
        <p:nvGrpSpPr>
          <p:cNvPr id="809" name="Group 808">
            <a:extLst>
              <a:ext uri="{FF2B5EF4-FFF2-40B4-BE49-F238E27FC236}">
                <a16:creationId xmlns:a16="http://schemas.microsoft.com/office/drawing/2014/main" id="{B041B0C4-D397-46DB-98A3-99CACB2C2602}"/>
              </a:ext>
            </a:extLst>
          </p:cNvPr>
          <p:cNvGrpSpPr/>
          <p:nvPr/>
        </p:nvGrpSpPr>
        <p:grpSpPr>
          <a:xfrm>
            <a:off x="4972791" y="2524131"/>
            <a:ext cx="769335" cy="852417"/>
            <a:chOff x="5727971" y="2924092"/>
            <a:chExt cx="1046498" cy="1159512"/>
          </a:xfrm>
        </p:grpSpPr>
        <p:grpSp>
          <p:nvGrpSpPr>
            <p:cNvPr id="810" name="Group 809">
              <a:extLst>
                <a:ext uri="{FF2B5EF4-FFF2-40B4-BE49-F238E27FC236}">
                  <a16:creationId xmlns:a16="http://schemas.microsoft.com/office/drawing/2014/main" id="{59B760D2-6600-4F7E-9CAF-814F025642C8}"/>
                </a:ext>
              </a:extLst>
            </p:cNvPr>
            <p:cNvGrpSpPr/>
            <p:nvPr/>
          </p:nvGrpSpPr>
          <p:grpSpPr>
            <a:xfrm>
              <a:off x="5727971" y="2924092"/>
              <a:ext cx="729430" cy="562554"/>
              <a:chOff x="5199063" y="3544889"/>
              <a:chExt cx="673100" cy="519112"/>
            </a:xfrm>
            <a:solidFill>
              <a:srgbClr val="FFFFFF"/>
            </a:solidFill>
          </p:grpSpPr>
          <p:sp>
            <p:nvSpPr>
              <p:cNvPr id="812" name="Freeform 160">
                <a:extLst>
                  <a:ext uri="{FF2B5EF4-FFF2-40B4-BE49-F238E27FC236}">
                    <a16:creationId xmlns:a16="http://schemas.microsoft.com/office/drawing/2014/main" id="{5E84D9D5-2758-49C7-BB4A-8B02FA5AE2A1}"/>
                  </a:ext>
                </a:extLst>
              </p:cNvPr>
              <p:cNvSpPr>
                <a:spLocks noEditPoints="1"/>
              </p:cNvSpPr>
              <p:nvPr/>
            </p:nvSpPr>
            <p:spPr bwMode="auto">
              <a:xfrm>
                <a:off x="5426075" y="3614739"/>
                <a:ext cx="196850" cy="196850"/>
              </a:xfrm>
              <a:custGeom>
                <a:avLst/>
                <a:gdLst>
                  <a:gd name="T0" fmla="*/ 329 w 720"/>
                  <a:gd name="T1" fmla="*/ 433 h 720"/>
                  <a:gd name="T2" fmla="*/ 433 w 720"/>
                  <a:gd name="T3" fmla="*/ 330 h 720"/>
                  <a:gd name="T4" fmla="*/ 330 w 720"/>
                  <a:gd name="T5" fmla="*/ 287 h 720"/>
                  <a:gd name="T6" fmla="*/ 329 w 720"/>
                  <a:gd name="T7" fmla="*/ 433 h 720"/>
                  <a:gd name="T8" fmla="*/ 360 w 720"/>
                  <a:gd name="T9" fmla="*/ 466 h 720"/>
                  <a:gd name="T10" fmla="*/ 319 w 720"/>
                  <a:gd name="T11" fmla="*/ 458 h 720"/>
                  <a:gd name="T12" fmla="*/ 262 w 720"/>
                  <a:gd name="T13" fmla="*/ 319 h 720"/>
                  <a:gd name="T14" fmla="*/ 401 w 720"/>
                  <a:gd name="T15" fmla="*/ 263 h 720"/>
                  <a:gd name="T16" fmla="*/ 458 w 720"/>
                  <a:gd name="T17" fmla="*/ 401 h 720"/>
                  <a:gd name="T18" fmla="*/ 322 w 720"/>
                  <a:gd name="T19" fmla="*/ 613 h 720"/>
                  <a:gd name="T20" fmla="*/ 395 w 720"/>
                  <a:gd name="T21" fmla="*/ 613 h 720"/>
                  <a:gd name="T22" fmla="*/ 519 w 720"/>
                  <a:gd name="T23" fmla="*/ 665 h 720"/>
                  <a:gd name="T24" fmla="*/ 563 w 720"/>
                  <a:gd name="T25" fmla="*/ 515 h 720"/>
                  <a:gd name="T26" fmla="*/ 688 w 720"/>
                  <a:gd name="T27" fmla="*/ 463 h 720"/>
                  <a:gd name="T28" fmla="*/ 613 w 720"/>
                  <a:gd name="T29" fmla="*/ 326 h 720"/>
                  <a:gd name="T30" fmla="*/ 665 w 720"/>
                  <a:gd name="T31" fmla="*/ 201 h 720"/>
                  <a:gd name="T32" fmla="*/ 514 w 720"/>
                  <a:gd name="T33" fmla="*/ 157 h 720"/>
                  <a:gd name="T34" fmla="*/ 463 w 720"/>
                  <a:gd name="T35" fmla="*/ 32 h 720"/>
                  <a:gd name="T36" fmla="*/ 325 w 720"/>
                  <a:gd name="T37" fmla="*/ 107 h 720"/>
                  <a:gd name="T38" fmla="*/ 201 w 720"/>
                  <a:gd name="T39" fmla="*/ 55 h 720"/>
                  <a:gd name="T40" fmla="*/ 157 w 720"/>
                  <a:gd name="T41" fmla="*/ 206 h 720"/>
                  <a:gd name="T42" fmla="*/ 32 w 720"/>
                  <a:gd name="T43" fmla="*/ 257 h 720"/>
                  <a:gd name="T44" fmla="*/ 107 w 720"/>
                  <a:gd name="T45" fmla="*/ 395 h 720"/>
                  <a:gd name="T46" fmla="*/ 55 w 720"/>
                  <a:gd name="T47" fmla="*/ 519 h 720"/>
                  <a:gd name="T48" fmla="*/ 205 w 720"/>
                  <a:gd name="T49" fmla="*/ 564 h 720"/>
                  <a:gd name="T50" fmla="*/ 257 w 720"/>
                  <a:gd name="T51" fmla="*/ 688 h 720"/>
                  <a:gd name="T52" fmla="*/ 264 w 720"/>
                  <a:gd name="T53" fmla="*/ 720 h 720"/>
                  <a:gd name="T54" fmla="*/ 172 w 720"/>
                  <a:gd name="T55" fmla="*/ 681 h 720"/>
                  <a:gd name="T56" fmla="*/ 144 w 720"/>
                  <a:gd name="T57" fmla="*/ 540 h 720"/>
                  <a:gd name="T58" fmla="*/ 0 w 720"/>
                  <a:gd name="T59" fmla="*/ 455 h 720"/>
                  <a:gd name="T60" fmla="*/ 81 w 720"/>
                  <a:gd name="T61" fmla="*/ 335 h 720"/>
                  <a:gd name="T62" fmla="*/ 39 w 720"/>
                  <a:gd name="T63" fmla="*/ 172 h 720"/>
                  <a:gd name="T64" fmla="*/ 181 w 720"/>
                  <a:gd name="T65" fmla="*/ 144 h 720"/>
                  <a:gd name="T66" fmla="*/ 266 w 720"/>
                  <a:gd name="T67" fmla="*/ 0 h 720"/>
                  <a:gd name="T68" fmla="*/ 386 w 720"/>
                  <a:gd name="T69" fmla="*/ 81 h 720"/>
                  <a:gd name="T70" fmla="*/ 548 w 720"/>
                  <a:gd name="T71" fmla="*/ 39 h 720"/>
                  <a:gd name="T72" fmla="*/ 576 w 720"/>
                  <a:gd name="T73" fmla="*/ 181 h 720"/>
                  <a:gd name="T74" fmla="*/ 720 w 720"/>
                  <a:gd name="T75" fmla="*/ 266 h 720"/>
                  <a:gd name="T76" fmla="*/ 639 w 720"/>
                  <a:gd name="T77" fmla="*/ 386 h 720"/>
                  <a:gd name="T78" fmla="*/ 681 w 720"/>
                  <a:gd name="T79" fmla="*/ 548 h 720"/>
                  <a:gd name="T80" fmla="*/ 539 w 720"/>
                  <a:gd name="T81" fmla="*/ 576 h 720"/>
                  <a:gd name="T82" fmla="*/ 454 w 720"/>
                  <a:gd name="T83" fmla="*/ 720 h 720"/>
                  <a:gd name="T84" fmla="*/ 334 w 720"/>
                  <a:gd name="T85" fmla="*/ 6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0" h="720">
                    <a:moveTo>
                      <a:pt x="329" y="433"/>
                    </a:moveTo>
                    <a:lnTo>
                      <a:pt x="329" y="433"/>
                    </a:lnTo>
                    <a:cubicBezTo>
                      <a:pt x="369" y="450"/>
                      <a:pt x="416" y="431"/>
                      <a:pt x="433" y="391"/>
                    </a:cubicBezTo>
                    <a:cubicBezTo>
                      <a:pt x="441" y="372"/>
                      <a:pt x="441" y="350"/>
                      <a:pt x="433" y="330"/>
                    </a:cubicBezTo>
                    <a:cubicBezTo>
                      <a:pt x="425" y="311"/>
                      <a:pt x="410" y="295"/>
                      <a:pt x="391" y="287"/>
                    </a:cubicBezTo>
                    <a:cubicBezTo>
                      <a:pt x="371" y="279"/>
                      <a:pt x="350" y="279"/>
                      <a:pt x="330" y="287"/>
                    </a:cubicBezTo>
                    <a:cubicBezTo>
                      <a:pt x="310" y="295"/>
                      <a:pt x="295" y="310"/>
                      <a:pt x="287" y="329"/>
                    </a:cubicBezTo>
                    <a:cubicBezTo>
                      <a:pt x="270" y="370"/>
                      <a:pt x="289" y="416"/>
                      <a:pt x="329" y="433"/>
                    </a:cubicBezTo>
                    <a:lnTo>
                      <a:pt x="329" y="433"/>
                    </a:lnTo>
                    <a:close/>
                    <a:moveTo>
                      <a:pt x="360" y="466"/>
                    </a:moveTo>
                    <a:lnTo>
                      <a:pt x="360" y="466"/>
                    </a:lnTo>
                    <a:cubicBezTo>
                      <a:pt x="346" y="466"/>
                      <a:pt x="332" y="464"/>
                      <a:pt x="319" y="458"/>
                    </a:cubicBezTo>
                    <a:lnTo>
                      <a:pt x="319" y="458"/>
                    </a:lnTo>
                    <a:cubicBezTo>
                      <a:pt x="265" y="435"/>
                      <a:pt x="240" y="373"/>
                      <a:pt x="262" y="319"/>
                    </a:cubicBezTo>
                    <a:cubicBezTo>
                      <a:pt x="273" y="293"/>
                      <a:pt x="294" y="273"/>
                      <a:pt x="320" y="262"/>
                    </a:cubicBezTo>
                    <a:cubicBezTo>
                      <a:pt x="346" y="251"/>
                      <a:pt x="375" y="252"/>
                      <a:pt x="401" y="263"/>
                    </a:cubicBezTo>
                    <a:cubicBezTo>
                      <a:pt x="427" y="274"/>
                      <a:pt x="447" y="294"/>
                      <a:pt x="458" y="320"/>
                    </a:cubicBezTo>
                    <a:cubicBezTo>
                      <a:pt x="469" y="347"/>
                      <a:pt x="469" y="375"/>
                      <a:pt x="458" y="401"/>
                    </a:cubicBezTo>
                    <a:cubicBezTo>
                      <a:pt x="441" y="442"/>
                      <a:pt x="401" y="466"/>
                      <a:pt x="360" y="466"/>
                    </a:cubicBezTo>
                    <a:close/>
                    <a:moveTo>
                      <a:pt x="322" y="613"/>
                    </a:moveTo>
                    <a:lnTo>
                      <a:pt x="322" y="613"/>
                    </a:lnTo>
                    <a:lnTo>
                      <a:pt x="395" y="613"/>
                    </a:lnTo>
                    <a:lnTo>
                      <a:pt x="462" y="688"/>
                    </a:lnTo>
                    <a:lnTo>
                      <a:pt x="519" y="665"/>
                    </a:lnTo>
                    <a:lnTo>
                      <a:pt x="512" y="566"/>
                    </a:lnTo>
                    <a:lnTo>
                      <a:pt x="563" y="515"/>
                    </a:lnTo>
                    <a:lnTo>
                      <a:pt x="664" y="520"/>
                    </a:lnTo>
                    <a:lnTo>
                      <a:pt x="688" y="463"/>
                    </a:lnTo>
                    <a:lnTo>
                      <a:pt x="613" y="398"/>
                    </a:lnTo>
                    <a:lnTo>
                      <a:pt x="613" y="326"/>
                    </a:lnTo>
                    <a:lnTo>
                      <a:pt x="688" y="259"/>
                    </a:lnTo>
                    <a:lnTo>
                      <a:pt x="665" y="201"/>
                    </a:lnTo>
                    <a:lnTo>
                      <a:pt x="565" y="208"/>
                    </a:lnTo>
                    <a:lnTo>
                      <a:pt x="514" y="157"/>
                    </a:lnTo>
                    <a:lnTo>
                      <a:pt x="520" y="56"/>
                    </a:lnTo>
                    <a:lnTo>
                      <a:pt x="463" y="32"/>
                    </a:lnTo>
                    <a:lnTo>
                      <a:pt x="398" y="108"/>
                    </a:lnTo>
                    <a:lnTo>
                      <a:pt x="325" y="107"/>
                    </a:lnTo>
                    <a:lnTo>
                      <a:pt x="258" y="32"/>
                    </a:lnTo>
                    <a:lnTo>
                      <a:pt x="201" y="55"/>
                    </a:lnTo>
                    <a:lnTo>
                      <a:pt x="208" y="155"/>
                    </a:lnTo>
                    <a:lnTo>
                      <a:pt x="157" y="206"/>
                    </a:lnTo>
                    <a:lnTo>
                      <a:pt x="56" y="200"/>
                    </a:lnTo>
                    <a:lnTo>
                      <a:pt x="32" y="257"/>
                    </a:lnTo>
                    <a:lnTo>
                      <a:pt x="107" y="322"/>
                    </a:lnTo>
                    <a:lnTo>
                      <a:pt x="107" y="395"/>
                    </a:lnTo>
                    <a:lnTo>
                      <a:pt x="32" y="462"/>
                    </a:lnTo>
                    <a:lnTo>
                      <a:pt x="55" y="519"/>
                    </a:lnTo>
                    <a:lnTo>
                      <a:pt x="155" y="512"/>
                    </a:lnTo>
                    <a:lnTo>
                      <a:pt x="205" y="564"/>
                    </a:lnTo>
                    <a:lnTo>
                      <a:pt x="200" y="664"/>
                    </a:lnTo>
                    <a:lnTo>
                      <a:pt x="257" y="688"/>
                    </a:lnTo>
                    <a:lnTo>
                      <a:pt x="322" y="613"/>
                    </a:lnTo>
                    <a:close/>
                    <a:moveTo>
                      <a:pt x="264" y="720"/>
                    </a:moveTo>
                    <a:lnTo>
                      <a:pt x="264" y="720"/>
                    </a:lnTo>
                    <a:lnTo>
                      <a:pt x="172" y="681"/>
                    </a:lnTo>
                    <a:lnTo>
                      <a:pt x="178" y="574"/>
                    </a:lnTo>
                    <a:lnTo>
                      <a:pt x="144" y="540"/>
                    </a:lnTo>
                    <a:lnTo>
                      <a:pt x="38" y="547"/>
                    </a:lnTo>
                    <a:lnTo>
                      <a:pt x="0" y="455"/>
                    </a:lnTo>
                    <a:lnTo>
                      <a:pt x="80" y="383"/>
                    </a:lnTo>
                    <a:lnTo>
                      <a:pt x="81" y="335"/>
                    </a:lnTo>
                    <a:lnTo>
                      <a:pt x="0" y="265"/>
                    </a:lnTo>
                    <a:lnTo>
                      <a:pt x="39" y="172"/>
                    </a:lnTo>
                    <a:lnTo>
                      <a:pt x="146" y="178"/>
                    </a:lnTo>
                    <a:lnTo>
                      <a:pt x="181" y="144"/>
                    </a:lnTo>
                    <a:lnTo>
                      <a:pt x="173" y="38"/>
                    </a:lnTo>
                    <a:lnTo>
                      <a:pt x="266" y="0"/>
                    </a:lnTo>
                    <a:lnTo>
                      <a:pt x="337" y="81"/>
                    </a:lnTo>
                    <a:lnTo>
                      <a:pt x="386" y="81"/>
                    </a:lnTo>
                    <a:lnTo>
                      <a:pt x="456" y="0"/>
                    </a:lnTo>
                    <a:lnTo>
                      <a:pt x="548" y="39"/>
                    </a:lnTo>
                    <a:lnTo>
                      <a:pt x="542" y="146"/>
                    </a:lnTo>
                    <a:lnTo>
                      <a:pt x="576" y="181"/>
                    </a:lnTo>
                    <a:lnTo>
                      <a:pt x="682" y="173"/>
                    </a:lnTo>
                    <a:lnTo>
                      <a:pt x="720" y="266"/>
                    </a:lnTo>
                    <a:lnTo>
                      <a:pt x="640" y="338"/>
                    </a:lnTo>
                    <a:lnTo>
                      <a:pt x="639" y="386"/>
                    </a:lnTo>
                    <a:lnTo>
                      <a:pt x="720" y="456"/>
                    </a:lnTo>
                    <a:lnTo>
                      <a:pt x="681" y="548"/>
                    </a:lnTo>
                    <a:lnTo>
                      <a:pt x="574" y="542"/>
                    </a:lnTo>
                    <a:lnTo>
                      <a:pt x="539" y="576"/>
                    </a:lnTo>
                    <a:lnTo>
                      <a:pt x="547" y="682"/>
                    </a:lnTo>
                    <a:lnTo>
                      <a:pt x="454" y="720"/>
                    </a:lnTo>
                    <a:lnTo>
                      <a:pt x="383" y="640"/>
                    </a:lnTo>
                    <a:lnTo>
                      <a:pt x="334" y="640"/>
                    </a:lnTo>
                    <a:lnTo>
                      <a:pt x="264" y="720"/>
                    </a:ln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13" name="Freeform 161">
                <a:extLst>
                  <a:ext uri="{FF2B5EF4-FFF2-40B4-BE49-F238E27FC236}">
                    <a16:creationId xmlns:a16="http://schemas.microsoft.com/office/drawing/2014/main" id="{FB2A1626-E520-4AAF-B8B4-3E9CBF1DB948}"/>
                  </a:ext>
                </a:extLst>
              </p:cNvPr>
              <p:cNvSpPr>
                <a:spLocks noEditPoints="1"/>
              </p:cNvSpPr>
              <p:nvPr/>
            </p:nvSpPr>
            <p:spPr bwMode="auto">
              <a:xfrm>
                <a:off x="5589588" y="3744914"/>
                <a:ext cx="138113" cy="138113"/>
              </a:xfrm>
              <a:custGeom>
                <a:avLst/>
                <a:gdLst>
                  <a:gd name="T0" fmla="*/ 253 w 505"/>
                  <a:gd name="T1" fmla="*/ 202 h 505"/>
                  <a:gd name="T2" fmla="*/ 233 w 505"/>
                  <a:gd name="T3" fmla="*/ 299 h 505"/>
                  <a:gd name="T4" fmla="*/ 272 w 505"/>
                  <a:gd name="T5" fmla="*/ 299 h 505"/>
                  <a:gd name="T6" fmla="*/ 272 w 505"/>
                  <a:gd name="T7" fmla="*/ 206 h 505"/>
                  <a:gd name="T8" fmla="*/ 253 w 505"/>
                  <a:gd name="T9" fmla="*/ 329 h 505"/>
                  <a:gd name="T10" fmla="*/ 223 w 505"/>
                  <a:gd name="T11" fmla="*/ 323 h 505"/>
                  <a:gd name="T12" fmla="*/ 283 w 505"/>
                  <a:gd name="T13" fmla="*/ 181 h 505"/>
                  <a:gd name="T14" fmla="*/ 282 w 505"/>
                  <a:gd name="T15" fmla="*/ 324 h 505"/>
                  <a:gd name="T16" fmla="*/ 225 w 505"/>
                  <a:gd name="T17" fmla="*/ 422 h 505"/>
                  <a:gd name="T18" fmla="*/ 279 w 505"/>
                  <a:gd name="T19" fmla="*/ 422 h 505"/>
                  <a:gd name="T20" fmla="*/ 358 w 505"/>
                  <a:gd name="T21" fmla="*/ 459 h 505"/>
                  <a:gd name="T22" fmla="*/ 391 w 505"/>
                  <a:gd name="T23" fmla="*/ 354 h 505"/>
                  <a:gd name="T24" fmla="*/ 473 w 505"/>
                  <a:gd name="T25" fmla="*/ 324 h 505"/>
                  <a:gd name="T26" fmla="*/ 423 w 505"/>
                  <a:gd name="T27" fmla="*/ 227 h 505"/>
                  <a:gd name="T28" fmla="*/ 460 w 505"/>
                  <a:gd name="T29" fmla="*/ 147 h 505"/>
                  <a:gd name="T30" fmla="*/ 355 w 505"/>
                  <a:gd name="T31" fmla="*/ 114 h 505"/>
                  <a:gd name="T32" fmla="*/ 325 w 505"/>
                  <a:gd name="T33" fmla="*/ 32 h 505"/>
                  <a:gd name="T34" fmla="*/ 227 w 505"/>
                  <a:gd name="T35" fmla="*/ 82 h 505"/>
                  <a:gd name="T36" fmla="*/ 148 w 505"/>
                  <a:gd name="T37" fmla="*/ 45 h 505"/>
                  <a:gd name="T38" fmla="*/ 114 w 505"/>
                  <a:gd name="T39" fmla="*/ 150 h 505"/>
                  <a:gd name="T40" fmla="*/ 32 w 505"/>
                  <a:gd name="T41" fmla="*/ 180 h 505"/>
                  <a:gd name="T42" fmla="*/ 83 w 505"/>
                  <a:gd name="T43" fmla="*/ 278 h 505"/>
                  <a:gd name="T44" fmla="*/ 46 w 505"/>
                  <a:gd name="T45" fmla="*/ 357 h 505"/>
                  <a:gd name="T46" fmla="*/ 151 w 505"/>
                  <a:gd name="T47" fmla="*/ 391 h 505"/>
                  <a:gd name="T48" fmla="*/ 181 w 505"/>
                  <a:gd name="T49" fmla="*/ 473 h 505"/>
                  <a:gd name="T50" fmla="*/ 188 w 505"/>
                  <a:gd name="T51" fmla="*/ 505 h 505"/>
                  <a:gd name="T52" fmla="*/ 119 w 505"/>
                  <a:gd name="T53" fmla="*/ 476 h 505"/>
                  <a:gd name="T54" fmla="*/ 103 w 505"/>
                  <a:gd name="T55" fmla="*/ 380 h 505"/>
                  <a:gd name="T56" fmla="*/ 0 w 505"/>
                  <a:gd name="T57" fmla="*/ 316 h 505"/>
                  <a:gd name="T58" fmla="*/ 56 w 505"/>
                  <a:gd name="T59" fmla="*/ 236 h 505"/>
                  <a:gd name="T60" fmla="*/ 29 w 505"/>
                  <a:gd name="T61" fmla="*/ 119 h 505"/>
                  <a:gd name="T62" fmla="*/ 125 w 505"/>
                  <a:gd name="T63" fmla="*/ 102 h 505"/>
                  <a:gd name="T64" fmla="*/ 189 w 505"/>
                  <a:gd name="T65" fmla="*/ 0 h 505"/>
                  <a:gd name="T66" fmla="*/ 269 w 505"/>
                  <a:gd name="T67" fmla="*/ 56 h 505"/>
                  <a:gd name="T68" fmla="*/ 386 w 505"/>
                  <a:gd name="T69" fmla="*/ 29 h 505"/>
                  <a:gd name="T70" fmla="*/ 403 w 505"/>
                  <a:gd name="T71" fmla="*/ 125 h 505"/>
                  <a:gd name="T72" fmla="*/ 505 w 505"/>
                  <a:gd name="T73" fmla="*/ 189 h 505"/>
                  <a:gd name="T74" fmla="*/ 449 w 505"/>
                  <a:gd name="T75" fmla="*/ 268 h 505"/>
                  <a:gd name="T76" fmla="*/ 476 w 505"/>
                  <a:gd name="T77" fmla="*/ 386 h 505"/>
                  <a:gd name="T78" fmla="*/ 381 w 505"/>
                  <a:gd name="T79" fmla="*/ 402 h 505"/>
                  <a:gd name="T80" fmla="*/ 317 w 505"/>
                  <a:gd name="T81" fmla="*/ 505 h 505"/>
                  <a:gd name="T82" fmla="*/ 237 w 505"/>
                  <a:gd name="T83" fmla="*/ 449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5" h="505">
                    <a:moveTo>
                      <a:pt x="253" y="202"/>
                    </a:moveTo>
                    <a:lnTo>
                      <a:pt x="253" y="202"/>
                    </a:lnTo>
                    <a:cubicBezTo>
                      <a:pt x="233" y="202"/>
                      <a:pt x="215" y="213"/>
                      <a:pt x="206" y="233"/>
                    </a:cubicBezTo>
                    <a:cubicBezTo>
                      <a:pt x="196" y="258"/>
                      <a:pt x="208" y="288"/>
                      <a:pt x="233" y="299"/>
                    </a:cubicBezTo>
                    <a:lnTo>
                      <a:pt x="233" y="299"/>
                    </a:lnTo>
                    <a:cubicBezTo>
                      <a:pt x="246" y="304"/>
                      <a:pt x="259" y="304"/>
                      <a:pt x="272" y="299"/>
                    </a:cubicBezTo>
                    <a:cubicBezTo>
                      <a:pt x="284" y="294"/>
                      <a:pt x="294" y="284"/>
                      <a:pt x="299" y="272"/>
                    </a:cubicBezTo>
                    <a:cubicBezTo>
                      <a:pt x="310" y="246"/>
                      <a:pt x="298" y="217"/>
                      <a:pt x="272" y="206"/>
                    </a:cubicBezTo>
                    <a:cubicBezTo>
                      <a:pt x="266" y="203"/>
                      <a:pt x="259" y="202"/>
                      <a:pt x="253" y="202"/>
                    </a:cubicBezTo>
                    <a:close/>
                    <a:moveTo>
                      <a:pt x="253" y="329"/>
                    </a:moveTo>
                    <a:lnTo>
                      <a:pt x="253" y="329"/>
                    </a:lnTo>
                    <a:cubicBezTo>
                      <a:pt x="243" y="329"/>
                      <a:pt x="233" y="327"/>
                      <a:pt x="223" y="323"/>
                    </a:cubicBezTo>
                    <a:cubicBezTo>
                      <a:pt x="184" y="307"/>
                      <a:pt x="165" y="261"/>
                      <a:pt x="182" y="222"/>
                    </a:cubicBezTo>
                    <a:cubicBezTo>
                      <a:pt x="198" y="183"/>
                      <a:pt x="244" y="165"/>
                      <a:pt x="283" y="181"/>
                    </a:cubicBezTo>
                    <a:cubicBezTo>
                      <a:pt x="322" y="198"/>
                      <a:pt x="340" y="243"/>
                      <a:pt x="324" y="282"/>
                    </a:cubicBezTo>
                    <a:cubicBezTo>
                      <a:pt x="316" y="301"/>
                      <a:pt x="301" y="316"/>
                      <a:pt x="282" y="324"/>
                    </a:cubicBezTo>
                    <a:cubicBezTo>
                      <a:pt x="272" y="327"/>
                      <a:pt x="263" y="329"/>
                      <a:pt x="253" y="329"/>
                    </a:cubicBezTo>
                    <a:close/>
                    <a:moveTo>
                      <a:pt x="225" y="422"/>
                    </a:moveTo>
                    <a:lnTo>
                      <a:pt x="225" y="422"/>
                    </a:lnTo>
                    <a:lnTo>
                      <a:pt x="279" y="422"/>
                    </a:lnTo>
                    <a:lnTo>
                      <a:pt x="324" y="473"/>
                    </a:lnTo>
                    <a:lnTo>
                      <a:pt x="358" y="459"/>
                    </a:lnTo>
                    <a:lnTo>
                      <a:pt x="353" y="392"/>
                    </a:lnTo>
                    <a:lnTo>
                      <a:pt x="391" y="354"/>
                    </a:lnTo>
                    <a:lnTo>
                      <a:pt x="459" y="358"/>
                    </a:lnTo>
                    <a:lnTo>
                      <a:pt x="473" y="324"/>
                    </a:lnTo>
                    <a:lnTo>
                      <a:pt x="422" y="280"/>
                    </a:lnTo>
                    <a:lnTo>
                      <a:pt x="423" y="227"/>
                    </a:lnTo>
                    <a:lnTo>
                      <a:pt x="474" y="181"/>
                    </a:lnTo>
                    <a:lnTo>
                      <a:pt x="460" y="147"/>
                    </a:lnTo>
                    <a:lnTo>
                      <a:pt x="393" y="152"/>
                    </a:lnTo>
                    <a:lnTo>
                      <a:pt x="355" y="114"/>
                    </a:lnTo>
                    <a:lnTo>
                      <a:pt x="359" y="46"/>
                    </a:lnTo>
                    <a:lnTo>
                      <a:pt x="325" y="32"/>
                    </a:lnTo>
                    <a:lnTo>
                      <a:pt x="281" y="83"/>
                    </a:lnTo>
                    <a:lnTo>
                      <a:pt x="227" y="82"/>
                    </a:lnTo>
                    <a:lnTo>
                      <a:pt x="182" y="32"/>
                    </a:lnTo>
                    <a:lnTo>
                      <a:pt x="148" y="45"/>
                    </a:lnTo>
                    <a:lnTo>
                      <a:pt x="153" y="113"/>
                    </a:lnTo>
                    <a:lnTo>
                      <a:pt x="114" y="150"/>
                    </a:lnTo>
                    <a:lnTo>
                      <a:pt x="46" y="146"/>
                    </a:lnTo>
                    <a:lnTo>
                      <a:pt x="32" y="180"/>
                    </a:lnTo>
                    <a:lnTo>
                      <a:pt x="83" y="224"/>
                    </a:lnTo>
                    <a:lnTo>
                      <a:pt x="83" y="278"/>
                    </a:lnTo>
                    <a:lnTo>
                      <a:pt x="32" y="323"/>
                    </a:lnTo>
                    <a:lnTo>
                      <a:pt x="46" y="357"/>
                    </a:lnTo>
                    <a:lnTo>
                      <a:pt x="113" y="353"/>
                    </a:lnTo>
                    <a:lnTo>
                      <a:pt x="151" y="391"/>
                    </a:lnTo>
                    <a:lnTo>
                      <a:pt x="147" y="459"/>
                    </a:lnTo>
                    <a:lnTo>
                      <a:pt x="181" y="473"/>
                    </a:lnTo>
                    <a:lnTo>
                      <a:pt x="225" y="422"/>
                    </a:lnTo>
                    <a:close/>
                    <a:moveTo>
                      <a:pt x="188" y="505"/>
                    </a:moveTo>
                    <a:lnTo>
                      <a:pt x="188" y="505"/>
                    </a:lnTo>
                    <a:lnTo>
                      <a:pt x="119" y="476"/>
                    </a:lnTo>
                    <a:lnTo>
                      <a:pt x="123" y="401"/>
                    </a:lnTo>
                    <a:lnTo>
                      <a:pt x="103" y="380"/>
                    </a:lnTo>
                    <a:lnTo>
                      <a:pt x="28" y="385"/>
                    </a:lnTo>
                    <a:lnTo>
                      <a:pt x="0" y="316"/>
                    </a:lnTo>
                    <a:lnTo>
                      <a:pt x="56" y="266"/>
                    </a:lnTo>
                    <a:lnTo>
                      <a:pt x="56" y="236"/>
                    </a:lnTo>
                    <a:lnTo>
                      <a:pt x="0" y="188"/>
                    </a:lnTo>
                    <a:lnTo>
                      <a:pt x="29" y="119"/>
                    </a:lnTo>
                    <a:lnTo>
                      <a:pt x="104" y="123"/>
                    </a:lnTo>
                    <a:lnTo>
                      <a:pt x="125" y="102"/>
                    </a:lnTo>
                    <a:lnTo>
                      <a:pt x="120" y="28"/>
                    </a:lnTo>
                    <a:lnTo>
                      <a:pt x="189" y="0"/>
                    </a:lnTo>
                    <a:lnTo>
                      <a:pt x="239" y="56"/>
                    </a:lnTo>
                    <a:lnTo>
                      <a:pt x="269" y="56"/>
                    </a:lnTo>
                    <a:lnTo>
                      <a:pt x="317" y="0"/>
                    </a:lnTo>
                    <a:lnTo>
                      <a:pt x="386" y="29"/>
                    </a:lnTo>
                    <a:lnTo>
                      <a:pt x="382" y="104"/>
                    </a:lnTo>
                    <a:lnTo>
                      <a:pt x="403" y="125"/>
                    </a:lnTo>
                    <a:lnTo>
                      <a:pt x="477" y="119"/>
                    </a:lnTo>
                    <a:lnTo>
                      <a:pt x="505" y="189"/>
                    </a:lnTo>
                    <a:lnTo>
                      <a:pt x="449" y="239"/>
                    </a:lnTo>
                    <a:lnTo>
                      <a:pt x="449" y="268"/>
                    </a:lnTo>
                    <a:lnTo>
                      <a:pt x="505" y="317"/>
                    </a:lnTo>
                    <a:lnTo>
                      <a:pt x="476" y="386"/>
                    </a:lnTo>
                    <a:lnTo>
                      <a:pt x="402" y="382"/>
                    </a:lnTo>
                    <a:lnTo>
                      <a:pt x="381" y="402"/>
                    </a:lnTo>
                    <a:lnTo>
                      <a:pt x="386" y="477"/>
                    </a:lnTo>
                    <a:lnTo>
                      <a:pt x="317" y="505"/>
                    </a:lnTo>
                    <a:lnTo>
                      <a:pt x="267" y="449"/>
                    </a:lnTo>
                    <a:lnTo>
                      <a:pt x="237" y="449"/>
                    </a:lnTo>
                    <a:lnTo>
                      <a:pt x="188" y="505"/>
                    </a:ln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14" name="Freeform 162">
                <a:extLst>
                  <a:ext uri="{FF2B5EF4-FFF2-40B4-BE49-F238E27FC236}">
                    <a16:creationId xmlns:a16="http://schemas.microsoft.com/office/drawing/2014/main" id="{D2CE8BCB-56E5-4E86-956E-F8F097F9D953}"/>
                  </a:ext>
                </a:extLst>
              </p:cNvPr>
              <p:cNvSpPr>
                <a:spLocks/>
              </p:cNvSpPr>
              <p:nvPr/>
            </p:nvSpPr>
            <p:spPr bwMode="auto">
              <a:xfrm>
                <a:off x="5281613" y="3752851"/>
                <a:ext cx="201613" cy="201613"/>
              </a:xfrm>
              <a:custGeom>
                <a:avLst/>
                <a:gdLst>
                  <a:gd name="T0" fmla="*/ 457 w 738"/>
                  <a:gd name="T1" fmla="*/ 606 h 738"/>
                  <a:gd name="T2" fmla="*/ 401 w 738"/>
                  <a:gd name="T3" fmla="*/ 711 h 738"/>
                  <a:gd name="T4" fmla="*/ 306 w 738"/>
                  <a:gd name="T5" fmla="*/ 616 h 738"/>
                  <a:gd name="T6" fmla="*/ 150 w 738"/>
                  <a:gd name="T7" fmla="*/ 634 h 738"/>
                  <a:gd name="T8" fmla="*/ 149 w 738"/>
                  <a:gd name="T9" fmla="*/ 499 h 738"/>
                  <a:gd name="T10" fmla="*/ 27 w 738"/>
                  <a:gd name="T11" fmla="*/ 401 h 738"/>
                  <a:gd name="T12" fmla="*/ 121 w 738"/>
                  <a:gd name="T13" fmla="*/ 305 h 738"/>
                  <a:gd name="T14" fmla="*/ 104 w 738"/>
                  <a:gd name="T15" fmla="*/ 150 h 738"/>
                  <a:gd name="T16" fmla="*/ 239 w 738"/>
                  <a:gd name="T17" fmla="*/ 149 h 738"/>
                  <a:gd name="T18" fmla="*/ 337 w 738"/>
                  <a:gd name="T19" fmla="*/ 26 h 738"/>
                  <a:gd name="T20" fmla="*/ 432 w 738"/>
                  <a:gd name="T21" fmla="*/ 121 h 738"/>
                  <a:gd name="T22" fmla="*/ 588 w 738"/>
                  <a:gd name="T23" fmla="*/ 104 h 738"/>
                  <a:gd name="T24" fmla="*/ 589 w 738"/>
                  <a:gd name="T25" fmla="*/ 239 h 738"/>
                  <a:gd name="T26" fmla="*/ 711 w 738"/>
                  <a:gd name="T27" fmla="*/ 336 h 738"/>
                  <a:gd name="T28" fmla="*/ 616 w 738"/>
                  <a:gd name="T29" fmla="*/ 432 h 738"/>
                  <a:gd name="T30" fmla="*/ 616 w 738"/>
                  <a:gd name="T31" fmla="*/ 467 h 738"/>
                  <a:gd name="T32" fmla="*/ 637 w 738"/>
                  <a:gd name="T33" fmla="*/ 453 h 738"/>
                  <a:gd name="T34" fmla="*/ 738 w 738"/>
                  <a:gd name="T35" fmla="*/ 317 h 738"/>
                  <a:gd name="T36" fmla="*/ 618 w 738"/>
                  <a:gd name="T37" fmla="*/ 239 h 738"/>
                  <a:gd name="T38" fmla="*/ 593 w 738"/>
                  <a:gd name="T39" fmla="*/ 71 h 738"/>
                  <a:gd name="T40" fmla="*/ 453 w 738"/>
                  <a:gd name="T41" fmla="*/ 101 h 738"/>
                  <a:gd name="T42" fmla="*/ 317 w 738"/>
                  <a:gd name="T43" fmla="*/ 0 h 738"/>
                  <a:gd name="T44" fmla="*/ 239 w 738"/>
                  <a:gd name="T45" fmla="*/ 120 h 738"/>
                  <a:gd name="T46" fmla="*/ 72 w 738"/>
                  <a:gd name="T47" fmla="*/ 144 h 738"/>
                  <a:gd name="T48" fmla="*/ 101 w 738"/>
                  <a:gd name="T49" fmla="*/ 284 h 738"/>
                  <a:gd name="T50" fmla="*/ 0 w 738"/>
                  <a:gd name="T51" fmla="*/ 420 h 738"/>
                  <a:gd name="T52" fmla="*/ 120 w 738"/>
                  <a:gd name="T53" fmla="*/ 498 h 738"/>
                  <a:gd name="T54" fmla="*/ 145 w 738"/>
                  <a:gd name="T55" fmla="*/ 666 h 738"/>
                  <a:gd name="T56" fmla="*/ 284 w 738"/>
                  <a:gd name="T57" fmla="*/ 636 h 738"/>
                  <a:gd name="T58" fmla="*/ 421 w 738"/>
                  <a:gd name="T59" fmla="*/ 738 h 738"/>
                  <a:gd name="T60" fmla="*/ 476 w 738"/>
                  <a:gd name="T61" fmla="*/ 627 h 738"/>
                  <a:gd name="T62" fmla="*/ 457 w 738"/>
                  <a:gd name="T63" fmla="*/ 606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38" h="738">
                    <a:moveTo>
                      <a:pt x="457" y="606"/>
                    </a:moveTo>
                    <a:lnTo>
                      <a:pt x="457" y="606"/>
                    </a:lnTo>
                    <a:lnTo>
                      <a:pt x="432" y="616"/>
                    </a:lnTo>
                    <a:lnTo>
                      <a:pt x="401" y="711"/>
                    </a:lnTo>
                    <a:lnTo>
                      <a:pt x="339" y="711"/>
                    </a:lnTo>
                    <a:lnTo>
                      <a:pt x="306" y="616"/>
                    </a:lnTo>
                    <a:lnTo>
                      <a:pt x="239" y="588"/>
                    </a:lnTo>
                    <a:lnTo>
                      <a:pt x="150" y="634"/>
                    </a:lnTo>
                    <a:lnTo>
                      <a:pt x="106" y="590"/>
                    </a:lnTo>
                    <a:lnTo>
                      <a:pt x="149" y="499"/>
                    </a:lnTo>
                    <a:lnTo>
                      <a:pt x="121" y="432"/>
                    </a:lnTo>
                    <a:lnTo>
                      <a:pt x="27" y="401"/>
                    </a:lnTo>
                    <a:lnTo>
                      <a:pt x="27" y="339"/>
                    </a:lnTo>
                    <a:lnTo>
                      <a:pt x="121" y="305"/>
                    </a:lnTo>
                    <a:lnTo>
                      <a:pt x="149" y="238"/>
                    </a:lnTo>
                    <a:lnTo>
                      <a:pt x="104" y="150"/>
                    </a:lnTo>
                    <a:lnTo>
                      <a:pt x="148" y="106"/>
                    </a:lnTo>
                    <a:lnTo>
                      <a:pt x="239" y="149"/>
                    </a:lnTo>
                    <a:lnTo>
                      <a:pt x="306" y="121"/>
                    </a:lnTo>
                    <a:lnTo>
                      <a:pt x="337" y="26"/>
                    </a:lnTo>
                    <a:lnTo>
                      <a:pt x="398" y="27"/>
                    </a:lnTo>
                    <a:lnTo>
                      <a:pt x="432" y="121"/>
                    </a:lnTo>
                    <a:lnTo>
                      <a:pt x="499" y="149"/>
                    </a:lnTo>
                    <a:lnTo>
                      <a:pt x="588" y="104"/>
                    </a:lnTo>
                    <a:lnTo>
                      <a:pt x="632" y="148"/>
                    </a:lnTo>
                    <a:lnTo>
                      <a:pt x="589" y="239"/>
                    </a:lnTo>
                    <a:lnTo>
                      <a:pt x="616" y="305"/>
                    </a:lnTo>
                    <a:lnTo>
                      <a:pt x="711" y="336"/>
                    </a:lnTo>
                    <a:lnTo>
                      <a:pt x="711" y="398"/>
                    </a:lnTo>
                    <a:lnTo>
                      <a:pt x="616" y="432"/>
                    </a:lnTo>
                    <a:lnTo>
                      <a:pt x="606" y="457"/>
                    </a:lnTo>
                    <a:lnTo>
                      <a:pt x="616" y="467"/>
                    </a:lnTo>
                    <a:lnTo>
                      <a:pt x="627" y="477"/>
                    </a:lnTo>
                    <a:lnTo>
                      <a:pt x="637" y="453"/>
                    </a:lnTo>
                    <a:lnTo>
                      <a:pt x="738" y="417"/>
                    </a:lnTo>
                    <a:lnTo>
                      <a:pt x="738" y="317"/>
                    </a:lnTo>
                    <a:lnTo>
                      <a:pt x="636" y="284"/>
                    </a:lnTo>
                    <a:lnTo>
                      <a:pt x="618" y="239"/>
                    </a:lnTo>
                    <a:lnTo>
                      <a:pt x="664" y="142"/>
                    </a:lnTo>
                    <a:lnTo>
                      <a:pt x="593" y="71"/>
                    </a:lnTo>
                    <a:lnTo>
                      <a:pt x="498" y="120"/>
                    </a:lnTo>
                    <a:lnTo>
                      <a:pt x="453" y="101"/>
                    </a:lnTo>
                    <a:lnTo>
                      <a:pt x="417" y="0"/>
                    </a:lnTo>
                    <a:lnTo>
                      <a:pt x="317" y="0"/>
                    </a:lnTo>
                    <a:lnTo>
                      <a:pt x="284" y="101"/>
                    </a:lnTo>
                    <a:lnTo>
                      <a:pt x="239" y="120"/>
                    </a:lnTo>
                    <a:lnTo>
                      <a:pt x="142" y="74"/>
                    </a:lnTo>
                    <a:lnTo>
                      <a:pt x="72" y="144"/>
                    </a:lnTo>
                    <a:lnTo>
                      <a:pt x="120" y="240"/>
                    </a:lnTo>
                    <a:lnTo>
                      <a:pt x="101" y="284"/>
                    </a:lnTo>
                    <a:lnTo>
                      <a:pt x="0" y="320"/>
                    </a:lnTo>
                    <a:lnTo>
                      <a:pt x="0" y="420"/>
                    </a:lnTo>
                    <a:lnTo>
                      <a:pt x="101" y="454"/>
                    </a:lnTo>
                    <a:lnTo>
                      <a:pt x="120" y="498"/>
                    </a:lnTo>
                    <a:lnTo>
                      <a:pt x="74" y="595"/>
                    </a:lnTo>
                    <a:lnTo>
                      <a:pt x="145" y="666"/>
                    </a:lnTo>
                    <a:lnTo>
                      <a:pt x="240" y="618"/>
                    </a:lnTo>
                    <a:lnTo>
                      <a:pt x="284" y="636"/>
                    </a:lnTo>
                    <a:lnTo>
                      <a:pt x="321" y="738"/>
                    </a:lnTo>
                    <a:lnTo>
                      <a:pt x="421" y="738"/>
                    </a:lnTo>
                    <a:lnTo>
                      <a:pt x="454" y="636"/>
                    </a:lnTo>
                    <a:lnTo>
                      <a:pt x="476" y="627"/>
                    </a:lnTo>
                    <a:lnTo>
                      <a:pt x="467" y="617"/>
                    </a:lnTo>
                    <a:lnTo>
                      <a:pt x="457" y="606"/>
                    </a:ln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15" name="Freeform 163">
                <a:extLst>
                  <a:ext uri="{FF2B5EF4-FFF2-40B4-BE49-F238E27FC236}">
                    <a16:creationId xmlns:a16="http://schemas.microsoft.com/office/drawing/2014/main" id="{0E586190-6164-409B-BF53-C6B5A2C2C577}"/>
                  </a:ext>
                </a:extLst>
              </p:cNvPr>
              <p:cNvSpPr>
                <a:spLocks noEditPoints="1"/>
              </p:cNvSpPr>
              <p:nvPr/>
            </p:nvSpPr>
            <p:spPr bwMode="auto">
              <a:xfrm>
                <a:off x="5353050" y="3822701"/>
                <a:ext cx="58738" cy="60325"/>
              </a:xfrm>
              <a:custGeom>
                <a:avLst/>
                <a:gdLst>
                  <a:gd name="T0" fmla="*/ 185 w 212"/>
                  <a:gd name="T1" fmla="*/ 112 h 218"/>
                  <a:gd name="T2" fmla="*/ 185 w 212"/>
                  <a:gd name="T3" fmla="*/ 112 h 218"/>
                  <a:gd name="T4" fmla="*/ 162 w 212"/>
                  <a:gd name="T5" fmla="*/ 168 h 218"/>
                  <a:gd name="T6" fmla="*/ 50 w 212"/>
                  <a:gd name="T7" fmla="*/ 168 h 218"/>
                  <a:gd name="T8" fmla="*/ 27 w 212"/>
                  <a:gd name="T9" fmla="*/ 112 h 218"/>
                  <a:gd name="T10" fmla="*/ 50 w 212"/>
                  <a:gd name="T11" fmla="*/ 56 h 218"/>
                  <a:gd name="T12" fmla="*/ 106 w 212"/>
                  <a:gd name="T13" fmla="*/ 32 h 218"/>
                  <a:gd name="T14" fmla="*/ 162 w 212"/>
                  <a:gd name="T15" fmla="*/ 56 h 218"/>
                  <a:gd name="T16" fmla="*/ 185 w 212"/>
                  <a:gd name="T17" fmla="*/ 112 h 218"/>
                  <a:gd name="T18" fmla="*/ 31 w 212"/>
                  <a:gd name="T19" fmla="*/ 37 h 218"/>
                  <a:gd name="T20" fmla="*/ 31 w 212"/>
                  <a:gd name="T21" fmla="*/ 37 h 218"/>
                  <a:gd name="T22" fmla="*/ 0 w 212"/>
                  <a:gd name="T23" fmla="*/ 112 h 218"/>
                  <a:gd name="T24" fmla="*/ 3 w 212"/>
                  <a:gd name="T25" fmla="*/ 136 h 218"/>
                  <a:gd name="T26" fmla="*/ 16 w 212"/>
                  <a:gd name="T27" fmla="*/ 167 h 218"/>
                  <a:gd name="T28" fmla="*/ 31 w 212"/>
                  <a:gd name="T29" fmla="*/ 187 h 218"/>
                  <a:gd name="T30" fmla="*/ 106 w 212"/>
                  <a:gd name="T31" fmla="*/ 218 h 218"/>
                  <a:gd name="T32" fmla="*/ 181 w 212"/>
                  <a:gd name="T33" fmla="*/ 187 h 218"/>
                  <a:gd name="T34" fmla="*/ 212 w 212"/>
                  <a:gd name="T35" fmla="*/ 112 h 218"/>
                  <a:gd name="T36" fmla="*/ 181 w 212"/>
                  <a:gd name="T37" fmla="*/ 37 h 218"/>
                  <a:gd name="T38" fmla="*/ 162 w 212"/>
                  <a:gd name="T39" fmla="*/ 21 h 218"/>
                  <a:gd name="T40" fmla="*/ 131 w 212"/>
                  <a:gd name="T41" fmla="*/ 9 h 218"/>
                  <a:gd name="T42" fmla="*/ 31 w 212"/>
                  <a:gd name="T43" fmla="*/ 3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 h="218">
                    <a:moveTo>
                      <a:pt x="185" y="112"/>
                    </a:moveTo>
                    <a:lnTo>
                      <a:pt x="185" y="112"/>
                    </a:lnTo>
                    <a:cubicBezTo>
                      <a:pt x="185" y="133"/>
                      <a:pt x="177" y="153"/>
                      <a:pt x="162" y="168"/>
                    </a:cubicBezTo>
                    <a:cubicBezTo>
                      <a:pt x="131" y="199"/>
                      <a:pt x="81" y="199"/>
                      <a:pt x="50" y="168"/>
                    </a:cubicBezTo>
                    <a:cubicBezTo>
                      <a:pt x="35" y="153"/>
                      <a:pt x="27" y="133"/>
                      <a:pt x="27" y="112"/>
                    </a:cubicBezTo>
                    <a:cubicBezTo>
                      <a:pt x="27" y="90"/>
                      <a:pt x="35" y="70"/>
                      <a:pt x="50" y="56"/>
                    </a:cubicBezTo>
                    <a:cubicBezTo>
                      <a:pt x="66" y="40"/>
                      <a:pt x="86" y="32"/>
                      <a:pt x="106" y="32"/>
                    </a:cubicBezTo>
                    <a:cubicBezTo>
                      <a:pt x="126" y="32"/>
                      <a:pt x="147" y="40"/>
                      <a:pt x="162" y="56"/>
                    </a:cubicBezTo>
                    <a:cubicBezTo>
                      <a:pt x="177" y="70"/>
                      <a:pt x="185" y="90"/>
                      <a:pt x="185" y="112"/>
                    </a:cubicBezTo>
                    <a:close/>
                    <a:moveTo>
                      <a:pt x="31" y="37"/>
                    </a:moveTo>
                    <a:lnTo>
                      <a:pt x="31" y="37"/>
                    </a:lnTo>
                    <a:cubicBezTo>
                      <a:pt x="11" y="57"/>
                      <a:pt x="0" y="83"/>
                      <a:pt x="0" y="112"/>
                    </a:cubicBezTo>
                    <a:cubicBezTo>
                      <a:pt x="0" y="120"/>
                      <a:pt x="1" y="128"/>
                      <a:pt x="3" y="136"/>
                    </a:cubicBezTo>
                    <a:cubicBezTo>
                      <a:pt x="6" y="147"/>
                      <a:pt x="10" y="157"/>
                      <a:pt x="16" y="167"/>
                    </a:cubicBezTo>
                    <a:cubicBezTo>
                      <a:pt x="20" y="174"/>
                      <a:pt x="25" y="181"/>
                      <a:pt x="31" y="187"/>
                    </a:cubicBezTo>
                    <a:cubicBezTo>
                      <a:pt x="52" y="207"/>
                      <a:pt x="79" y="218"/>
                      <a:pt x="106" y="218"/>
                    </a:cubicBezTo>
                    <a:cubicBezTo>
                      <a:pt x="133" y="218"/>
                      <a:pt x="160" y="207"/>
                      <a:pt x="181" y="187"/>
                    </a:cubicBezTo>
                    <a:cubicBezTo>
                      <a:pt x="201" y="167"/>
                      <a:pt x="212" y="140"/>
                      <a:pt x="212" y="112"/>
                    </a:cubicBezTo>
                    <a:cubicBezTo>
                      <a:pt x="212" y="83"/>
                      <a:pt x="201" y="57"/>
                      <a:pt x="181" y="37"/>
                    </a:cubicBezTo>
                    <a:cubicBezTo>
                      <a:pt x="175" y="31"/>
                      <a:pt x="169" y="26"/>
                      <a:pt x="162" y="21"/>
                    </a:cubicBezTo>
                    <a:cubicBezTo>
                      <a:pt x="152" y="15"/>
                      <a:pt x="141" y="11"/>
                      <a:pt x="131" y="9"/>
                    </a:cubicBezTo>
                    <a:cubicBezTo>
                      <a:pt x="96" y="0"/>
                      <a:pt x="58" y="10"/>
                      <a:pt x="31" y="3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16" name="Freeform 164">
                <a:extLst>
                  <a:ext uri="{FF2B5EF4-FFF2-40B4-BE49-F238E27FC236}">
                    <a16:creationId xmlns:a16="http://schemas.microsoft.com/office/drawing/2014/main" id="{16B24101-8376-483E-A883-010AED1B96E2}"/>
                  </a:ext>
                </a:extLst>
              </p:cNvPr>
              <p:cNvSpPr>
                <a:spLocks/>
              </p:cNvSpPr>
              <p:nvPr/>
            </p:nvSpPr>
            <p:spPr bwMode="auto">
              <a:xfrm>
                <a:off x="5199063" y="3544889"/>
                <a:ext cx="673100" cy="442913"/>
              </a:xfrm>
              <a:custGeom>
                <a:avLst/>
                <a:gdLst>
                  <a:gd name="T0" fmla="*/ 2209 w 2450"/>
                  <a:gd name="T1" fmla="*/ 633 h 1612"/>
                  <a:gd name="T2" fmla="*/ 2209 w 2450"/>
                  <a:gd name="T3" fmla="*/ 633 h 1612"/>
                  <a:gd name="T4" fmla="*/ 2032 w 2450"/>
                  <a:gd name="T5" fmla="*/ 316 h 1612"/>
                  <a:gd name="T6" fmla="*/ 1809 w 2450"/>
                  <a:gd name="T7" fmla="*/ 249 h 1612"/>
                  <a:gd name="T8" fmla="*/ 1630 w 2450"/>
                  <a:gd name="T9" fmla="*/ 294 h 1612"/>
                  <a:gd name="T10" fmla="*/ 1069 w 2450"/>
                  <a:gd name="T11" fmla="*/ 0 h 1612"/>
                  <a:gd name="T12" fmla="*/ 687 w 2450"/>
                  <a:gd name="T13" fmla="*/ 116 h 1612"/>
                  <a:gd name="T14" fmla="*/ 385 w 2450"/>
                  <a:gd name="T15" fmla="*/ 681 h 1612"/>
                  <a:gd name="T16" fmla="*/ 385 w 2450"/>
                  <a:gd name="T17" fmla="*/ 701 h 1612"/>
                  <a:gd name="T18" fmla="*/ 0 w 2450"/>
                  <a:gd name="T19" fmla="*/ 1153 h 1612"/>
                  <a:gd name="T20" fmla="*/ 464 w 2450"/>
                  <a:gd name="T21" fmla="*/ 1612 h 1612"/>
                  <a:gd name="T22" fmla="*/ 1007 w 2450"/>
                  <a:gd name="T23" fmla="*/ 1612 h 1612"/>
                  <a:gd name="T24" fmla="*/ 980 w 2450"/>
                  <a:gd name="T25" fmla="*/ 1585 h 1612"/>
                  <a:gd name="T26" fmla="*/ 464 w 2450"/>
                  <a:gd name="T27" fmla="*/ 1585 h 1612"/>
                  <a:gd name="T28" fmla="*/ 26 w 2450"/>
                  <a:gd name="T29" fmla="*/ 1153 h 1612"/>
                  <a:gd name="T30" fmla="*/ 401 w 2450"/>
                  <a:gd name="T31" fmla="*/ 725 h 1612"/>
                  <a:gd name="T32" fmla="*/ 412 w 2450"/>
                  <a:gd name="T33" fmla="*/ 723 h 1612"/>
                  <a:gd name="T34" fmla="*/ 412 w 2450"/>
                  <a:gd name="T35" fmla="*/ 681 h 1612"/>
                  <a:gd name="T36" fmla="*/ 702 w 2450"/>
                  <a:gd name="T37" fmla="*/ 138 h 1612"/>
                  <a:gd name="T38" fmla="*/ 1069 w 2450"/>
                  <a:gd name="T39" fmla="*/ 27 h 1612"/>
                  <a:gd name="T40" fmla="*/ 1615 w 2450"/>
                  <a:gd name="T41" fmla="*/ 319 h 1612"/>
                  <a:gd name="T42" fmla="*/ 1622 w 2450"/>
                  <a:gd name="T43" fmla="*/ 329 h 1612"/>
                  <a:gd name="T44" fmla="*/ 1633 w 2450"/>
                  <a:gd name="T45" fmla="*/ 323 h 1612"/>
                  <a:gd name="T46" fmla="*/ 1809 w 2450"/>
                  <a:gd name="T47" fmla="*/ 276 h 1612"/>
                  <a:gd name="T48" fmla="*/ 2017 w 2450"/>
                  <a:gd name="T49" fmla="*/ 338 h 1612"/>
                  <a:gd name="T50" fmla="*/ 2183 w 2450"/>
                  <a:gd name="T51" fmla="*/ 641 h 1612"/>
                  <a:gd name="T52" fmla="*/ 2183 w 2450"/>
                  <a:gd name="T53" fmla="*/ 648 h 1612"/>
                  <a:gd name="T54" fmla="*/ 2189 w 2450"/>
                  <a:gd name="T55" fmla="*/ 652 h 1612"/>
                  <a:gd name="T56" fmla="*/ 2423 w 2450"/>
                  <a:gd name="T57" fmla="*/ 1077 h 1612"/>
                  <a:gd name="T58" fmla="*/ 1969 w 2450"/>
                  <a:gd name="T59" fmla="*/ 1585 h 1612"/>
                  <a:gd name="T60" fmla="*/ 1280 w 2450"/>
                  <a:gd name="T61" fmla="*/ 1585 h 1612"/>
                  <a:gd name="T62" fmla="*/ 1306 w 2450"/>
                  <a:gd name="T63" fmla="*/ 1612 h 1612"/>
                  <a:gd name="T64" fmla="*/ 1911 w 2450"/>
                  <a:gd name="T65" fmla="*/ 1612 h 1612"/>
                  <a:gd name="T66" fmla="*/ 1971 w 2450"/>
                  <a:gd name="T67" fmla="*/ 1612 h 1612"/>
                  <a:gd name="T68" fmla="*/ 2450 w 2450"/>
                  <a:gd name="T69" fmla="*/ 1077 h 1612"/>
                  <a:gd name="T70" fmla="*/ 2209 w 2450"/>
                  <a:gd name="T71" fmla="*/ 633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50" h="1612">
                    <a:moveTo>
                      <a:pt x="2209" y="633"/>
                    </a:moveTo>
                    <a:lnTo>
                      <a:pt x="2209" y="633"/>
                    </a:lnTo>
                    <a:cubicBezTo>
                      <a:pt x="2204" y="505"/>
                      <a:pt x="2139" y="387"/>
                      <a:pt x="2032" y="316"/>
                    </a:cubicBezTo>
                    <a:cubicBezTo>
                      <a:pt x="1966" y="272"/>
                      <a:pt x="1889" y="249"/>
                      <a:pt x="1809" y="249"/>
                    </a:cubicBezTo>
                    <a:cubicBezTo>
                      <a:pt x="1746" y="249"/>
                      <a:pt x="1685" y="265"/>
                      <a:pt x="1630" y="294"/>
                    </a:cubicBezTo>
                    <a:cubicBezTo>
                      <a:pt x="1501" y="110"/>
                      <a:pt x="1292" y="0"/>
                      <a:pt x="1069" y="0"/>
                    </a:cubicBezTo>
                    <a:cubicBezTo>
                      <a:pt x="932" y="0"/>
                      <a:pt x="800" y="40"/>
                      <a:pt x="687" y="116"/>
                    </a:cubicBezTo>
                    <a:cubicBezTo>
                      <a:pt x="498" y="243"/>
                      <a:pt x="385" y="455"/>
                      <a:pt x="385" y="681"/>
                    </a:cubicBezTo>
                    <a:lnTo>
                      <a:pt x="385" y="701"/>
                    </a:lnTo>
                    <a:cubicBezTo>
                      <a:pt x="168" y="739"/>
                      <a:pt x="0" y="936"/>
                      <a:pt x="0" y="1153"/>
                    </a:cubicBezTo>
                    <a:cubicBezTo>
                      <a:pt x="0" y="1406"/>
                      <a:pt x="208" y="1612"/>
                      <a:pt x="464" y="1612"/>
                    </a:cubicBezTo>
                    <a:lnTo>
                      <a:pt x="1007" y="1612"/>
                    </a:lnTo>
                    <a:lnTo>
                      <a:pt x="980" y="1585"/>
                    </a:lnTo>
                    <a:lnTo>
                      <a:pt x="464" y="1585"/>
                    </a:lnTo>
                    <a:cubicBezTo>
                      <a:pt x="223" y="1585"/>
                      <a:pt x="26" y="1391"/>
                      <a:pt x="26" y="1153"/>
                    </a:cubicBezTo>
                    <a:cubicBezTo>
                      <a:pt x="26" y="945"/>
                      <a:pt x="191" y="757"/>
                      <a:pt x="401" y="725"/>
                    </a:cubicBezTo>
                    <a:lnTo>
                      <a:pt x="412" y="723"/>
                    </a:lnTo>
                    <a:lnTo>
                      <a:pt x="412" y="681"/>
                    </a:lnTo>
                    <a:cubicBezTo>
                      <a:pt x="412" y="463"/>
                      <a:pt x="520" y="261"/>
                      <a:pt x="702" y="138"/>
                    </a:cubicBezTo>
                    <a:cubicBezTo>
                      <a:pt x="810" y="65"/>
                      <a:pt x="937" y="27"/>
                      <a:pt x="1069" y="27"/>
                    </a:cubicBezTo>
                    <a:cubicBezTo>
                      <a:pt x="1287" y="27"/>
                      <a:pt x="1491" y="136"/>
                      <a:pt x="1615" y="319"/>
                    </a:cubicBezTo>
                    <a:lnTo>
                      <a:pt x="1622" y="329"/>
                    </a:lnTo>
                    <a:lnTo>
                      <a:pt x="1633" y="323"/>
                    </a:lnTo>
                    <a:cubicBezTo>
                      <a:pt x="1686" y="292"/>
                      <a:pt x="1747" y="276"/>
                      <a:pt x="1809" y="276"/>
                    </a:cubicBezTo>
                    <a:cubicBezTo>
                      <a:pt x="1884" y="276"/>
                      <a:pt x="1956" y="297"/>
                      <a:pt x="2017" y="338"/>
                    </a:cubicBezTo>
                    <a:cubicBezTo>
                      <a:pt x="2118" y="406"/>
                      <a:pt x="2180" y="519"/>
                      <a:pt x="2183" y="641"/>
                    </a:cubicBezTo>
                    <a:lnTo>
                      <a:pt x="2183" y="648"/>
                    </a:lnTo>
                    <a:lnTo>
                      <a:pt x="2189" y="652"/>
                    </a:lnTo>
                    <a:cubicBezTo>
                      <a:pt x="2336" y="748"/>
                      <a:pt x="2423" y="907"/>
                      <a:pt x="2423" y="1077"/>
                    </a:cubicBezTo>
                    <a:cubicBezTo>
                      <a:pt x="2423" y="1342"/>
                      <a:pt x="2228" y="1560"/>
                      <a:pt x="1969" y="1585"/>
                    </a:cubicBezTo>
                    <a:lnTo>
                      <a:pt x="1280" y="1585"/>
                    </a:lnTo>
                    <a:lnTo>
                      <a:pt x="1306" y="1612"/>
                    </a:lnTo>
                    <a:lnTo>
                      <a:pt x="1911" y="1612"/>
                    </a:lnTo>
                    <a:lnTo>
                      <a:pt x="1971" y="1612"/>
                    </a:lnTo>
                    <a:cubicBezTo>
                      <a:pt x="2244" y="1585"/>
                      <a:pt x="2450" y="1355"/>
                      <a:pt x="2450" y="1077"/>
                    </a:cubicBezTo>
                    <a:cubicBezTo>
                      <a:pt x="2450" y="900"/>
                      <a:pt x="2360" y="735"/>
                      <a:pt x="2209" y="633"/>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17" name="Freeform 165">
                <a:extLst>
                  <a:ext uri="{FF2B5EF4-FFF2-40B4-BE49-F238E27FC236}">
                    <a16:creationId xmlns:a16="http://schemas.microsoft.com/office/drawing/2014/main" id="{4A7B355A-CCE7-4DD3-BE39-4B20B96EFE5C}"/>
                  </a:ext>
                </a:extLst>
              </p:cNvPr>
              <p:cNvSpPr>
                <a:spLocks noEditPoints="1"/>
              </p:cNvSpPr>
              <p:nvPr/>
            </p:nvSpPr>
            <p:spPr bwMode="auto">
              <a:xfrm>
                <a:off x="5543550" y="4014789"/>
                <a:ext cx="34925" cy="34925"/>
              </a:xfrm>
              <a:custGeom>
                <a:avLst/>
                <a:gdLst>
                  <a:gd name="T0" fmla="*/ 63 w 125"/>
                  <a:gd name="T1" fmla="*/ 26 h 125"/>
                  <a:gd name="T2" fmla="*/ 63 w 125"/>
                  <a:gd name="T3" fmla="*/ 26 h 125"/>
                  <a:gd name="T4" fmla="*/ 37 w 125"/>
                  <a:gd name="T5" fmla="*/ 37 h 125"/>
                  <a:gd name="T6" fmla="*/ 27 w 125"/>
                  <a:gd name="T7" fmla="*/ 62 h 125"/>
                  <a:gd name="T8" fmla="*/ 37 w 125"/>
                  <a:gd name="T9" fmla="*/ 87 h 125"/>
                  <a:gd name="T10" fmla="*/ 88 w 125"/>
                  <a:gd name="T11" fmla="*/ 87 h 125"/>
                  <a:gd name="T12" fmla="*/ 98 w 125"/>
                  <a:gd name="T13" fmla="*/ 62 h 125"/>
                  <a:gd name="T14" fmla="*/ 88 w 125"/>
                  <a:gd name="T15" fmla="*/ 37 h 125"/>
                  <a:gd name="T16" fmla="*/ 63 w 125"/>
                  <a:gd name="T17" fmla="*/ 26 h 125"/>
                  <a:gd name="T18" fmla="*/ 63 w 125"/>
                  <a:gd name="T19" fmla="*/ 125 h 125"/>
                  <a:gd name="T20" fmla="*/ 63 w 125"/>
                  <a:gd name="T21" fmla="*/ 125 h 125"/>
                  <a:gd name="T22" fmla="*/ 19 w 125"/>
                  <a:gd name="T23" fmla="*/ 106 h 125"/>
                  <a:gd name="T24" fmla="*/ 0 w 125"/>
                  <a:gd name="T25" fmla="*/ 62 h 125"/>
                  <a:gd name="T26" fmla="*/ 19 w 125"/>
                  <a:gd name="T27" fmla="*/ 18 h 125"/>
                  <a:gd name="T28" fmla="*/ 63 w 125"/>
                  <a:gd name="T29" fmla="*/ 0 h 125"/>
                  <a:gd name="T30" fmla="*/ 107 w 125"/>
                  <a:gd name="T31" fmla="*/ 18 h 125"/>
                  <a:gd name="T32" fmla="*/ 125 w 125"/>
                  <a:gd name="T33" fmla="*/ 62 h 125"/>
                  <a:gd name="T34" fmla="*/ 107 w 125"/>
                  <a:gd name="T35" fmla="*/ 106 h 125"/>
                  <a:gd name="T36" fmla="*/ 63 w 125"/>
                  <a:gd name="T37"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125">
                    <a:moveTo>
                      <a:pt x="63" y="26"/>
                    </a:moveTo>
                    <a:lnTo>
                      <a:pt x="63" y="26"/>
                    </a:lnTo>
                    <a:cubicBezTo>
                      <a:pt x="53" y="26"/>
                      <a:pt x="44" y="30"/>
                      <a:pt x="37" y="37"/>
                    </a:cubicBezTo>
                    <a:cubicBezTo>
                      <a:pt x="31" y="44"/>
                      <a:pt x="27" y="53"/>
                      <a:pt x="27" y="62"/>
                    </a:cubicBezTo>
                    <a:cubicBezTo>
                      <a:pt x="27" y="72"/>
                      <a:pt x="31" y="81"/>
                      <a:pt x="37" y="87"/>
                    </a:cubicBezTo>
                    <a:cubicBezTo>
                      <a:pt x="51" y="101"/>
                      <a:pt x="74" y="101"/>
                      <a:pt x="88" y="87"/>
                    </a:cubicBezTo>
                    <a:cubicBezTo>
                      <a:pt x="95" y="81"/>
                      <a:pt x="98" y="72"/>
                      <a:pt x="98" y="62"/>
                    </a:cubicBezTo>
                    <a:cubicBezTo>
                      <a:pt x="98" y="53"/>
                      <a:pt x="95" y="44"/>
                      <a:pt x="88" y="37"/>
                    </a:cubicBezTo>
                    <a:cubicBezTo>
                      <a:pt x="81" y="30"/>
                      <a:pt x="72" y="26"/>
                      <a:pt x="63" y="26"/>
                    </a:cubicBezTo>
                    <a:close/>
                    <a:moveTo>
                      <a:pt x="63" y="125"/>
                    </a:moveTo>
                    <a:lnTo>
                      <a:pt x="63" y="125"/>
                    </a:lnTo>
                    <a:cubicBezTo>
                      <a:pt x="47" y="125"/>
                      <a:pt x="31" y="118"/>
                      <a:pt x="19" y="106"/>
                    </a:cubicBezTo>
                    <a:cubicBezTo>
                      <a:pt x="7" y="94"/>
                      <a:pt x="0" y="79"/>
                      <a:pt x="0" y="62"/>
                    </a:cubicBezTo>
                    <a:cubicBezTo>
                      <a:pt x="0" y="45"/>
                      <a:pt x="7" y="30"/>
                      <a:pt x="19" y="18"/>
                    </a:cubicBezTo>
                    <a:cubicBezTo>
                      <a:pt x="30" y="6"/>
                      <a:pt x="46" y="0"/>
                      <a:pt x="63" y="0"/>
                    </a:cubicBezTo>
                    <a:cubicBezTo>
                      <a:pt x="79" y="0"/>
                      <a:pt x="95" y="6"/>
                      <a:pt x="107" y="18"/>
                    </a:cubicBezTo>
                    <a:cubicBezTo>
                      <a:pt x="119" y="30"/>
                      <a:pt x="125" y="45"/>
                      <a:pt x="125" y="62"/>
                    </a:cubicBezTo>
                    <a:cubicBezTo>
                      <a:pt x="125" y="79"/>
                      <a:pt x="119" y="94"/>
                      <a:pt x="107" y="106"/>
                    </a:cubicBezTo>
                    <a:cubicBezTo>
                      <a:pt x="95" y="118"/>
                      <a:pt x="79" y="125"/>
                      <a:pt x="63" y="125"/>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18" name="Freeform 166">
                <a:extLst>
                  <a:ext uri="{FF2B5EF4-FFF2-40B4-BE49-F238E27FC236}">
                    <a16:creationId xmlns:a16="http://schemas.microsoft.com/office/drawing/2014/main" id="{A55707F5-5AB7-453D-AAED-45E5585FFDC5}"/>
                  </a:ext>
                </a:extLst>
              </p:cNvPr>
              <p:cNvSpPr>
                <a:spLocks/>
              </p:cNvSpPr>
              <p:nvPr/>
            </p:nvSpPr>
            <p:spPr bwMode="auto">
              <a:xfrm>
                <a:off x="5329238" y="3800476"/>
                <a:ext cx="263525" cy="263525"/>
              </a:xfrm>
              <a:custGeom>
                <a:avLst/>
                <a:gdLst>
                  <a:gd name="T0" fmla="*/ 454 w 961"/>
                  <a:gd name="T1" fmla="*/ 303 h 960"/>
                  <a:gd name="T2" fmla="*/ 454 w 961"/>
                  <a:gd name="T3" fmla="*/ 303 h 960"/>
                  <a:gd name="T4" fmla="*/ 443 w 961"/>
                  <a:gd name="T5" fmla="*/ 293 h 960"/>
                  <a:gd name="T6" fmla="*/ 433 w 961"/>
                  <a:gd name="T7" fmla="*/ 283 h 960"/>
                  <a:gd name="T8" fmla="*/ 428 w 961"/>
                  <a:gd name="T9" fmla="*/ 278 h 960"/>
                  <a:gd name="T10" fmla="*/ 374 w 961"/>
                  <a:gd name="T11" fmla="*/ 66 h 960"/>
                  <a:gd name="T12" fmla="*/ 373 w 961"/>
                  <a:gd name="T13" fmla="*/ 65 h 960"/>
                  <a:gd name="T14" fmla="*/ 213 w 961"/>
                  <a:gd name="T15" fmla="*/ 1 h 960"/>
                  <a:gd name="T16" fmla="*/ 196 w 961"/>
                  <a:gd name="T17" fmla="*/ 2 h 960"/>
                  <a:gd name="T18" fmla="*/ 221 w 961"/>
                  <a:gd name="T19" fmla="*/ 93 h 960"/>
                  <a:gd name="T20" fmla="*/ 252 w 961"/>
                  <a:gd name="T21" fmla="*/ 105 h 960"/>
                  <a:gd name="T22" fmla="*/ 231 w 961"/>
                  <a:gd name="T23" fmla="*/ 28 h 960"/>
                  <a:gd name="T24" fmla="*/ 353 w 961"/>
                  <a:gd name="T25" fmla="*/ 83 h 960"/>
                  <a:gd name="T26" fmla="*/ 354 w 961"/>
                  <a:gd name="T27" fmla="*/ 83 h 960"/>
                  <a:gd name="T28" fmla="*/ 400 w 961"/>
                  <a:gd name="T29" fmla="*/ 278 h 960"/>
                  <a:gd name="T30" fmla="*/ 397 w 961"/>
                  <a:gd name="T31" fmla="*/ 286 h 960"/>
                  <a:gd name="T32" fmla="*/ 425 w 961"/>
                  <a:gd name="T33" fmla="*/ 312 h 960"/>
                  <a:gd name="T34" fmla="*/ 913 w 961"/>
                  <a:gd name="T35" fmla="*/ 801 h 960"/>
                  <a:gd name="T36" fmla="*/ 934 w 961"/>
                  <a:gd name="T37" fmla="*/ 851 h 960"/>
                  <a:gd name="T38" fmla="*/ 913 w 961"/>
                  <a:gd name="T39" fmla="*/ 901 h 960"/>
                  <a:gd name="T40" fmla="*/ 901 w 961"/>
                  <a:gd name="T41" fmla="*/ 913 h 960"/>
                  <a:gd name="T42" fmla="*/ 801 w 961"/>
                  <a:gd name="T43" fmla="*/ 913 h 960"/>
                  <a:gd name="T44" fmla="*/ 313 w 961"/>
                  <a:gd name="T45" fmla="*/ 425 h 960"/>
                  <a:gd name="T46" fmla="*/ 287 w 961"/>
                  <a:gd name="T47" fmla="*/ 397 h 960"/>
                  <a:gd name="T48" fmla="*/ 279 w 961"/>
                  <a:gd name="T49" fmla="*/ 399 h 960"/>
                  <a:gd name="T50" fmla="*/ 85 w 961"/>
                  <a:gd name="T51" fmla="*/ 354 h 960"/>
                  <a:gd name="T52" fmla="*/ 84 w 961"/>
                  <a:gd name="T53" fmla="*/ 353 h 960"/>
                  <a:gd name="T54" fmla="*/ 29 w 961"/>
                  <a:gd name="T55" fmla="*/ 230 h 960"/>
                  <a:gd name="T56" fmla="*/ 106 w 961"/>
                  <a:gd name="T57" fmla="*/ 251 h 960"/>
                  <a:gd name="T58" fmla="*/ 93 w 961"/>
                  <a:gd name="T59" fmla="*/ 220 h 960"/>
                  <a:gd name="T60" fmla="*/ 2 w 961"/>
                  <a:gd name="T61" fmla="*/ 196 h 960"/>
                  <a:gd name="T62" fmla="*/ 2 w 961"/>
                  <a:gd name="T63" fmla="*/ 213 h 960"/>
                  <a:gd name="T64" fmla="*/ 64 w 961"/>
                  <a:gd name="T65" fmla="*/ 371 h 960"/>
                  <a:gd name="T66" fmla="*/ 65 w 961"/>
                  <a:gd name="T67" fmla="*/ 372 h 960"/>
                  <a:gd name="T68" fmla="*/ 279 w 961"/>
                  <a:gd name="T69" fmla="*/ 427 h 960"/>
                  <a:gd name="T70" fmla="*/ 284 w 961"/>
                  <a:gd name="T71" fmla="*/ 432 h 960"/>
                  <a:gd name="T72" fmla="*/ 294 w 961"/>
                  <a:gd name="T73" fmla="*/ 443 h 960"/>
                  <a:gd name="T74" fmla="*/ 303 w 961"/>
                  <a:gd name="T75" fmla="*/ 453 h 960"/>
                  <a:gd name="T76" fmla="*/ 508 w 961"/>
                  <a:gd name="T77" fmla="*/ 657 h 960"/>
                  <a:gd name="T78" fmla="*/ 535 w 961"/>
                  <a:gd name="T79" fmla="*/ 684 h 960"/>
                  <a:gd name="T80" fmla="*/ 782 w 961"/>
                  <a:gd name="T81" fmla="*/ 932 h 960"/>
                  <a:gd name="T82" fmla="*/ 851 w 961"/>
                  <a:gd name="T83" fmla="*/ 960 h 960"/>
                  <a:gd name="T84" fmla="*/ 920 w 961"/>
                  <a:gd name="T85" fmla="*/ 932 h 960"/>
                  <a:gd name="T86" fmla="*/ 932 w 961"/>
                  <a:gd name="T87" fmla="*/ 920 h 960"/>
                  <a:gd name="T88" fmla="*/ 961 w 961"/>
                  <a:gd name="T89" fmla="*/ 851 h 960"/>
                  <a:gd name="T90" fmla="*/ 932 w 961"/>
                  <a:gd name="T91" fmla="*/ 782 h 960"/>
                  <a:gd name="T92" fmla="*/ 834 w 961"/>
                  <a:gd name="T93" fmla="*/ 684 h 960"/>
                  <a:gd name="T94" fmla="*/ 808 w 961"/>
                  <a:gd name="T95" fmla="*/ 657 h 960"/>
                  <a:gd name="T96" fmla="*/ 454 w 961"/>
                  <a:gd name="T97" fmla="*/ 303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1" h="960">
                    <a:moveTo>
                      <a:pt x="454" y="303"/>
                    </a:moveTo>
                    <a:lnTo>
                      <a:pt x="454" y="303"/>
                    </a:lnTo>
                    <a:lnTo>
                      <a:pt x="443" y="293"/>
                    </a:lnTo>
                    <a:lnTo>
                      <a:pt x="433" y="283"/>
                    </a:lnTo>
                    <a:lnTo>
                      <a:pt x="428" y="278"/>
                    </a:lnTo>
                    <a:cubicBezTo>
                      <a:pt x="450" y="203"/>
                      <a:pt x="429" y="122"/>
                      <a:pt x="374" y="66"/>
                    </a:cubicBezTo>
                    <a:lnTo>
                      <a:pt x="373" y="65"/>
                    </a:lnTo>
                    <a:cubicBezTo>
                      <a:pt x="330" y="22"/>
                      <a:pt x="273" y="0"/>
                      <a:pt x="213" y="1"/>
                    </a:cubicBezTo>
                    <a:lnTo>
                      <a:pt x="196" y="2"/>
                    </a:lnTo>
                    <a:lnTo>
                      <a:pt x="221" y="93"/>
                    </a:lnTo>
                    <a:cubicBezTo>
                      <a:pt x="231" y="95"/>
                      <a:pt x="242" y="99"/>
                      <a:pt x="252" y="105"/>
                    </a:cubicBezTo>
                    <a:lnTo>
                      <a:pt x="231" y="28"/>
                    </a:lnTo>
                    <a:cubicBezTo>
                      <a:pt x="277" y="31"/>
                      <a:pt x="320" y="50"/>
                      <a:pt x="353" y="83"/>
                    </a:cubicBezTo>
                    <a:lnTo>
                      <a:pt x="354" y="83"/>
                    </a:lnTo>
                    <a:cubicBezTo>
                      <a:pt x="405" y="135"/>
                      <a:pt x="423" y="209"/>
                      <a:pt x="400" y="278"/>
                    </a:cubicBezTo>
                    <a:lnTo>
                      <a:pt x="397" y="286"/>
                    </a:lnTo>
                    <a:lnTo>
                      <a:pt x="425" y="312"/>
                    </a:lnTo>
                    <a:lnTo>
                      <a:pt x="913" y="801"/>
                    </a:lnTo>
                    <a:cubicBezTo>
                      <a:pt x="927" y="814"/>
                      <a:pt x="934" y="832"/>
                      <a:pt x="934" y="851"/>
                    </a:cubicBezTo>
                    <a:cubicBezTo>
                      <a:pt x="934" y="870"/>
                      <a:pt x="927" y="887"/>
                      <a:pt x="913" y="901"/>
                    </a:cubicBezTo>
                    <a:lnTo>
                      <a:pt x="901" y="913"/>
                    </a:lnTo>
                    <a:cubicBezTo>
                      <a:pt x="874" y="940"/>
                      <a:pt x="829" y="940"/>
                      <a:pt x="801" y="913"/>
                    </a:cubicBezTo>
                    <a:lnTo>
                      <a:pt x="313" y="425"/>
                    </a:lnTo>
                    <a:lnTo>
                      <a:pt x="287" y="397"/>
                    </a:lnTo>
                    <a:lnTo>
                      <a:pt x="279" y="399"/>
                    </a:lnTo>
                    <a:cubicBezTo>
                      <a:pt x="210" y="422"/>
                      <a:pt x="136" y="405"/>
                      <a:pt x="85" y="354"/>
                    </a:cubicBezTo>
                    <a:lnTo>
                      <a:pt x="84" y="353"/>
                    </a:lnTo>
                    <a:cubicBezTo>
                      <a:pt x="51" y="320"/>
                      <a:pt x="31" y="277"/>
                      <a:pt x="29" y="230"/>
                    </a:cubicBezTo>
                    <a:lnTo>
                      <a:pt x="106" y="251"/>
                    </a:lnTo>
                    <a:cubicBezTo>
                      <a:pt x="100" y="241"/>
                      <a:pt x="96" y="231"/>
                      <a:pt x="93" y="220"/>
                    </a:cubicBezTo>
                    <a:lnTo>
                      <a:pt x="2" y="196"/>
                    </a:lnTo>
                    <a:lnTo>
                      <a:pt x="2" y="213"/>
                    </a:lnTo>
                    <a:cubicBezTo>
                      <a:pt x="0" y="273"/>
                      <a:pt x="22" y="329"/>
                      <a:pt x="64" y="371"/>
                    </a:cubicBezTo>
                    <a:lnTo>
                      <a:pt x="65" y="372"/>
                    </a:lnTo>
                    <a:cubicBezTo>
                      <a:pt x="122" y="429"/>
                      <a:pt x="203" y="449"/>
                      <a:pt x="279" y="427"/>
                    </a:cubicBezTo>
                    <a:lnTo>
                      <a:pt x="284" y="432"/>
                    </a:lnTo>
                    <a:lnTo>
                      <a:pt x="294" y="443"/>
                    </a:lnTo>
                    <a:lnTo>
                      <a:pt x="303" y="453"/>
                    </a:lnTo>
                    <a:lnTo>
                      <a:pt x="508" y="657"/>
                    </a:lnTo>
                    <a:lnTo>
                      <a:pt x="535" y="684"/>
                    </a:lnTo>
                    <a:lnTo>
                      <a:pt x="782" y="932"/>
                    </a:lnTo>
                    <a:cubicBezTo>
                      <a:pt x="801" y="951"/>
                      <a:pt x="826" y="960"/>
                      <a:pt x="851" y="960"/>
                    </a:cubicBezTo>
                    <a:cubicBezTo>
                      <a:pt x="876" y="960"/>
                      <a:pt x="901" y="951"/>
                      <a:pt x="920" y="932"/>
                    </a:cubicBezTo>
                    <a:lnTo>
                      <a:pt x="932" y="920"/>
                    </a:lnTo>
                    <a:cubicBezTo>
                      <a:pt x="951" y="901"/>
                      <a:pt x="961" y="877"/>
                      <a:pt x="961" y="851"/>
                    </a:cubicBezTo>
                    <a:cubicBezTo>
                      <a:pt x="961" y="825"/>
                      <a:pt x="951" y="800"/>
                      <a:pt x="932" y="782"/>
                    </a:cubicBezTo>
                    <a:lnTo>
                      <a:pt x="834" y="684"/>
                    </a:lnTo>
                    <a:lnTo>
                      <a:pt x="808" y="657"/>
                    </a:lnTo>
                    <a:lnTo>
                      <a:pt x="454" y="303"/>
                    </a:ln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grpSp>
        <p:sp>
          <p:nvSpPr>
            <p:cNvPr id="811" name="TextBox 810">
              <a:extLst>
                <a:ext uri="{FF2B5EF4-FFF2-40B4-BE49-F238E27FC236}">
                  <a16:creationId xmlns:a16="http://schemas.microsoft.com/office/drawing/2014/main" id="{52557867-3059-43EE-9D92-C16C3E4BEB04}"/>
                </a:ext>
              </a:extLst>
            </p:cNvPr>
            <p:cNvSpPr txBox="1"/>
            <p:nvPr/>
          </p:nvSpPr>
          <p:spPr>
            <a:xfrm>
              <a:off x="5826123" y="3460066"/>
              <a:ext cx="948346" cy="623538"/>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793" eaLnBrk="1" fontAlgn="auto" hangingPunct="1">
                <a:spcBef>
                  <a:spcPts val="0"/>
                </a:spcBef>
                <a:spcAft>
                  <a:spcPts val="0"/>
                </a:spcAft>
                <a:defRPr/>
              </a:pPr>
              <a:r>
                <a:rPr lang="en-US" sz="881">
                  <a:solidFill>
                    <a:srgbClr val="FFFFFF"/>
                  </a:solidFill>
                </a:rPr>
                <a:t>Real time</a:t>
              </a:r>
              <a:br>
                <a:rPr lang="en-US" sz="881">
                  <a:solidFill>
                    <a:srgbClr val="FFFFFF"/>
                  </a:solidFill>
                </a:rPr>
              </a:br>
              <a:r>
                <a:rPr lang="en-US" sz="881">
                  <a:solidFill>
                    <a:srgbClr val="FFFFFF"/>
                  </a:solidFill>
                </a:rPr>
                <a:t>Evaluation</a:t>
              </a:r>
            </a:p>
            <a:p>
              <a:pPr defTabSz="658793" eaLnBrk="1" fontAlgn="auto" hangingPunct="1">
                <a:spcBef>
                  <a:spcPts val="0"/>
                </a:spcBef>
                <a:spcAft>
                  <a:spcPts val="0"/>
                </a:spcAft>
                <a:defRPr/>
              </a:pPr>
              <a:r>
                <a:rPr lang="en-US" sz="881">
                  <a:solidFill>
                    <a:srgbClr val="FFFFFF"/>
                  </a:solidFill>
                </a:rPr>
                <a:t>Engine</a:t>
              </a:r>
            </a:p>
          </p:txBody>
        </p:sp>
      </p:grpSp>
      <p:sp>
        <p:nvSpPr>
          <p:cNvPr id="819" name="TextBox 818">
            <a:extLst>
              <a:ext uri="{FF2B5EF4-FFF2-40B4-BE49-F238E27FC236}">
                <a16:creationId xmlns:a16="http://schemas.microsoft.com/office/drawing/2014/main" id="{0CEF4F9A-D397-4084-A8D3-B8E94794E229}"/>
              </a:ext>
            </a:extLst>
          </p:cNvPr>
          <p:cNvSpPr txBox="1"/>
          <p:nvPr/>
        </p:nvSpPr>
        <p:spPr>
          <a:xfrm>
            <a:off x="4667553" y="1701954"/>
            <a:ext cx="556563" cy="336374"/>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793" eaLnBrk="1" fontAlgn="auto" hangingPunct="1">
              <a:spcBef>
                <a:spcPts val="0"/>
              </a:spcBef>
              <a:spcAft>
                <a:spcPts val="0"/>
              </a:spcAft>
              <a:defRPr/>
            </a:pPr>
            <a:r>
              <a:rPr lang="en-US" sz="881"/>
              <a:t>Session</a:t>
            </a:r>
            <a:br>
              <a:rPr lang="en-US" sz="881"/>
            </a:br>
            <a:r>
              <a:rPr lang="en-US" sz="881"/>
              <a:t>Risk</a:t>
            </a:r>
          </a:p>
        </p:txBody>
      </p:sp>
      <p:grpSp>
        <p:nvGrpSpPr>
          <p:cNvPr id="820" name="Group 819">
            <a:extLst>
              <a:ext uri="{FF2B5EF4-FFF2-40B4-BE49-F238E27FC236}">
                <a16:creationId xmlns:a16="http://schemas.microsoft.com/office/drawing/2014/main" id="{3652BAF2-487A-4698-8E8F-CC08AACE6506}"/>
              </a:ext>
            </a:extLst>
          </p:cNvPr>
          <p:cNvGrpSpPr/>
          <p:nvPr/>
        </p:nvGrpSpPr>
        <p:grpSpPr>
          <a:xfrm>
            <a:off x="4785288" y="1950566"/>
            <a:ext cx="396923" cy="396925"/>
            <a:chOff x="5462286" y="2128965"/>
            <a:chExt cx="539920" cy="539922"/>
          </a:xfrm>
        </p:grpSpPr>
        <p:grpSp>
          <p:nvGrpSpPr>
            <p:cNvPr id="821" name="Group 820">
              <a:extLst>
                <a:ext uri="{FF2B5EF4-FFF2-40B4-BE49-F238E27FC236}">
                  <a16:creationId xmlns:a16="http://schemas.microsoft.com/office/drawing/2014/main" id="{F1C39FFE-5CA0-43BD-AC91-D6021370C2EE}"/>
                </a:ext>
              </a:extLst>
            </p:cNvPr>
            <p:cNvGrpSpPr/>
            <p:nvPr/>
          </p:nvGrpSpPr>
          <p:grpSpPr>
            <a:xfrm>
              <a:off x="5462286" y="2128965"/>
              <a:ext cx="539920" cy="539922"/>
              <a:chOff x="3060314" y="5492593"/>
              <a:chExt cx="820074" cy="820072"/>
            </a:xfrm>
          </p:grpSpPr>
          <p:sp>
            <p:nvSpPr>
              <p:cNvPr id="823" name="Circle: Hollow 822">
                <a:extLst>
                  <a:ext uri="{FF2B5EF4-FFF2-40B4-BE49-F238E27FC236}">
                    <a16:creationId xmlns:a16="http://schemas.microsoft.com/office/drawing/2014/main" id="{063E00AD-4B8C-43F1-A337-DEA52079F275}"/>
                  </a:ext>
                </a:extLst>
              </p:cNvPr>
              <p:cNvSpPr/>
              <p:nvPr/>
            </p:nvSpPr>
            <p:spPr bwMode="auto">
              <a:xfrm flipH="1">
                <a:off x="3060314" y="5492593"/>
                <a:ext cx="820074" cy="820072"/>
              </a:xfrm>
              <a:prstGeom prst="donu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ctr" anchorCtr="0" forceAA="0" compatLnSpc="1">
                <a:prstTxWarp prst="textNoShape">
                  <a:avLst/>
                </a:prstTxWarp>
                <a:noAutofit/>
              </a:bodyPr>
              <a:lstStyle/>
              <a:p>
                <a:pPr algn="ctr" defTabSz="685445" eaLnBrk="1" hangingPunct="1">
                  <a:lnSpc>
                    <a:spcPct val="90000"/>
                  </a:lnSpc>
                  <a:defRPr/>
                </a:pPr>
                <a:endParaRPr lang="en-US" sz="1765" kern="0">
                  <a:solidFill>
                    <a:srgbClr val="353535"/>
                  </a:solidFill>
                  <a:latin typeface="Segoe UI Semibold" panose="020B0702040204020203" pitchFamily="34" charset="0"/>
                  <a:ea typeface="Segoe UI" pitchFamily="34" charset="0"/>
                  <a:cs typeface="Segoe UI Semibold" panose="020B0702040204020203" pitchFamily="34" charset="0"/>
                </a:endParaRPr>
              </a:p>
            </p:txBody>
          </p:sp>
          <p:sp>
            <p:nvSpPr>
              <p:cNvPr id="824" name="Block Arc 823">
                <a:extLst>
                  <a:ext uri="{FF2B5EF4-FFF2-40B4-BE49-F238E27FC236}">
                    <a16:creationId xmlns:a16="http://schemas.microsoft.com/office/drawing/2014/main" id="{CE2AC50F-83B1-498E-AD8B-5807D1D3E417}"/>
                  </a:ext>
                </a:extLst>
              </p:cNvPr>
              <p:cNvSpPr/>
              <p:nvPr/>
            </p:nvSpPr>
            <p:spPr bwMode="auto">
              <a:xfrm rot="16200000" flipH="1">
                <a:off x="3060316" y="5492593"/>
                <a:ext cx="820072" cy="820072"/>
              </a:xfrm>
              <a:prstGeom prst="blockArc">
                <a:avLst>
                  <a:gd name="adj1" fmla="val 6914879"/>
                  <a:gd name="adj2" fmla="val 0"/>
                  <a:gd name="adj3" fmla="val 25000"/>
                </a:avLst>
              </a:prstGeom>
              <a:solidFill>
                <a:srgbClr val="FFB900"/>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88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5" name="Block Arc 824">
                <a:extLst>
                  <a:ext uri="{FF2B5EF4-FFF2-40B4-BE49-F238E27FC236}">
                    <a16:creationId xmlns:a16="http://schemas.microsoft.com/office/drawing/2014/main" id="{A1DDBB8E-8659-40F4-83E8-737A3DC25047}"/>
                  </a:ext>
                </a:extLst>
              </p:cNvPr>
              <p:cNvSpPr/>
              <p:nvPr/>
            </p:nvSpPr>
            <p:spPr bwMode="auto">
              <a:xfrm rot="16200000" flipH="1">
                <a:off x="3060316" y="5492593"/>
                <a:ext cx="820072" cy="820072"/>
              </a:xfrm>
              <a:prstGeom prst="blockArc">
                <a:avLst>
                  <a:gd name="adj1" fmla="val 14771597"/>
                  <a:gd name="adj2" fmla="val 0"/>
                  <a:gd name="adj3" fmla="val 25000"/>
                </a:avLst>
              </a:prstGeom>
              <a:solidFill>
                <a:srgbClr val="00B050"/>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88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822" name="Oval 821">
              <a:extLst>
                <a:ext uri="{FF2B5EF4-FFF2-40B4-BE49-F238E27FC236}">
                  <a16:creationId xmlns:a16="http://schemas.microsoft.com/office/drawing/2014/main" id="{80FEE484-E32B-4DF3-B537-940393012006}"/>
                </a:ext>
              </a:extLst>
            </p:cNvPr>
            <p:cNvSpPr/>
            <p:nvPr/>
          </p:nvSpPr>
          <p:spPr bwMode="auto">
            <a:xfrm>
              <a:off x="5564235" y="2230913"/>
              <a:ext cx="336022" cy="336026"/>
            </a:xfrm>
            <a:prstGeom prst="ellipse">
              <a:avLst/>
            </a:prstGeom>
            <a:solidFill>
              <a:srgbClr val="FFFFFF"/>
            </a:solidFill>
            <a:ln w="9525" cap="flat" cmpd="sng" algn="ctr">
              <a:solidFill>
                <a:srgbClr val="353535"/>
              </a:solid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ctr" anchorCtr="0" forceAA="0" compatLnSpc="1">
              <a:prstTxWarp prst="textNoShape">
                <a:avLst/>
              </a:prstTxWarp>
              <a:noAutofit/>
            </a:bodyPr>
            <a:lstStyle/>
            <a:p>
              <a:pPr algn="ctr" defTabSz="685445" eaLnBrk="1" hangingPunct="1">
                <a:lnSpc>
                  <a:spcPct val="90000"/>
                </a:lnSpc>
                <a:defRPr/>
              </a:pPr>
              <a:endParaRPr lang="en-US" sz="662" kern="0">
                <a:solidFill>
                  <a:srgbClr val="353535"/>
                </a:solidFill>
                <a:latin typeface="Segoe UI Semibold" panose="020B0702040204020203" pitchFamily="34" charset="0"/>
                <a:ea typeface="Segoe UI" pitchFamily="34" charset="0"/>
                <a:cs typeface="Segoe UI Semibold" panose="020B0702040204020203" pitchFamily="34" charset="0"/>
              </a:endParaRPr>
            </a:p>
          </p:txBody>
        </p:sp>
      </p:grpSp>
      <p:grpSp>
        <p:nvGrpSpPr>
          <p:cNvPr id="826" name="Group 825">
            <a:extLst>
              <a:ext uri="{FF2B5EF4-FFF2-40B4-BE49-F238E27FC236}">
                <a16:creationId xmlns:a16="http://schemas.microsoft.com/office/drawing/2014/main" id="{565D03E8-C3B2-43B0-ACD7-C353D2FEF050}"/>
              </a:ext>
            </a:extLst>
          </p:cNvPr>
          <p:cNvGrpSpPr/>
          <p:nvPr/>
        </p:nvGrpSpPr>
        <p:grpSpPr>
          <a:xfrm>
            <a:off x="4785567" y="2027689"/>
            <a:ext cx="396367" cy="247030"/>
            <a:chOff x="5464398" y="2233873"/>
            <a:chExt cx="539163" cy="336026"/>
          </a:xfrm>
        </p:grpSpPr>
        <p:sp>
          <p:nvSpPr>
            <p:cNvPr id="827" name="Isosceles Triangle 826">
              <a:extLst>
                <a:ext uri="{FF2B5EF4-FFF2-40B4-BE49-F238E27FC236}">
                  <a16:creationId xmlns:a16="http://schemas.microsoft.com/office/drawing/2014/main" id="{4C531F77-6354-4257-AB5F-DEAA4D5AF7A3}"/>
                </a:ext>
              </a:extLst>
            </p:cNvPr>
            <p:cNvSpPr/>
            <p:nvPr/>
          </p:nvSpPr>
          <p:spPr bwMode="auto">
            <a:xfrm rot="16200000">
              <a:off x="5464398" y="2344804"/>
              <a:ext cx="114164" cy="114164"/>
            </a:xfrm>
            <a:prstGeom prst="triangle">
              <a:avLst/>
            </a:prstGeom>
            <a:solidFill>
              <a:srgbClr val="353535"/>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765"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8" name="Isosceles Triangle 827">
              <a:extLst>
                <a:ext uri="{FF2B5EF4-FFF2-40B4-BE49-F238E27FC236}">
                  <a16:creationId xmlns:a16="http://schemas.microsoft.com/office/drawing/2014/main" id="{17C35463-7D94-4E98-AEB9-827ED2061D12}"/>
                </a:ext>
              </a:extLst>
            </p:cNvPr>
            <p:cNvSpPr/>
            <p:nvPr/>
          </p:nvSpPr>
          <p:spPr bwMode="auto">
            <a:xfrm rot="5400000" flipH="1">
              <a:off x="5889397" y="2344804"/>
              <a:ext cx="114164" cy="114164"/>
            </a:xfrm>
            <a:prstGeom prst="triangle">
              <a:avLst/>
            </a:prstGeom>
            <a:no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endParaRPr lang="en-US" sz="1765"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29" name="Oval 828">
              <a:extLst>
                <a:ext uri="{FF2B5EF4-FFF2-40B4-BE49-F238E27FC236}">
                  <a16:creationId xmlns:a16="http://schemas.microsoft.com/office/drawing/2014/main" id="{824A67BE-4DE9-445C-AE0C-5A597D1E3CFF}"/>
                </a:ext>
              </a:extLst>
            </p:cNvPr>
            <p:cNvSpPr/>
            <p:nvPr/>
          </p:nvSpPr>
          <p:spPr bwMode="auto">
            <a:xfrm>
              <a:off x="5565969" y="2233873"/>
              <a:ext cx="336022" cy="336026"/>
            </a:xfrm>
            <a:prstGeom prst="ellipse">
              <a:avLst/>
            </a:prstGeom>
            <a:solidFill>
              <a:srgbClr val="FFFFFF"/>
            </a:solidFill>
            <a:ln w="9525" cap="flat" cmpd="sng" algn="ctr">
              <a:solidFill>
                <a:srgbClr val="353535"/>
              </a:solid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ctr" anchorCtr="0" forceAA="0" compatLnSpc="1">
              <a:prstTxWarp prst="textNoShape">
                <a:avLst/>
              </a:prstTxWarp>
              <a:noAutofit/>
            </a:bodyPr>
            <a:lstStyle/>
            <a:p>
              <a:pPr algn="ctr" defTabSz="685445" eaLnBrk="1" hangingPunct="1">
                <a:lnSpc>
                  <a:spcPct val="90000"/>
                </a:lnSpc>
                <a:defRPr/>
              </a:pPr>
              <a:endParaRPr lang="en-US" sz="662" kern="0">
                <a:solidFill>
                  <a:srgbClr val="353535"/>
                </a:solidFill>
                <a:latin typeface="Segoe UI Semibold" panose="020B0702040204020203" pitchFamily="34" charset="0"/>
                <a:ea typeface="Segoe UI" pitchFamily="34" charset="0"/>
                <a:cs typeface="Segoe UI Semibold" panose="020B0702040204020203" pitchFamily="34" charset="0"/>
              </a:endParaRPr>
            </a:p>
          </p:txBody>
        </p:sp>
      </p:grpSp>
      <p:sp>
        <p:nvSpPr>
          <p:cNvPr id="830" name="Rectangle 829">
            <a:extLst>
              <a:ext uri="{FF2B5EF4-FFF2-40B4-BE49-F238E27FC236}">
                <a16:creationId xmlns:a16="http://schemas.microsoft.com/office/drawing/2014/main" id="{79F256CC-6642-414E-B04A-08499114825A}"/>
              </a:ext>
            </a:extLst>
          </p:cNvPr>
          <p:cNvSpPr/>
          <p:nvPr/>
        </p:nvSpPr>
        <p:spPr>
          <a:xfrm>
            <a:off x="4858425" y="2048544"/>
            <a:ext cx="258404" cy="234680"/>
          </a:xfrm>
          <a:prstGeom prst="rect">
            <a:avLst/>
          </a:prstGeom>
        </p:spPr>
        <p:txBody>
          <a:bodyPr wrap="none">
            <a:spAutoFit/>
          </a:bodyPr>
          <a:lstStyle/>
          <a:p>
            <a:pPr algn="ctr" defTabSz="685445" eaLnBrk="1" hangingPunct="1">
              <a:lnSpc>
                <a:spcPct val="90000"/>
              </a:lnSpc>
              <a:defRPr/>
            </a:pPr>
            <a:r>
              <a:rPr lang="en-US" sz="1028">
                <a:solidFill>
                  <a:srgbClr val="353535"/>
                </a:solidFill>
                <a:latin typeface="Segoe UI Semibold" panose="020B0702040204020203" pitchFamily="34" charset="0"/>
                <a:ea typeface="Segoe UI" pitchFamily="34" charset="0"/>
                <a:cs typeface="Segoe UI Semibold" panose="020B0702040204020203" pitchFamily="34" charset="0"/>
              </a:rPr>
              <a:t>3</a:t>
            </a:r>
            <a:endParaRPr lang="en-US" sz="662">
              <a:solidFill>
                <a:srgbClr val="353535"/>
              </a:solidFill>
              <a:latin typeface="Segoe UI Semibold" panose="020B0702040204020203" pitchFamily="34" charset="0"/>
              <a:ea typeface="Segoe UI" pitchFamily="34" charset="0"/>
              <a:cs typeface="Segoe UI Semibold" panose="020B0702040204020203" pitchFamily="34" charset="0"/>
            </a:endParaRPr>
          </a:p>
        </p:txBody>
      </p:sp>
      <p:sp>
        <p:nvSpPr>
          <p:cNvPr id="831" name="Oval 830">
            <a:extLst>
              <a:ext uri="{FF2B5EF4-FFF2-40B4-BE49-F238E27FC236}">
                <a16:creationId xmlns:a16="http://schemas.microsoft.com/office/drawing/2014/main" id="{C3FE25F6-AC86-4B47-9ED3-68E80B3AE2BD}"/>
              </a:ext>
            </a:extLst>
          </p:cNvPr>
          <p:cNvSpPr/>
          <p:nvPr/>
        </p:nvSpPr>
        <p:spPr bwMode="auto">
          <a:xfrm>
            <a:off x="3035681" y="1465655"/>
            <a:ext cx="2889345" cy="2889182"/>
          </a:xfrm>
          <a:prstGeom prst="ellipse">
            <a:avLst/>
          </a:prstGeom>
          <a:noFill/>
          <a:ln w="28575" cap="rnd" cmpd="sng" algn="ctr">
            <a:solidFill>
              <a:srgbClr val="00B0F0"/>
            </a:solidFill>
            <a:prstDash val="sysDot"/>
            <a:headEnd type="none"/>
            <a:tailEnd type="none"/>
          </a:ln>
          <a:effectLst/>
        </p:spPr>
        <p:txBody>
          <a:bodyPr rot="0" spcFirstLastPara="0" vertOverflow="overflow" horzOverflow="overflow" vert="horz" wrap="square" lIns="129211" tIns="103369" rIns="129211" bIns="103369" numCol="1" spcCol="0" rtlCol="0" fromWordArt="0" anchor="ctr" anchorCtr="0" forceAA="0" compatLnSpc="1">
            <a:prstTxWarp prst="textNoShape">
              <a:avLst/>
            </a:prstTxWarp>
            <a:noAutofit/>
          </a:bodyPr>
          <a:lstStyle/>
          <a:p>
            <a:pPr algn="ctr" defTabSz="658704" eaLnBrk="1" hangingPunct="1">
              <a:lnSpc>
                <a:spcPct val="90000"/>
              </a:lnSpc>
              <a:defRPr/>
            </a:pPr>
            <a:endParaRPr lang="en-US" sz="1153"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32" name="Isosceles Triangle 831">
            <a:extLst>
              <a:ext uri="{FF2B5EF4-FFF2-40B4-BE49-F238E27FC236}">
                <a16:creationId xmlns:a16="http://schemas.microsoft.com/office/drawing/2014/main" id="{A7889CAB-C8C3-4B53-BE5F-6F2F45B7347B}"/>
              </a:ext>
            </a:extLst>
          </p:cNvPr>
          <p:cNvSpPr/>
          <p:nvPr/>
        </p:nvSpPr>
        <p:spPr bwMode="auto">
          <a:xfrm flipV="1">
            <a:off x="3740663" y="833357"/>
            <a:ext cx="1293017" cy="868158"/>
          </a:xfrm>
          <a:prstGeom prst="triangl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eaLnBrk="1" hangingPunct="1">
              <a:lnSpc>
                <a:spcPct val="90000"/>
              </a:lnSpc>
              <a:defRPr/>
            </a:pPr>
            <a:r>
              <a:rPr lang="en-US" sz="1765" kern="0">
                <a:gradFill>
                  <a:gsLst>
                    <a:gs pos="0">
                      <a:srgbClr val="FFFFFF"/>
                    </a:gs>
                    <a:gs pos="100000">
                      <a:srgbClr val="FFFFFF"/>
                    </a:gs>
                  </a:gsLst>
                  <a:lin ang="5400000" scaled="0"/>
                </a:gradFill>
                <a:latin typeface="Segoe UI Semilight"/>
                <a:ea typeface="Segoe UI" pitchFamily="34" charset="0"/>
                <a:cs typeface="Segoe UI" pitchFamily="34" charset="0"/>
              </a:rPr>
              <a:t> </a:t>
            </a:r>
          </a:p>
        </p:txBody>
      </p:sp>
      <p:grpSp>
        <p:nvGrpSpPr>
          <p:cNvPr id="833" name="10TB of Data">
            <a:extLst>
              <a:ext uri="{FF2B5EF4-FFF2-40B4-BE49-F238E27FC236}">
                <a16:creationId xmlns:a16="http://schemas.microsoft.com/office/drawing/2014/main" id="{93D1B6AC-A58F-4753-AD38-A1DC520F8134}"/>
              </a:ext>
            </a:extLst>
          </p:cNvPr>
          <p:cNvGrpSpPr/>
          <p:nvPr/>
        </p:nvGrpSpPr>
        <p:grpSpPr>
          <a:xfrm>
            <a:off x="4123443" y="686905"/>
            <a:ext cx="578805" cy="639449"/>
            <a:chOff x="4474513" y="437335"/>
            <a:chExt cx="787326" cy="869819"/>
          </a:xfrm>
        </p:grpSpPr>
        <p:grpSp>
          <p:nvGrpSpPr>
            <p:cNvPr id="834" name="Group 167">
              <a:extLst>
                <a:ext uri="{FF2B5EF4-FFF2-40B4-BE49-F238E27FC236}">
                  <a16:creationId xmlns:a16="http://schemas.microsoft.com/office/drawing/2014/main" id="{45D45A9F-387D-4A8B-A949-5208C9BE39E9}"/>
                </a:ext>
              </a:extLst>
            </p:cNvPr>
            <p:cNvGrpSpPr>
              <a:grpSpLocks noChangeAspect="1"/>
            </p:cNvGrpSpPr>
            <p:nvPr/>
          </p:nvGrpSpPr>
          <p:grpSpPr bwMode="auto">
            <a:xfrm>
              <a:off x="4499386" y="437335"/>
              <a:ext cx="664881" cy="869819"/>
              <a:chOff x="6332" y="882"/>
              <a:chExt cx="425" cy="556"/>
            </a:xfrm>
            <a:solidFill>
              <a:srgbClr val="353535"/>
            </a:solidFill>
          </p:grpSpPr>
          <p:sp>
            <p:nvSpPr>
              <p:cNvPr id="836" name="Freeform 169">
                <a:extLst>
                  <a:ext uri="{FF2B5EF4-FFF2-40B4-BE49-F238E27FC236}">
                    <a16:creationId xmlns:a16="http://schemas.microsoft.com/office/drawing/2014/main" id="{351FAF62-1EE8-4EC2-9215-CCF815C288BD}"/>
                  </a:ext>
                </a:extLst>
              </p:cNvPr>
              <p:cNvSpPr>
                <a:spLocks/>
              </p:cNvSpPr>
              <p:nvPr/>
            </p:nvSpPr>
            <p:spPr bwMode="auto">
              <a:xfrm>
                <a:off x="6332" y="1131"/>
                <a:ext cx="368" cy="307"/>
              </a:xfrm>
              <a:custGeom>
                <a:avLst/>
                <a:gdLst>
                  <a:gd name="T0" fmla="*/ 1368 w 1391"/>
                  <a:gd name="T1" fmla="*/ 1160 h 1160"/>
                  <a:gd name="T2" fmla="*/ 1368 w 1391"/>
                  <a:gd name="T3" fmla="*/ 1160 h 1160"/>
                  <a:gd name="T4" fmla="*/ 178 w 1391"/>
                  <a:gd name="T5" fmla="*/ 1160 h 1160"/>
                  <a:gd name="T6" fmla="*/ 87 w 1391"/>
                  <a:gd name="T7" fmla="*/ 1055 h 1160"/>
                  <a:gd name="T8" fmla="*/ 30 w 1391"/>
                  <a:gd name="T9" fmla="*/ 387 h 1160"/>
                  <a:gd name="T10" fmla="*/ 1 w 1391"/>
                  <a:gd name="T11" fmla="*/ 69 h 1160"/>
                  <a:gd name="T12" fmla="*/ 16 w 1391"/>
                  <a:gd name="T13" fmla="*/ 23 h 1160"/>
                  <a:gd name="T14" fmla="*/ 80 w 1391"/>
                  <a:gd name="T15" fmla="*/ 0 h 1160"/>
                  <a:gd name="T16" fmla="*/ 456 w 1391"/>
                  <a:gd name="T17" fmla="*/ 0 h 1160"/>
                  <a:gd name="T18" fmla="*/ 541 w 1391"/>
                  <a:gd name="T19" fmla="*/ 83 h 1160"/>
                  <a:gd name="T20" fmla="*/ 544 w 1391"/>
                  <a:gd name="T21" fmla="*/ 120 h 1160"/>
                  <a:gd name="T22" fmla="*/ 1294 w 1391"/>
                  <a:gd name="T23" fmla="*/ 120 h 1160"/>
                  <a:gd name="T24" fmla="*/ 1385 w 1391"/>
                  <a:gd name="T25" fmla="*/ 189 h 1160"/>
                  <a:gd name="T26" fmla="*/ 1391 w 1391"/>
                  <a:gd name="T27" fmla="*/ 298 h 1160"/>
                  <a:gd name="T28" fmla="*/ 1364 w 1391"/>
                  <a:gd name="T29" fmla="*/ 299 h 1160"/>
                  <a:gd name="T30" fmla="*/ 1358 w 1391"/>
                  <a:gd name="T31" fmla="*/ 191 h 1160"/>
                  <a:gd name="T32" fmla="*/ 1294 w 1391"/>
                  <a:gd name="T33" fmla="*/ 146 h 1160"/>
                  <a:gd name="T34" fmla="*/ 520 w 1391"/>
                  <a:gd name="T35" fmla="*/ 146 h 1160"/>
                  <a:gd name="T36" fmla="*/ 514 w 1391"/>
                  <a:gd name="T37" fmla="*/ 85 h 1160"/>
                  <a:gd name="T38" fmla="*/ 456 w 1391"/>
                  <a:gd name="T39" fmla="*/ 26 h 1160"/>
                  <a:gd name="T40" fmla="*/ 80 w 1391"/>
                  <a:gd name="T41" fmla="*/ 26 h 1160"/>
                  <a:gd name="T42" fmla="*/ 35 w 1391"/>
                  <a:gd name="T43" fmla="*/ 41 h 1160"/>
                  <a:gd name="T44" fmla="*/ 28 w 1391"/>
                  <a:gd name="T45" fmla="*/ 66 h 1160"/>
                  <a:gd name="T46" fmla="*/ 38 w 1391"/>
                  <a:gd name="T47" fmla="*/ 171 h 1160"/>
                  <a:gd name="T48" fmla="*/ 57 w 1391"/>
                  <a:gd name="T49" fmla="*/ 384 h 1160"/>
                  <a:gd name="T50" fmla="*/ 114 w 1391"/>
                  <a:gd name="T51" fmla="*/ 1052 h 1160"/>
                  <a:gd name="T52" fmla="*/ 178 w 1391"/>
                  <a:gd name="T53" fmla="*/ 1133 h 1160"/>
                  <a:gd name="T54" fmla="*/ 1368 w 1391"/>
                  <a:gd name="T55" fmla="*/ 1133 h 1160"/>
                  <a:gd name="T56" fmla="*/ 1368 w 1391"/>
                  <a:gd name="T57" fmla="*/ 1160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1" h="1160">
                    <a:moveTo>
                      <a:pt x="1368" y="1160"/>
                    </a:moveTo>
                    <a:lnTo>
                      <a:pt x="1368" y="1160"/>
                    </a:lnTo>
                    <a:lnTo>
                      <a:pt x="178" y="1160"/>
                    </a:lnTo>
                    <a:cubicBezTo>
                      <a:pt x="131" y="1160"/>
                      <a:pt x="91" y="1097"/>
                      <a:pt x="87" y="1055"/>
                    </a:cubicBezTo>
                    <a:lnTo>
                      <a:pt x="30" y="387"/>
                    </a:lnTo>
                    <a:lnTo>
                      <a:pt x="1" y="69"/>
                    </a:lnTo>
                    <a:cubicBezTo>
                      <a:pt x="0" y="51"/>
                      <a:pt x="5" y="35"/>
                      <a:pt x="16" y="23"/>
                    </a:cubicBezTo>
                    <a:cubicBezTo>
                      <a:pt x="29" y="8"/>
                      <a:pt x="52" y="0"/>
                      <a:pt x="80" y="0"/>
                    </a:cubicBezTo>
                    <a:lnTo>
                      <a:pt x="456" y="0"/>
                    </a:lnTo>
                    <a:cubicBezTo>
                      <a:pt x="499" y="0"/>
                      <a:pt x="537" y="37"/>
                      <a:pt x="541" y="83"/>
                    </a:cubicBezTo>
                    <a:lnTo>
                      <a:pt x="544" y="120"/>
                    </a:lnTo>
                    <a:lnTo>
                      <a:pt x="1294" y="120"/>
                    </a:lnTo>
                    <a:cubicBezTo>
                      <a:pt x="1344" y="120"/>
                      <a:pt x="1381" y="148"/>
                      <a:pt x="1385" y="189"/>
                    </a:cubicBezTo>
                    <a:lnTo>
                      <a:pt x="1391" y="298"/>
                    </a:lnTo>
                    <a:lnTo>
                      <a:pt x="1364" y="299"/>
                    </a:lnTo>
                    <a:lnTo>
                      <a:pt x="1358" y="191"/>
                    </a:lnTo>
                    <a:cubicBezTo>
                      <a:pt x="1355" y="160"/>
                      <a:pt x="1323" y="146"/>
                      <a:pt x="1294" y="146"/>
                    </a:cubicBezTo>
                    <a:lnTo>
                      <a:pt x="520" y="146"/>
                    </a:lnTo>
                    <a:lnTo>
                      <a:pt x="514" y="85"/>
                    </a:lnTo>
                    <a:cubicBezTo>
                      <a:pt x="511" y="53"/>
                      <a:pt x="485" y="26"/>
                      <a:pt x="456" y="26"/>
                    </a:cubicBezTo>
                    <a:lnTo>
                      <a:pt x="80" y="26"/>
                    </a:lnTo>
                    <a:cubicBezTo>
                      <a:pt x="60" y="26"/>
                      <a:pt x="44" y="31"/>
                      <a:pt x="35" y="41"/>
                    </a:cubicBezTo>
                    <a:cubicBezTo>
                      <a:pt x="29" y="47"/>
                      <a:pt x="27" y="56"/>
                      <a:pt x="28" y="66"/>
                    </a:cubicBezTo>
                    <a:lnTo>
                      <a:pt x="38" y="171"/>
                    </a:lnTo>
                    <a:lnTo>
                      <a:pt x="57" y="384"/>
                    </a:lnTo>
                    <a:lnTo>
                      <a:pt x="114" y="1052"/>
                    </a:lnTo>
                    <a:cubicBezTo>
                      <a:pt x="117" y="1086"/>
                      <a:pt x="150" y="1133"/>
                      <a:pt x="178" y="1133"/>
                    </a:cubicBezTo>
                    <a:lnTo>
                      <a:pt x="1368" y="1133"/>
                    </a:lnTo>
                    <a:lnTo>
                      <a:pt x="1368" y="1160"/>
                    </a:ln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37" name="Freeform 170">
                <a:extLst>
                  <a:ext uri="{FF2B5EF4-FFF2-40B4-BE49-F238E27FC236}">
                    <a16:creationId xmlns:a16="http://schemas.microsoft.com/office/drawing/2014/main" id="{682E54C9-E3E4-43D2-A383-9B3567F1E003}"/>
                  </a:ext>
                </a:extLst>
              </p:cNvPr>
              <p:cNvSpPr>
                <a:spLocks noEditPoints="1"/>
              </p:cNvSpPr>
              <p:nvPr/>
            </p:nvSpPr>
            <p:spPr bwMode="auto">
              <a:xfrm>
                <a:off x="6361" y="1209"/>
                <a:ext cx="396" cy="229"/>
              </a:xfrm>
              <a:custGeom>
                <a:avLst/>
                <a:gdLst>
                  <a:gd name="T0" fmla="*/ 221 w 1498"/>
                  <a:gd name="T1" fmla="*/ 27 h 867"/>
                  <a:gd name="T2" fmla="*/ 221 w 1498"/>
                  <a:gd name="T3" fmla="*/ 27 h 867"/>
                  <a:gd name="T4" fmla="*/ 153 w 1498"/>
                  <a:gd name="T5" fmla="*/ 86 h 867"/>
                  <a:gd name="T6" fmla="*/ 30 w 1498"/>
                  <a:gd name="T7" fmla="*/ 786 h 867"/>
                  <a:gd name="T8" fmla="*/ 40 w 1498"/>
                  <a:gd name="T9" fmla="*/ 825 h 867"/>
                  <a:gd name="T10" fmla="*/ 74 w 1498"/>
                  <a:gd name="T11" fmla="*/ 840 h 867"/>
                  <a:gd name="T12" fmla="*/ 1277 w 1498"/>
                  <a:gd name="T13" fmla="*/ 840 h 867"/>
                  <a:gd name="T14" fmla="*/ 1344 w 1498"/>
                  <a:gd name="T15" fmla="*/ 781 h 867"/>
                  <a:gd name="T16" fmla="*/ 1467 w 1498"/>
                  <a:gd name="T17" fmla="*/ 81 h 867"/>
                  <a:gd name="T18" fmla="*/ 1458 w 1498"/>
                  <a:gd name="T19" fmla="*/ 42 h 867"/>
                  <a:gd name="T20" fmla="*/ 1424 w 1498"/>
                  <a:gd name="T21" fmla="*/ 27 h 867"/>
                  <a:gd name="T22" fmla="*/ 221 w 1498"/>
                  <a:gd name="T23" fmla="*/ 27 h 867"/>
                  <a:gd name="T24" fmla="*/ 1277 w 1498"/>
                  <a:gd name="T25" fmla="*/ 867 h 867"/>
                  <a:gd name="T26" fmla="*/ 1277 w 1498"/>
                  <a:gd name="T27" fmla="*/ 867 h 867"/>
                  <a:gd name="T28" fmla="*/ 74 w 1498"/>
                  <a:gd name="T29" fmla="*/ 867 h 867"/>
                  <a:gd name="T30" fmla="*/ 19 w 1498"/>
                  <a:gd name="T31" fmla="*/ 842 h 867"/>
                  <a:gd name="T32" fmla="*/ 4 w 1498"/>
                  <a:gd name="T33" fmla="*/ 782 h 867"/>
                  <a:gd name="T34" fmla="*/ 127 w 1498"/>
                  <a:gd name="T35" fmla="*/ 82 h 867"/>
                  <a:gd name="T36" fmla="*/ 221 w 1498"/>
                  <a:gd name="T37" fmla="*/ 0 h 867"/>
                  <a:gd name="T38" fmla="*/ 1424 w 1498"/>
                  <a:gd name="T39" fmla="*/ 0 h 867"/>
                  <a:gd name="T40" fmla="*/ 1478 w 1498"/>
                  <a:gd name="T41" fmla="*/ 24 h 867"/>
                  <a:gd name="T42" fmla="*/ 1493 w 1498"/>
                  <a:gd name="T43" fmla="*/ 86 h 867"/>
                  <a:gd name="T44" fmla="*/ 1371 w 1498"/>
                  <a:gd name="T45" fmla="*/ 785 h 867"/>
                  <a:gd name="T46" fmla="*/ 1277 w 1498"/>
                  <a:gd name="T47" fmla="*/ 867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98" h="867">
                    <a:moveTo>
                      <a:pt x="221" y="27"/>
                    </a:moveTo>
                    <a:lnTo>
                      <a:pt x="221" y="27"/>
                    </a:lnTo>
                    <a:cubicBezTo>
                      <a:pt x="190" y="27"/>
                      <a:pt x="159" y="55"/>
                      <a:pt x="153" y="86"/>
                    </a:cubicBezTo>
                    <a:lnTo>
                      <a:pt x="30" y="786"/>
                    </a:lnTo>
                    <a:cubicBezTo>
                      <a:pt x="28" y="801"/>
                      <a:pt x="31" y="815"/>
                      <a:pt x="40" y="825"/>
                    </a:cubicBezTo>
                    <a:cubicBezTo>
                      <a:pt x="48" y="835"/>
                      <a:pt x="60" y="840"/>
                      <a:pt x="74" y="840"/>
                    </a:cubicBezTo>
                    <a:lnTo>
                      <a:pt x="1277" y="840"/>
                    </a:lnTo>
                    <a:cubicBezTo>
                      <a:pt x="1308" y="840"/>
                      <a:pt x="1339" y="813"/>
                      <a:pt x="1344" y="781"/>
                    </a:cubicBezTo>
                    <a:lnTo>
                      <a:pt x="1467" y="81"/>
                    </a:lnTo>
                    <a:cubicBezTo>
                      <a:pt x="1470" y="67"/>
                      <a:pt x="1466" y="52"/>
                      <a:pt x="1458" y="42"/>
                    </a:cubicBezTo>
                    <a:cubicBezTo>
                      <a:pt x="1449" y="32"/>
                      <a:pt x="1438" y="27"/>
                      <a:pt x="1424" y="27"/>
                    </a:cubicBezTo>
                    <a:lnTo>
                      <a:pt x="221" y="27"/>
                    </a:lnTo>
                    <a:close/>
                    <a:moveTo>
                      <a:pt x="1277" y="867"/>
                    </a:moveTo>
                    <a:lnTo>
                      <a:pt x="1277" y="867"/>
                    </a:lnTo>
                    <a:lnTo>
                      <a:pt x="74" y="867"/>
                    </a:lnTo>
                    <a:cubicBezTo>
                      <a:pt x="52" y="867"/>
                      <a:pt x="32" y="858"/>
                      <a:pt x="19" y="842"/>
                    </a:cubicBezTo>
                    <a:cubicBezTo>
                      <a:pt x="6" y="826"/>
                      <a:pt x="0" y="804"/>
                      <a:pt x="4" y="782"/>
                    </a:cubicBezTo>
                    <a:lnTo>
                      <a:pt x="127" y="82"/>
                    </a:lnTo>
                    <a:cubicBezTo>
                      <a:pt x="135" y="37"/>
                      <a:pt x="177" y="0"/>
                      <a:pt x="221" y="0"/>
                    </a:cubicBezTo>
                    <a:lnTo>
                      <a:pt x="1424" y="0"/>
                    </a:lnTo>
                    <a:cubicBezTo>
                      <a:pt x="1446" y="0"/>
                      <a:pt x="1465" y="9"/>
                      <a:pt x="1478" y="24"/>
                    </a:cubicBezTo>
                    <a:cubicBezTo>
                      <a:pt x="1492" y="41"/>
                      <a:pt x="1498" y="63"/>
                      <a:pt x="1493" y="86"/>
                    </a:cubicBezTo>
                    <a:lnTo>
                      <a:pt x="1371" y="785"/>
                    </a:lnTo>
                    <a:cubicBezTo>
                      <a:pt x="1363" y="830"/>
                      <a:pt x="1321" y="867"/>
                      <a:pt x="1277" y="86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38" name="Freeform 171">
                <a:extLst>
                  <a:ext uri="{FF2B5EF4-FFF2-40B4-BE49-F238E27FC236}">
                    <a16:creationId xmlns:a16="http://schemas.microsoft.com/office/drawing/2014/main" id="{FD21D355-89EE-47D6-B2C5-39802B314457}"/>
                  </a:ext>
                </a:extLst>
              </p:cNvPr>
              <p:cNvSpPr>
                <a:spLocks noEditPoints="1"/>
              </p:cNvSpPr>
              <p:nvPr/>
            </p:nvSpPr>
            <p:spPr bwMode="auto">
              <a:xfrm>
                <a:off x="6455" y="1028"/>
                <a:ext cx="44" cy="66"/>
              </a:xfrm>
              <a:custGeom>
                <a:avLst/>
                <a:gdLst>
                  <a:gd name="T0" fmla="*/ 129 w 166"/>
                  <a:gd name="T1" fmla="*/ 151 h 248"/>
                  <a:gd name="T2" fmla="*/ 129 w 166"/>
                  <a:gd name="T3" fmla="*/ 151 h 248"/>
                  <a:gd name="T4" fmla="*/ 108 w 166"/>
                  <a:gd name="T5" fmla="*/ 76 h 248"/>
                  <a:gd name="T6" fmla="*/ 105 w 166"/>
                  <a:gd name="T7" fmla="*/ 66 h 248"/>
                  <a:gd name="T8" fmla="*/ 100 w 166"/>
                  <a:gd name="T9" fmla="*/ 55 h 248"/>
                  <a:gd name="T10" fmla="*/ 94 w 166"/>
                  <a:gd name="T11" fmla="*/ 45 h 248"/>
                  <a:gd name="T12" fmla="*/ 85 w 166"/>
                  <a:gd name="T13" fmla="*/ 37 h 248"/>
                  <a:gd name="T14" fmla="*/ 73 w 166"/>
                  <a:gd name="T15" fmla="*/ 32 h 248"/>
                  <a:gd name="T16" fmla="*/ 58 w 166"/>
                  <a:gd name="T17" fmla="*/ 34 h 248"/>
                  <a:gd name="T18" fmla="*/ 39 w 166"/>
                  <a:gd name="T19" fmla="*/ 45 h 248"/>
                  <a:gd name="T20" fmla="*/ 33 w 166"/>
                  <a:gd name="T21" fmla="*/ 62 h 248"/>
                  <a:gd name="T22" fmla="*/ 33 w 166"/>
                  <a:gd name="T23" fmla="*/ 80 h 248"/>
                  <a:gd name="T24" fmla="*/ 37 w 166"/>
                  <a:gd name="T25" fmla="*/ 96 h 248"/>
                  <a:gd name="T26" fmla="*/ 58 w 166"/>
                  <a:gd name="T27" fmla="*/ 171 h 248"/>
                  <a:gd name="T28" fmla="*/ 61 w 166"/>
                  <a:gd name="T29" fmla="*/ 181 h 248"/>
                  <a:gd name="T30" fmla="*/ 66 w 166"/>
                  <a:gd name="T31" fmla="*/ 192 h 248"/>
                  <a:gd name="T32" fmla="*/ 72 w 166"/>
                  <a:gd name="T33" fmla="*/ 203 h 248"/>
                  <a:gd name="T34" fmla="*/ 81 w 166"/>
                  <a:gd name="T35" fmla="*/ 211 h 248"/>
                  <a:gd name="T36" fmla="*/ 93 w 166"/>
                  <a:gd name="T37" fmla="*/ 215 h 248"/>
                  <a:gd name="T38" fmla="*/ 108 w 166"/>
                  <a:gd name="T39" fmla="*/ 214 h 248"/>
                  <a:gd name="T40" fmla="*/ 122 w 166"/>
                  <a:gd name="T41" fmla="*/ 207 h 248"/>
                  <a:gd name="T42" fmla="*/ 130 w 166"/>
                  <a:gd name="T43" fmla="*/ 197 h 248"/>
                  <a:gd name="T44" fmla="*/ 133 w 166"/>
                  <a:gd name="T45" fmla="*/ 185 h 248"/>
                  <a:gd name="T46" fmla="*/ 133 w 166"/>
                  <a:gd name="T47" fmla="*/ 173 h 248"/>
                  <a:gd name="T48" fmla="*/ 132 w 166"/>
                  <a:gd name="T49" fmla="*/ 161 h 248"/>
                  <a:gd name="T50" fmla="*/ 129 w 166"/>
                  <a:gd name="T51" fmla="*/ 151 h 248"/>
                  <a:gd name="T52" fmla="*/ 26 w 166"/>
                  <a:gd name="T53" fmla="*/ 180 h 248"/>
                  <a:gd name="T54" fmla="*/ 26 w 166"/>
                  <a:gd name="T55" fmla="*/ 180 h 248"/>
                  <a:gd name="T56" fmla="*/ 5 w 166"/>
                  <a:gd name="T57" fmla="*/ 105 h 248"/>
                  <a:gd name="T58" fmla="*/ 1 w 166"/>
                  <a:gd name="T59" fmla="*/ 89 h 248"/>
                  <a:gd name="T60" fmla="*/ 0 w 166"/>
                  <a:gd name="T61" fmla="*/ 70 h 248"/>
                  <a:gd name="T62" fmla="*/ 2 w 166"/>
                  <a:gd name="T63" fmla="*/ 50 h 248"/>
                  <a:gd name="T64" fmla="*/ 9 w 166"/>
                  <a:gd name="T65" fmla="*/ 31 h 248"/>
                  <a:gd name="T66" fmla="*/ 25 w 166"/>
                  <a:gd name="T67" fmla="*/ 15 h 248"/>
                  <a:gd name="T68" fmla="*/ 50 w 166"/>
                  <a:gd name="T69" fmla="*/ 4 h 248"/>
                  <a:gd name="T70" fmla="*/ 77 w 166"/>
                  <a:gd name="T71" fmla="*/ 1 h 248"/>
                  <a:gd name="T72" fmla="*/ 98 w 166"/>
                  <a:gd name="T73" fmla="*/ 7 h 248"/>
                  <a:gd name="T74" fmla="*/ 114 w 166"/>
                  <a:gd name="T75" fmla="*/ 19 h 248"/>
                  <a:gd name="T76" fmla="*/ 126 w 166"/>
                  <a:gd name="T77" fmla="*/ 35 h 248"/>
                  <a:gd name="T78" fmla="*/ 135 w 166"/>
                  <a:gd name="T79" fmla="*/ 52 h 248"/>
                  <a:gd name="T80" fmla="*/ 140 w 166"/>
                  <a:gd name="T81" fmla="*/ 67 h 248"/>
                  <a:gd name="T82" fmla="*/ 161 w 166"/>
                  <a:gd name="T83" fmla="*/ 142 h 248"/>
                  <a:gd name="T84" fmla="*/ 165 w 166"/>
                  <a:gd name="T85" fmla="*/ 158 h 248"/>
                  <a:gd name="T86" fmla="*/ 166 w 166"/>
                  <a:gd name="T87" fmla="*/ 177 h 248"/>
                  <a:gd name="T88" fmla="*/ 164 w 166"/>
                  <a:gd name="T89" fmla="*/ 197 h 248"/>
                  <a:gd name="T90" fmla="*/ 157 w 166"/>
                  <a:gd name="T91" fmla="*/ 216 h 248"/>
                  <a:gd name="T92" fmla="*/ 142 w 166"/>
                  <a:gd name="T93" fmla="*/ 232 h 248"/>
                  <a:gd name="T94" fmla="*/ 117 w 166"/>
                  <a:gd name="T95" fmla="*/ 244 h 248"/>
                  <a:gd name="T96" fmla="*/ 90 w 166"/>
                  <a:gd name="T97" fmla="*/ 247 h 248"/>
                  <a:gd name="T98" fmla="*/ 68 w 166"/>
                  <a:gd name="T99" fmla="*/ 241 h 248"/>
                  <a:gd name="T100" fmla="*/ 52 w 166"/>
                  <a:gd name="T101" fmla="*/ 229 h 248"/>
                  <a:gd name="T102" fmla="*/ 40 w 166"/>
                  <a:gd name="T103" fmla="*/ 213 h 248"/>
                  <a:gd name="T104" fmla="*/ 31 w 166"/>
                  <a:gd name="T105" fmla="*/ 196 h 248"/>
                  <a:gd name="T106" fmla="*/ 26 w 166"/>
                  <a:gd name="T107" fmla="*/ 18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6" h="248">
                    <a:moveTo>
                      <a:pt x="129" y="151"/>
                    </a:moveTo>
                    <a:lnTo>
                      <a:pt x="129" y="151"/>
                    </a:lnTo>
                    <a:lnTo>
                      <a:pt x="108" y="76"/>
                    </a:lnTo>
                    <a:cubicBezTo>
                      <a:pt x="107" y="73"/>
                      <a:pt x="106" y="70"/>
                      <a:pt x="105" y="66"/>
                    </a:cubicBezTo>
                    <a:cubicBezTo>
                      <a:pt x="104" y="63"/>
                      <a:pt x="102" y="59"/>
                      <a:pt x="100" y="55"/>
                    </a:cubicBezTo>
                    <a:cubicBezTo>
                      <a:pt x="99" y="52"/>
                      <a:pt x="96" y="48"/>
                      <a:pt x="94" y="45"/>
                    </a:cubicBezTo>
                    <a:cubicBezTo>
                      <a:pt x="91" y="42"/>
                      <a:pt x="88" y="39"/>
                      <a:pt x="85" y="37"/>
                    </a:cubicBezTo>
                    <a:cubicBezTo>
                      <a:pt x="82" y="34"/>
                      <a:pt x="78" y="33"/>
                      <a:pt x="73" y="32"/>
                    </a:cubicBezTo>
                    <a:cubicBezTo>
                      <a:pt x="69" y="32"/>
                      <a:pt x="64" y="32"/>
                      <a:pt x="58" y="34"/>
                    </a:cubicBezTo>
                    <a:cubicBezTo>
                      <a:pt x="49" y="36"/>
                      <a:pt x="43" y="40"/>
                      <a:pt x="39" y="45"/>
                    </a:cubicBezTo>
                    <a:cubicBezTo>
                      <a:pt x="36" y="50"/>
                      <a:pt x="33" y="56"/>
                      <a:pt x="33" y="62"/>
                    </a:cubicBezTo>
                    <a:cubicBezTo>
                      <a:pt x="32" y="68"/>
                      <a:pt x="32" y="74"/>
                      <a:pt x="33" y="80"/>
                    </a:cubicBezTo>
                    <a:cubicBezTo>
                      <a:pt x="34" y="86"/>
                      <a:pt x="36" y="92"/>
                      <a:pt x="37" y="96"/>
                    </a:cubicBezTo>
                    <a:lnTo>
                      <a:pt x="58" y="171"/>
                    </a:lnTo>
                    <a:cubicBezTo>
                      <a:pt x="59" y="174"/>
                      <a:pt x="60" y="178"/>
                      <a:pt x="61" y="181"/>
                    </a:cubicBezTo>
                    <a:cubicBezTo>
                      <a:pt x="62" y="185"/>
                      <a:pt x="64" y="188"/>
                      <a:pt x="66" y="192"/>
                    </a:cubicBezTo>
                    <a:cubicBezTo>
                      <a:pt x="67" y="196"/>
                      <a:pt x="70" y="199"/>
                      <a:pt x="72" y="203"/>
                    </a:cubicBezTo>
                    <a:cubicBezTo>
                      <a:pt x="75" y="206"/>
                      <a:pt x="78" y="209"/>
                      <a:pt x="81" y="211"/>
                    </a:cubicBezTo>
                    <a:cubicBezTo>
                      <a:pt x="85" y="213"/>
                      <a:pt x="89" y="214"/>
                      <a:pt x="93" y="215"/>
                    </a:cubicBezTo>
                    <a:cubicBezTo>
                      <a:pt x="97" y="216"/>
                      <a:pt x="103" y="215"/>
                      <a:pt x="108" y="214"/>
                    </a:cubicBezTo>
                    <a:cubicBezTo>
                      <a:pt x="114" y="212"/>
                      <a:pt x="119" y="210"/>
                      <a:pt x="122" y="207"/>
                    </a:cubicBezTo>
                    <a:cubicBezTo>
                      <a:pt x="126" y="204"/>
                      <a:pt x="128" y="201"/>
                      <a:pt x="130" y="197"/>
                    </a:cubicBezTo>
                    <a:cubicBezTo>
                      <a:pt x="132" y="193"/>
                      <a:pt x="133" y="190"/>
                      <a:pt x="133" y="185"/>
                    </a:cubicBezTo>
                    <a:cubicBezTo>
                      <a:pt x="134" y="181"/>
                      <a:pt x="134" y="177"/>
                      <a:pt x="133" y="173"/>
                    </a:cubicBezTo>
                    <a:cubicBezTo>
                      <a:pt x="133" y="169"/>
                      <a:pt x="133" y="165"/>
                      <a:pt x="132" y="161"/>
                    </a:cubicBezTo>
                    <a:cubicBezTo>
                      <a:pt x="131" y="158"/>
                      <a:pt x="130" y="154"/>
                      <a:pt x="129" y="151"/>
                    </a:cubicBezTo>
                    <a:close/>
                    <a:moveTo>
                      <a:pt x="26" y="180"/>
                    </a:moveTo>
                    <a:lnTo>
                      <a:pt x="26" y="180"/>
                    </a:lnTo>
                    <a:lnTo>
                      <a:pt x="5" y="105"/>
                    </a:lnTo>
                    <a:cubicBezTo>
                      <a:pt x="4" y="101"/>
                      <a:pt x="3" y="95"/>
                      <a:pt x="1" y="89"/>
                    </a:cubicBezTo>
                    <a:cubicBezTo>
                      <a:pt x="0" y="83"/>
                      <a:pt x="0" y="77"/>
                      <a:pt x="0" y="70"/>
                    </a:cubicBezTo>
                    <a:cubicBezTo>
                      <a:pt x="0" y="64"/>
                      <a:pt x="0" y="57"/>
                      <a:pt x="2" y="50"/>
                    </a:cubicBezTo>
                    <a:cubicBezTo>
                      <a:pt x="3" y="44"/>
                      <a:pt x="6" y="37"/>
                      <a:pt x="9" y="31"/>
                    </a:cubicBezTo>
                    <a:cubicBezTo>
                      <a:pt x="13" y="25"/>
                      <a:pt x="18" y="20"/>
                      <a:pt x="25" y="15"/>
                    </a:cubicBezTo>
                    <a:cubicBezTo>
                      <a:pt x="31" y="10"/>
                      <a:pt x="40" y="7"/>
                      <a:pt x="50" y="4"/>
                    </a:cubicBezTo>
                    <a:cubicBezTo>
                      <a:pt x="60" y="1"/>
                      <a:pt x="69" y="0"/>
                      <a:pt x="77" y="1"/>
                    </a:cubicBezTo>
                    <a:cubicBezTo>
                      <a:pt x="85" y="1"/>
                      <a:pt x="92" y="3"/>
                      <a:pt x="98" y="7"/>
                    </a:cubicBezTo>
                    <a:cubicBezTo>
                      <a:pt x="104" y="10"/>
                      <a:pt x="110" y="14"/>
                      <a:pt x="114" y="19"/>
                    </a:cubicBezTo>
                    <a:cubicBezTo>
                      <a:pt x="119" y="24"/>
                      <a:pt x="123" y="29"/>
                      <a:pt x="126" y="35"/>
                    </a:cubicBezTo>
                    <a:cubicBezTo>
                      <a:pt x="130" y="40"/>
                      <a:pt x="133" y="46"/>
                      <a:pt x="135" y="52"/>
                    </a:cubicBezTo>
                    <a:cubicBezTo>
                      <a:pt x="137" y="58"/>
                      <a:pt x="139" y="63"/>
                      <a:pt x="140" y="67"/>
                    </a:cubicBezTo>
                    <a:lnTo>
                      <a:pt x="161" y="142"/>
                    </a:lnTo>
                    <a:cubicBezTo>
                      <a:pt x="162" y="147"/>
                      <a:pt x="164" y="152"/>
                      <a:pt x="165" y="158"/>
                    </a:cubicBezTo>
                    <a:cubicBezTo>
                      <a:pt x="166" y="164"/>
                      <a:pt x="166" y="170"/>
                      <a:pt x="166" y="177"/>
                    </a:cubicBezTo>
                    <a:cubicBezTo>
                      <a:pt x="166" y="183"/>
                      <a:pt x="166" y="190"/>
                      <a:pt x="164" y="197"/>
                    </a:cubicBezTo>
                    <a:cubicBezTo>
                      <a:pt x="163" y="204"/>
                      <a:pt x="160" y="210"/>
                      <a:pt x="157" y="216"/>
                    </a:cubicBezTo>
                    <a:cubicBezTo>
                      <a:pt x="153" y="222"/>
                      <a:pt x="148" y="227"/>
                      <a:pt x="142" y="232"/>
                    </a:cubicBezTo>
                    <a:cubicBezTo>
                      <a:pt x="135" y="237"/>
                      <a:pt x="127" y="241"/>
                      <a:pt x="117" y="244"/>
                    </a:cubicBezTo>
                    <a:cubicBezTo>
                      <a:pt x="107" y="247"/>
                      <a:pt x="98" y="248"/>
                      <a:pt x="90" y="247"/>
                    </a:cubicBezTo>
                    <a:cubicBezTo>
                      <a:pt x="82" y="246"/>
                      <a:pt x="75" y="244"/>
                      <a:pt x="68" y="241"/>
                    </a:cubicBezTo>
                    <a:cubicBezTo>
                      <a:pt x="62" y="238"/>
                      <a:pt x="56" y="234"/>
                      <a:pt x="52" y="229"/>
                    </a:cubicBezTo>
                    <a:cubicBezTo>
                      <a:pt x="47" y="224"/>
                      <a:pt x="43" y="218"/>
                      <a:pt x="40" y="213"/>
                    </a:cubicBezTo>
                    <a:cubicBezTo>
                      <a:pt x="36" y="207"/>
                      <a:pt x="33" y="201"/>
                      <a:pt x="31" y="196"/>
                    </a:cubicBezTo>
                    <a:cubicBezTo>
                      <a:pt x="29" y="190"/>
                      <a:pt x="27" y="185"/>
                      <a:pt x="26" y="180"/>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39" name="Freeform 172">
                <a:extLst>
                  <a:ext uri="{FF2B5EF4-FFF2-40B4-BE49-F238E27FC236}">
                    <a16:creationId xmlns:a16="http://schemas.microsoft.com/office/drawing/2014/main" id="{E9677D5A-EBA3-4161-8F69-29A7E7C6FADF}"/>
                  </a:ext>
                </a:extLst>
              </p:cNvPr>
              <p:cNvSpPr>
                <a:spLocks noEditPoints="1"/>
              </p:cNvSpPr>
              <p:nvPr/>
            </p:nvSpPr>
            <p:spPr bwMode="auto">
              <a:xfrm>
                <a:off x="6681" y="935"/>
                <a:ext cx="41" cy="66"/>
              </a:xfrm>
              <a:custGeom>
                <a:avLst/>
                <a:gdLst>
                  <a:gd name="T0" fmla="*/ 108 w 158"/>
                  <a:gd name="T1" fmla="*/ 170 h 249"/>
                  <a:gd name="T2" fmla="*/ 108 w 158"/>
                  <a:gd name="T3" fmla="*/ 170 h 249"/>
                  <a:gd name="T4" fmla="*/ 123 w 158"/>
                  <a:gd name="T5" fmla="*/ 93 h 249"/>
                  <a:gd name="T6" fmla="*/ 124 w 158"/>
                  <a:gd name="T7" fmla="*/ 83 h 249"/>
                  <a:gd name="T8" fmla="*/ 125 w 158"/>
                  <a:gd name="T9" fmla="*/ 71 h 249"/>
                  <a:gd name="T10" fmla="*/ 124 w 158"/>
                  <a:gd name="T11" fmla="*/ 58 h 249"/>
                  <a:gd name="T12" fmla="*/ 120 w 158"/>
                  <a:gd name="T13" fmla="*/ 47 h 249"/>
                  <a:gd name="T14" fmla="*/ 111 w 158"/>
                  <a:gd name="T15" fmla="*/ 38 h 249"/>
                  <a:gd name="T16" fmla="*/ 97 w 158"/>
                  <a:gd name="T17" fmla="*/ 33 h 249"/>
                  <a:gd name="T18" fmla="*/ 75 w 158"/>
                  <a:gd name="T19" fmla="*/ 35 h 249"/>
                  <a:gd name="T20" fmla="*/ 61 w 158"/>
                  <a:gd name="T21" fmla="*/ 47 h 249"/>
                  <a:gd name="T22" fmla="*/ 54 w 158"/>
                  <a:gd name="T23" fmla="*/ 63 h 249"/>
                  <a:gd name="T24" fmla="*/ 50 w 158"/>
                  <a:gd name="T25" fmla="*/ 79 h 249"/>
                  <a:gd name="T26" fmla="*/ 36 w 158"/>
                  <a:gd name="T27" fmla="*/ 156 h 249"/>
                  <a:gd name="T28" fmla="*/ 34 w 158"/>
                  <a:gd name="T29" fmla="*/ 166 h 249"/>
                  <a:gd name="T30" fmla="*/ 33 w 158"/>
                  <a:gd name="T31" fmla="*/ 178 h 249"/>
                  <a:gd name="T32" fmla="*/ 34 w 158"/>
                  <a:gd name="T33" fmla="*/ 190 h 249"/>
                  <a:gd name="T34" fmla="*/ 39 w 158"/>
                  <a:gd name="T35" fmla="*/ 201 h 249"/>
                  <a:gd name="T36" fmla="*/ 48 w 158"/>
                  <a:gd name="T37" fmla="*/ 211 h 249"/>
                  <a:gd name="T38" fmla="*/ 62 w 158"/>
                  <a:gd name="T39" fmla="*/ 216 h 249"/>
                  <a:gd name="T40" fmla="*/ 77 w 158"/>
                  <a:gd name="T41" fmla="*/ 216 h 249"/>
                  <a:gd name="T42" fmla="*/ 89 w 158"/>
                  <a:gd name="T43" fmla="*/ 211 h 249"/>
                  <a:gd name="T44" fmla="*/ 97 w 158"/>
                  <a:gd name="T45" fmla="*/ 202 h 249"/>
                  <a:gd name="T46" fmla="*/ 103 w 158"/>
                  <a:gd name="T47" fmla="*/ 191 h 249"/>
                  <a:gd name="T48" fmla="*/ 106 w 158"/>
                  <a:gd name="T49" fmla="*/ 180 h 249"/>
                  <a:gd name="T50" fmla="*/ 108 w 158"/>
                  <a:gd name="T51" fmla="*/ 170 h 249"/>
                  <a:gd name="T52" fmla="*/ 3 w 158"/>
                  <a:gd name="T53" fmla="*/ 150 h 249"/>
                  <a:gd name="T54" fmla="*/ 3 w 158"/>
                  <a:gd name="T55" fmla="*/ 150 h 249"/>
                  <a:gd name="T56" fmla="*/ 18 w 158"/>
                  <a:gd name="T57" fmla="*/ 73 h 249"/>
                  <a:gd name="T58" fmla="*/ 21 w 158"/>
                  <a:gd name="T59" fmla="*/ 57 h 249"/>
                  <a:gd name="T60" fmla="*/ 28 w 158"/>
                  <a:gd name="T61" fmla="*/ 40 h 249"/>
                  <a:gd name="T62" fmla="*/ 39 w 158"/>
                  <a:gd name="T63" fmla="*/ 23 h 249"/>
                  <a:gd name="T64" fmla="*/ 54 w 158"/>
                  <a:gd name="T65" fmla="*/ 9 h 249"/>
                  <a:gd name="T66" fmla="*/ 75 w 158"/>
                  <a:gd name="T67" fmla="*/ 1 h 249"/>
                  <a:gd name="T68" fmla="*/ 103 w 158"/>
                  <a:gd name="T69" fmla="*/ 2 h 249"/>
                  <a:gd name="T70" fmla="*/ 128 w 158"/>
                  <a:gd name="T71" fmla="*/ 11 h 249"/>
                  <a:gd name="T72" fmla="*/ 145 w 158"/>
                  <a:gd name="T73" fmla="*/ 26 h 249"/>
                  <a:gd name="T74" fmla="*/ 154 w 158"/>
                  <a:gd name="T75" fmla="*/ 44 h 249"/>
                  <a:gd name="T76" fmla="*/ 158 w 158"/>
                  <a:gd name="T77" fmla="*/ 64 h 249"/>
                  <a:gd name="T78" fmla="*/ 157 w 158"/>
                  <a:gd name="T79" fmla="*/ 83 h 249"/>
                  <a:gd name="T80" fmla="*/ 155 w 158"/>
                  <a:gd name="T81" fmla="*/ 99 h 249"/>
                  <a:gd name="T82" fmla="*/ 141 w 158"/>
                  <a:gd name="T83" fmla="*/ 176 h 249"/>
                  <a:gd name="T84" fmla="*/ 137 w 158"/>
                  <a:gd name="T85" fmla="*/ 191 h 249"/>
                  <a:gd name="T86" fmla="*/ 130 w 158"/>
                  <a:gd name="T87" fmla="*/ 209 h 249"/>
                  <a:gd name="T88" fmla="*/ 120 w 158"/>
                  <a:gd name="T89" fmla="*/ 226 h 249"/>
                  <a:gd name="T90" fmla="*/ 104 w 158"/>
                  <a:gd name="T91" fmla="*/ 240 h 249"/>
                  <a:gd name="T92" fmla="*/ 84 w 158"/>
                  <a:gd name="T93" fmla="*/ 247 h 249"/>
                  <a:gd name="T94" fmla="*/ 56 w 158"/>
                  <a:gd name="T95" fmla="*/ 247 h 249"/>
                  <a:gd name="T96" fmla="*/ 31 w 158"/>
                  <a:gd name="T97" fmla="*/ 238 h 249"/>
                  <a:gd name="T98" fmla="*/ 14 w 158"/>
                  <a:gd name="T99" fmla="*/ 223 h 249"/>
                  <a:gd name="T100" fmla="*/ 5 w 158"/>
                  <a:gd name="T101" fmla="*/ 204 h 249"/>
                  <a:gd name="T102" fmla="*/ 1 w 158"/>
                  <a:gd name="T103" fmla="*/ 185 h 249"/>
                  <a:gd name="T104" fmla="*/ 1 w 158"/>
                  <a:gd name="T105" fmla="*/ 166 h 249"/>
                  <a:gd name="T106" fmla="*/ 3 w 158"/>
                  <a:gd name="T107" fmla="*/ 15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 h="249">
                    <a:moveTo>
                      <a:pt x="108" y="170"/>
                    </a:moveTo>
                    <a:lnTo>
                      <a:pt x="108" y="170"/>
                    </a:lnTo>
                    <a:lnTo>
                      <a:pt x="123" y="93"/>
                    </a:lnTo>
                    <a:cubicBezTo>
                      <a:pt x="123" y="90"/>
                      <a:pt x="124" y="86"/>
                      <a:pt x="124" y="83"/>
                    </a:cubicBezTo>
                    <a:cubicBezTo>
                      <a:pt x="125" y="79"/>
                      <a:pt x="125" y="75"/>
                      <a:pt x="125" y="71"/>
                    </a:cubicBezTo>
                    <a:cubicBezTo>
                      <a:pt x="125" y="67"/>
                      <a:pt x="125" y="63"/>
                      <a:pt x="124" y="58"/>
                    </a:cubicBezTo>
                    <a:cubicBezTo>
                      <a:pt x="123" y="54"/>
                      <a:pt x="122" y="51"/>
                      <a:pt x="120" y="47"/>
                    </a:cubicBezTo>
                    <a:cubicBezTo>
                      <a:pt x="118" y="44"/>
                      <a:pt x="115" y="41"/>
                      <a:pt x="111" y="38"/>
                    </a:cubicBezTo>
                    <a:cubicBezTo>
                      <a:pt x="107" y="36"/>
                      <a:pt x="102" y="34"/>
                      <a:pt x="97" y="33"/>
                    </a:cubicBezTo>
                    <a:cubicBezTo>
                      <a:pt x="88" y="31"/>
                      <a:pt x="81" y="32"/>
                      <a:pt x="75" y="35"/>
                    </a:cubicBezTo>
                    <a:cubicBezTo>
                      <a:pt x="69" y="38"/>
                      <a:pt x="65" y="42"/>
                      <a:pt x="61" y="47"/>
                    </a:cubicBezTo>
                    <a:cubicBezTo>
                      <a:pt x="58" y="52"/>
                      <a:pt x="56" y="57"/>
                      <a:pt x="54" y="63"/>
                    </a:cubicBezTo>
                    <a:cubicBezTo>
                      <a:pt x="52" y="69"/>
                      <a:pt x="51" y="75"/>
                      <a:pt x="50" y="79"/>
                    </a:cubicBezTo>
                    <a:lnTo>
                      <a:pt x="36" y="156"/>
                    </a:lnTo>
                    <a:cubicBezTo>
                      <a:pt x="35" y="159"/>
                      <a:pt x="35" y="162"/>
                      <a:pt x="34" y="166"/>
                    </a:cubicBezTo>
                    <a:cubicBezTo>
                      <a:pt x="34" y="170"/>
                      <a:pt x="33" y="174"/>
                      <a:pt x="33" y="178"/>
                    </a:cubicBezTo>
                    <a:cubicBezTo>
                      <a:pt x="33" y="182"/>
                      <a:pt x="34" y="186"/>
                      <a:pt x="34" y="190"/>
                    </a:cubicBezTo>
                    <a:cubicBezTo>
                      <a:pt x="35" y="194"/>
                      <a:pt x="37" y="198"/>
                      <a:pt x="39" y="201"/>
                    </a:cubicBezTo>
                    <a:cubicBezTo>
                      <a:pt x="41" y="205"/>
                      <a:pt x="44" y="208"/>
                      <a:pt x="48" y="211"/>
                    </a:cubicBezTo>
                    <a:cubicBezTo>
                      <a:pt x="51" y="213"/>
                      <a:pt x="56" y="215"/>
                      <a:pt x="62" y="216"/>
                    </a:cubicBezTo>
                    <a:cubicBezTo>
                      <a:pt x="68" y="217"/>
                      <a:pt x="73" y="217"/>
                      <a:pt x="77" y="216"/>
                    </a:cubicBezTo>
                    <a:cubicBezTo>
                      <a:pt x="82" y="215"/>
                      <a:pt x="86" y="213"/>
                      <a:pt x="89" y="211"/>
                    </a:cubicBezTo>
                    <a:cubicBezTo>
                      <a:pt x="92" y="209"/>
                      <a:pt x="95" y="206"/>
                      <a:pt x="97" y="202"/>
                    </a:cubicBezTo>
                    <a:cubicBezTo>
                      <a:pt x="99" y="198"/>
                      <a:pt x="101" y="195"/>
                      <a:pt x="103" y="191"/>
                    </a:cubicBezTo>
                    <a:cubicBezTo>
                      <a:pt x="104" y="187"/>
                      <a:pt x="105" y="183"/>
                      <a:pt x="106" y="180"/>
                    </a:cubicBezTo>
                    <a:cubicBezTo>
                      <a:pt x="107" y="176"/>
                      <a:pt x="108" y="173"/>
                      <a:pt x="108" y="170"/>
                    </a:cubicBezTo>
                    <a:close/>
                    <a:moveTo>
                      <a:pt x="3" y="150"/>
                    </a:moveTo>
                    <a:lnTo>
                      <a:pt x="3" y="150"/>
                    </a:lnTo>
                    <a:lnTo>
                      <a:pt x="18" y="73"/>
                    </a:lnTo>
                    <a:cubicBezTo>
                      <a:pt x="18" y="68"/>
                      <a:pt x="20" y="63"/>
                      <a:pt x="21" y="57"/>
                    </a:cubicBezTo>
                    <a:cubicBezTo>
                      <a:pt x="23" y="51"/>
                      <a:pt x="25" y="45"/>
                      <a:pt x="28" y="40"/>
                    </a:cubicBezTo>
                    <a:cubicBezTo>
                      <a:pt x="31" y="34"/>
                      <a:pt x="35" y="28"/>
                      <a:pt x="39" y="23"/>
                    </a:cubicBezTo>
                    <a:cubicBezTo>
                      <a:pt x="43" y="17"/>
                      <a:pt x="48" y="13"/>
                      <a:pt x="54" y="9"/>
                    </a:cubicBezTo>
                    <a:cubicBezTo>
                      <a:pt x="60" y="5"/>
                      <a:pt x="67" y="3"/>
                      <a:pt x="75" y="1"/>
                    </a:cubicBezTo>
                    <a:cubicBezTo>
                      <a:pt x="83" y="0"/>
                      <a:pt x="92" y="0"/>
                      <a:pt x="103" y="2"/>
                    </a:cubicBezTo>
                    <a:cubicBezTo>
                      <a:pt x="113" y="4"/>
                      <a:pt x="121" y="7"/>
                      <a:pt x="128" y="11"/>
                    </a:cubicBezTo>
                    <a:cubicBezTo>
                      <a:pt x="135" y="15"/>
                      <a:pt x="140" y="20"/>
                      <a:pt x="145" y="26"/>
                    </a:cubicBezTo>
                    <a:cubicBezTo>
                      <a:pt x="149" y="32"/>
                      <a:pt x="152" y="38"/>
                      <a:pt x="154" y="44"/>
                    </a:cubicBezTo>
                    <a:cubicBezTo>
                      <a:pt x="156" y="51"/>
                      <a:pt x="157" y="57"/>
                      <a:pt x="158" y="64"/>
                    </a:cubicBezTo>
                    <a:cubicBezTo>
                      <a:pt x="158" y="70"/>
                      <a:pt x="158" y="77"/>
                      <a:pt x="157" y="83"/>
                    </a:cubicBezTo>
                    <a:cubicBezTo>
                      <a:pt x="157" y="89"/>
                      <a:pt x="156" y="94"/>
                      <a:pt x="155" y="99"/>
                    </a:cubicBezTo>
                    <a:lnTo>
                      <a:pt x="141" y="176"/>
                    </a:lnTo>
                    <a:cubicBezTo>
                      <a:pt x="140" y="180"/>
                      <a:pt x="139" y="186"/>
                      <a:pt x="137" y="191"/>
                    </a:cubicBezTo>
                    <a:cubicBezTo>
                      <a:pt x="135" y="197"/>
                      <a:pt x="133" y="203"/>
                      <a:pt x="130" y="209"/>
                    </a:cubicBezTo>
                    <a:cubicBezTo>
                      <a:pt x="127" y="215"/>
                      <a:pt x="124" y="221"/>
                      <a:pt x="120" y="226"/>
                    </a:cubicBezTo>
                    <a:cubicBezTo>
                      <a:pt x="116" y="231"/>
                      <a:pt x="110" y="236"/>
                      <a:pt x="104" y="240"/>
                    </a:cubicBezTo>
                    <a:cubicBezTo>
                      <a:pt x="98" y="243"/>
                      <a:pt x="91" y="246"/>
                      <a:pt x="84" y="247"/>
                    </a:cubicBezTo>
                    <a:cubicBezTo>
                      <a:pt x="76" y="249"/>
                      <a:pt x="67" y="249"/>
                      <a:pt x="56" y="247"/>
                    </a:cubicBezTo>
                    <a:cubicBezTo>
                      <a:pt x="46" y="245"/>
                      <a:pt x="38" y="242"/>
                      <a:pt x="31" y="238"/>
                    </a:cubicBezTo>
                    <a:cubicBezTo>
                      <a:pt x="24" y="233"/>
                      <a:pt x="18" y="228"/>
                      <a:pt x="14" y="223"/>
                    </a:cubicBezTo>
                    <a:cubicBezTo>
                      <a:pt x="10" y="217"/>
                      <a:pt x="7" y="211"/>
                      <a:pt x="5" y="204"/>
                    </a:cubicBezTo>
                    <a:cubicBezTo>
                      <a:pt x="3" y="198"/>
                      <a:pt x="1" y="191"/>
                      <a:pt x="1" y="185"/>
                    </a:cubicBezTo>
                    <a:cubicBezTo>
                      <a:pt x="0" y="178"/>
                      <a:pt x="0" y="172"/>
                      <a:pt x="1" y="166"/>
                    </a:cubicBezTo>
                    <a:cubicBezTo>
                      <a:pt x="2" y="160"/>
                      <a:pt x="2" y="154"/>
                      <a:pt x="3" y="150"/>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40" name="Freeform 173">
                <a:extLst>
                  <a:ext uri="{FF2B5EF4-FFF2-40B4-BE49-F238E27FC236}">
                    <a16:creationId xmlns:a16="http://schemas.microsoft.com/office/drawing/2014/main" id="{DE248420-876A-435E-B52A-C2D2DD9E33A5}"/>
                  </a:ext>
                </a:extLst>
              </p:cNvPr>
              <p:cNvSpPr>
                <a:spLocks noEditPoints="1"/>
              </p:cNvSpPr>
              <p:nvPr/>
            </p:nvSpPr>
            <p:spPr bwMode="auto">
              <a:xfrm>
                <a:off x="6646" y="1070"/>
                <a:ext cx="47" cy="64"/>
              </a:xfrm>
              <a:custGeom>
                <a:avLst/>
                <a:gdLst>
                  <a:gd name="T0" fmla="*/ 109 w 177"/>
                  <a:gd name="T1" fmla="*/ 171 h 244"/>
                  <a:gd name="T2" fmla="*/ 109 w 177"/>
                  <a:gd name="T3" fmla="*/ 171 h 244"/>
                  <a:gd name="T4" fmla="*/ 137 w 177"/>
                  <a:gd name="T5" fmla="*/ 98 h 244"/>
                  <a:gd name="T6" fmla="*/ 141 w 177"/>
                  <a:gd name="T7" fmla="*/ 89 h 244"/>
                  <a:gd name="T8" fmla="*/ 143 w 177"/>
                  <a:gd name="T9" fmla="*/ 77 h 244"/>
                  <a:gd name="T10" fmla="*/ 144 w 177"/>
                  <a:gd name="T11" fmla="*/ 65 h 244"/>
                  <a:gd name="T12" fmla="*/ 142 w 177"/>
                  <a:gd name="T13" fmla="*/ 53 h 244"/>
                  <a:gd name="T14" fmla="*/ 135 w 177"/>
                  <a:gd name="T15" fmla="*/ 42 h 244"/>
                  <a:gd name="T16" fmla="*/ 122 w 177"/>
                  <a:gd name="T17" fmla="*/ 35 h 244"/>
                  <a:gd name="T18" fmla="*/ 100 w 177"/>
                  <a:gd name="T19" fmla="*/ 33 h 244"/>
                  <a:gd name="T20" fmla="*/ 85 w 177"/>
                  <a:gd name="T21" fmla="*/ 42 h 244"/>
                  <a:gd name="T22" fmla="*/ 75 w 177"/>
                  <a:gd name="T23" fmla="*/ 57 h 244"/>
                  <a:gd name="T24" fmla="*/ 68 w 177"/>
                  <a:gd name="T25" fmla="*/ 72 h 244"/>
                  <a:gd name="T26" fmla="*/ 40 w 177"/>
                  <a:gd name="T27" fmla="*/ 145 h 244"/>
                  <a:gd name="T28" fmla="*/ 37 w 177"/>
                  <a:gd name="T29" fmla="*/ 155 h 244"/>
                  <a:gd name="T30" fmla="*/ 34 w 177"/>
                  <a:gd name="T31" fmla="*/ 166 h 244"/>
                  <a:gd name="T32" fmla="*/ 33 w 177"/>
                  <a:gd name="T33" fmla="*/ 178 h 244"/>
                  <a:gd name="T34" fmla="*/ 35 w 177"/>
                  <a:gd name="T35" fmla="*/ 190 h 244"/>
                  <a:gd name="T36" fmla="*/ 42 w 177"/>
                  <a:gd name="T37" fmla="*/ 201 h 244"/>
                  <a:gd name="T38" fmla="*/ 55 w 177"/>
                  <a:gd name="T39" fmla="*/ 209 h 244"/>
                  <a:gd name="T40" fmla="*/ 70 w 177"/>
                  <a:gd name="T41" fmla="*/ 212 h 244"/>
                  <a:gd name="T42" fmla="*/ 83 w 177"/>
                  <a:gd name="T43" fmla="*/ 209 h 244"/>
                  <a:gd name="T44" fmla="*/ 92 w 177"/>
                  <a:gd name="T45" fmla="*/ 201 h 244"/>
                  <a:gd name="T46" fmla="*/ 100 w 177"/>
                  <a:gd name="T47" fmla="*/ 191 h 244"/>
                  <a:gd name="T48" fmla="*/ 105 w 177"/>
                  <a:gd name="T49" fmla="*/ 181 h 244"/>
                  <a:gd name="T50" fmla="*/ 109 w 177"/>
                  <a:gd name="T51" fmla="*/ 171 h 244"/>
                  <a:gd name="T52" fmla="*/ 9 w 177"/>
                  <a:gd name="T53" fmla="*/ 133 h 244"/>
                  <a:gd name="T54" fmla="*/ 9 w 177"/>
                  <a:gd name="T55" fmla="*/ 133 h 244"/>
                  <a:gd name="T56" fmla="*/ 37 w 177"/>
                  <a:gd name="T57" fmla="*/ 60 h 244"/>
                  <a:gd name="T58" fmla="*/ 44 w 177"/>
                  <a:gd name="T59" fmla="*/ 45 h 244"/>
                  <a:gd name="T60" fmla="*/ 54 w 177"/>
                  <a:gd name="T61" fmla="*/ 29 h 244"/>
                  <a:gd name="T62" fmla="*/ 67 w 177"/>
                  <a:gd name="T63" fmla="*/ 14 h 244"/>
                  <a:gd name="T64" fmla="*/ 85 w 177"/>
                  <a:gd name="T65" fmla="*/ 4 h 244"/>
                  <a:gd name="T66" fmla="*/ 107 w 177"/>
                  <a:gd name="T67" fmla="*/ 0 h 244"/>
                  <a:gd name="T68" fmla="*/ 133 w 177"/>
                  <a:gd name="T69" fmla="*/ 5 h 244"/>
                  <a:gd name="T70" fmla="*/ 157 w 177"/>
                  <a:gd name="T71" fmla="*/ 19 h 244"/>
                  <a:gd name="T72" fmla="*/ 171 w 177"/>
                  <a:gd name="T73" fmla="*/ 37 h 244"/>
                  <a:gd name="T74" fmla="*/ 176 w 177"/>
                  <a:gd name="T75" fmla="*/ 56 h 244"/>
                  <a:gd name="T76" fmla="*/ 177 w 177"/>
                  <a:gd name="T77" fmla="*/ 76 h 244"/>
                  <a:gd name="T78" fmla="*/ 173 w 177"/>
                  <a:gd name="T79" fmla="*/ 95 h 244"/>
                  <a:gd name="T80" fmla="*/ 168 w 177"/>
                  <a:gd name="T81" fmla="*/ 110 h 244"/>
                  <a:gd name="T82" fmla="*/ 140 w 177"/>
                  <a:gd name="T83" fmla="*/ 183 h 244"/>
                  <a:gd name="T84" fmla="*/ 134 w 177"/>
                  <a:gd name="T85" fmla="*/ 198 h 244"/>
                  <a:gd name="T86" fmla="*/ 124 w 177"/>
                  <a:gd name="T87" fmla="*/ 214 h 244"/>
                  <a:gd name="T88" fmla="*/ 110 w 177"/>
                  <a:gd name="T89" fmla="*/ 229 h 244"/>
                  <a:gd name="T90" fmla="*/ 93 w 177"/>
                  <a:gd name="T91" fmla="*/ 240 h 244"/>
                  <a:gd name="T92" fmla="*/ 71 w 177"/>
                  <a:gd name="T93" fmla="*/ 244 h 244"/>
                  <a:gd name="T94" fmla="*/ 44 w 177"/>
                  <a:gd name="T95" fmla="*/ 238 h 244"/>
                  <a:gd name="T96" fmla="*/ 21 w 177"/>
                  <a:gd name="T97" fmla="*/ 225 h 244"/>
                  <a:gd name="T98" fmla="*/ 7 w 177"/>
                  <a:gd name="T99" fmla="*/ 207 h 244"/>
                  <a:gd name="T100" fmla="*/ 1 w 177"/>
                  <a:gd name="T101" fmla="*/ 187 h 244"/>
                  <a:gd name="T102" fmla="*/ 1 w 177"/>
                  <a:gd name="T103" fmla="*/ 167 h 244"/>
                  <a:gd name="T104" fmla="*/ 4 w 177"/>
                  <a:gd name="T105" fmla="*/ 149 h 244"/>
                  <a:gd name="T106" fmla="*/ 9 w 177"/>
                  <a:gd name="T107" fmla="*/ 13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 h="244">
                    <a:moveTo>
                      <a:pt x="109" y="171"/>
                    </a:moveTo>
                    <a:lnTo>
                      <a:pt x="109" y="171"/>
                    </a:lnTo>
                    <a:lnTo>
                      <a:pt x="137" y="98"/>
                    </a:lnTo>
                    <a:cubicBezTo>
                      <a:pt x="138" y="96"/>
                      <a:pt x="139" y="92"/>
                      <a:pt x="141" y="89"/>
                    </a:cubicBezTo>
                    <a:cubicBezTo>
                      <a:pt x="142" y="85"/>
                      <a:pt x="143" y="81"/>
                      <a:pt x="143" y="77"/>
                    </a:cubicBezTo>
                    <a:cubicBezTo>
                      <a:pt x="144" y="73"/>
                      <a:pt x="144" y="69"/>
                      <a:pt x="144" y="65"/>
                    </a:cubicBezTo>
                    <a:cubicBezTo>
                      <a:pt x="144" y="61"/>
                      <a:pt x="144" y="57"/>
                      <a:pt x="142" y="53"/>
                    </a:cubicBezTo>
                    <a:cubicBezTo>
                      <a:pt x="141" y="49"/>
                      <a:pt x="138" y="46"/>
                      <a:pt x="135" y="42"/>
                    </a:cubicBezTo>
                    <a:cubicBezTo>
                      <a:pt x="132" y="39"/>
                      <a:pt x="128" y="37"/>
                      <a:pt x="122" y="35"/>
                    </a:cubicBezTo>
                    <a:cubicBezTo>
                      <a:pt x="114" y="31"/>
                      <a:pt x="106" y="31"/>
                      <a:pt x="100" y="33"/>
                    </a:cubicBezTo>
                    <a:cubicBezTo>
                      <a:pt x="94" y="35"/>
                      <a:pt x="89" y="38"/>
                      <a:pt x="85" y="42"/>
                    </a:cubicBezTo>
                    <a:cubicBezTo>
                      <a:pt x="81" y="47"/>
                      <a:pt x="77" y="52"/>
                      <a:pt x="75" y="57"/>
                    </a:cubicBezTo>
                    <a:cubicBezTo>
                      <a:pt x="72" y="63"/>
                      <a:pt x="70" y="68"/>
                      <a:pt x="68" y="72"/>
                    </a:cubicBezTo>
                    <a:lnTo>
                      <a:pt x="40" y="145"/>
                    </a:lnTo>
                    <a:cubicBezTo>
                      <a:pt x="39" y="148"/>
                      <a:pt x="38" y="151"/>
                      <a:pt x="37" y="155"/>
                    </a:cubicBezTo>
                    <a:cubicBezTo>
                      <a:pt x="36" y="158"/>
                      <a:pt x="35" y="162"/>
                      <a:pt x="34" y="166"/>
                    </a:cubicBezTo>
                    <a:cubicBezTo>
                      <a:pt x="33" y="170"/>
                      <a:pt x="33" y="174"/>
                      <a:pt x="33" y="178"/>
                    </a:cubicBezTo>
                    <a:cubicBezTo>
                      <a:pt x="33" y="183"/>
                      <a:pt x="34" y="187"/>
                      <a:pt x="35" y="190"/>
                    </a:cubicBezTo>
                    <a:cubicBezTo>
                      <a:pt x="37" y="194"/>
                      <a:pt x="39" y="198"/>
                      <a:pt x="42" y="201"/>
                    </a:cubicBezTo>
                    <a:cubicBezTo>
                      <a:pt x="45" y="204"/>
                      <a:pt x="50" y="207"/>
                      <a:pt x="55" y="209"/>
                    </a:cubicBezTo>
                    <a:cubicBezTo>
                      <a:pt x="61" y="211"/>
                      <a:pt x="66" y="212"/>
                      <a:pt x="70" y="212"/>
                    </a:cubicBezTo>
                    <a:cubicBezTo>
                      <a:pt x="75" y="212"/>
                      <a:pt x="79" y="210"/>
                      <a:pt x="83" y="209"/>
                    </a:cubicBezTo>
                    <a:cubicBezTo>
                      <a:pt x="86" y="207"/>
                      <a:pt x="90" y="204"/>
                      <a:pt x="92" y="201"/>
                    </a:cubicBezTo>
                    <a:cubicBezTo>
                      <a:pt x="95" y="198"/>
                      <a:pt x="98" y="195"/>
                      <a:pt x="100" y="191"/>
                    </a:cubicBezTo>
                    <a:cubicBezTo>
                      <a:pt x="102" y="188"/>
                      <a:pt x="104" y="184"/>
                      <a:pt x="105" y="181"/>
                    </a:cubicBezTo>
                    <a:cubicBezTo>
                      <a:pt x="107" y="177"/>
                      <a:pt x="108" y="174"/>
                      <a:pt x="109" y="171"/>
                    </a:cubicBezTo>
                    <a:close/>
                    <a:moveTo>
                      <a:pt x="9" y="133"/>
                    </a:moveTo>
                    <a:lnTo>
                      <a:pt x="9" y="133"/>
                    </a:lnTo>
                    <a:lnTo>
                      <a:pt x="37" y="60"/>
                    </a:lnTo>
                    <a:cubicBezTo>
                      <a:pt x="39" y="56"/>
                      <a:pt x="41" y="51"/>
                      <a:pt x="44" y="45"/>
                    </a:cubicBezTo>
                    <a:cubicBezTo>
                      <a:pt x="46" y="40"/>
                      <a:pt x="50" y="35"/>
                      <a:pt x="54" y="29"/>
                    </a:cubicBezTo>
                    <a:cubicBezTo>
                      <a:pt x="58" y="24"/>
                      <a:pt x="62" y="19"/>
                      <a:pt x="67" y="14"/>
                    </a:cubicBezTo>
                    <a:cubicBezTo>
                      <a:pt x="72" y="10"/>
                      <a:pt x="78" y="6"/>
                      <a:pt x="85" y="4"/>
                    </a:cubicBezTo>
                    <a:cubicBezTo>
                      <a:pt x="91" y="1"/>
                      <a:pt x="99" y="0"/>
                      <a:pt x="107" y="0"/>
                    </a:cubicBezTo>
                    <a:cubicBezTo>
                      <a:pt x="115" y="0"/>
                      <a:pt x="124" y="2"/>
                      <a:pt x="133" y="5"/>
                    </a:cubicBezTo>
                    <a:cubicBezTo>
                      <a:pt x="143" y="9"/>
                      <a:pt x="151" y="14"/>
                      <a:pt x="157" y="19"/>
                    </a:cubicBezTo>
                    <a:cubicBezTo>
                      <a:pt x="163" y="24"/>
                      <a:pt x="167" y="30"/>
                      <a:pt x="171" y="37"/>
                    </a:cubicBezTo>
                    <a:cubicBezTo>
                      <a:pt x="174" y="43"/>
                      <a:pt x="176" y="49"/>
                      <a:pt x="176" y="56"/>
                    </a:cubicBezTo>
                    <a:cubicBezTo>
                      <a:pt x="177" y="63"/>
                      <a:pt x="177" y="70"/>
                      <a:pt x="177" y="76"/>
                    </a:cubicBezTo>
                    <a:cubicBezTo>
                      <a:pt x="176" y="83"/>
                      <a:pt x="175" y="89"/>
                      <a:pt x="173" y="95"/>
                    </a:cubicBezTo>
                    <a:cubicBezTo>
                      <a:pt x="171" y="101"/>
                      <a:pt x="170" y="106"/>
                      <a:pt x="168" y="110"/>
                    </a:cubicBezTo>
                    <a:lnTo>
                      <a:pt x="140" y="183"/>
                    </a:lnTo>
                    <a:cubicBezTo>
                      <a:pt x="138" y="188"/>
                      <a:pt x="136" y="192"/>
                      <a:pt x="134" y="198"/>
                    </a:cubicBezTo>
                    <a:cubicBezTo>
                      <a:pt x="131" y="203"/>
                      <a:pt x="128" y="209"/>
                      <a:pt x="124" y="214"/>
                    </a:cubicBezTo>
                    <a:cubicBezTo>
                      <a:pt x="120" y="219"/>
                      <a:pt x="116" y="224"/>
                      <a:pt x="110" y="229"/>
                    </a:cubicBezTo>
                    <a:cubicBezTo>
                      <a:pt x="105" y="233"/>
                      <a:pt x="99" y="237"/>
                      <a:pt x="93" y="240"/>
                    </a:cubicBezTo>
                    <a:cubicBezTo>
                      <a:pt x="86" y="242"/>
                      <a:pt x="79" y="244"/>
                      <a:pt x="71" y="244"/>
                    </a:cubicBezTo>
                    <a:cubicBezTo>
                      <a:pt x="63" y="244"/>
                      <a:pt x="54" y="242"/>
                      <a:pt x="44" y="238"/>
                    </a:cubicBezTo>
                    <a:cubicBezTo>
                      <a:pt x="35" y="234"/>
                      <a:pt x="27" y="230"/>
                      <a:pt x="21" y="225"/>
                    </a:cubicBezTo>
                    <a:cubicBezTo>
                      <a:pt x="15" y="219"/>
                      <a:pt x="10" y="213"/>
                      <a:pt x="7" y="207"/>
                    </a:cubicBezTo>
                    <a:cubicBezTo>
                      <a:pt x="4" y="201"/>
                      <a:pt x="2" y="194"/>
                      <a:pt x="1" y="187"/>
                    </a:cubicBezTo>
                    <a:cubicBezTo>
                      <a:pt x="0" y="180"/>
                      <a:pt x="0" y="174"/>
                      <a:pt x="1" y="167"/>
                    </a:cubicBezTo>
                    <a:cubicBezTo>
                      <a:pt x="1" y="161"/>
                      <a:pt x="3" y="154"/>
                      <a:pt x="4" y="149"/>
                    </a:cubicBezTo>
                    <a:cubicBezTo>
                      <a:pt x="6" y="143"/>
                      <a:pt x="8" y="138"/>
                      <a:pt x="9" y="133"/>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41" name="Freeform 174">
                <a:extLst>
                  <a:ext uri="{FF2B5EF4-FFF2-40B4-BE49-F238E27FC236}">
                    <a16:creationId xmlns:a16="http://schemas.microsoft.com/office/drawing/2014/main" id="{456E70BD-A24D-4134-8F5B-2FDAA8938F47}"/>
                  </a:ext>
                </a:extLst>
              </p:cNvPr>
              <p:cNvSpPr>
                <a:spLocks noEditPoints="1"/>
              </p:cNvSpPr>
              <p:nvPr/>
            </p:nvSpPr>
            <p:spPr bwMode="auto">
              <a:xfrm>
                <a:off x="6384" y="928"/>
                <a:ext cx="46" cy="64"/>
              </a:xfrm>
              <a:custGeom>
                <a:avLst/>
                <a:gdLst>
                  <a:gd name="T0" fmla="*/ 109 w 177"/>
                  <a:gd name="T1" fmla="*/ 172 h 244"/>
                  <a:gd name="T2" fmla="*/ 109 w 177"/>
                  <a:gd name="T3" fmla="*/ 172 h 244"/>
                  <a:gd name="T4" fmla="*/ 137 w 177"/>
                  <a:gd name="T5" fmla="*/ 99 h 244"/>
                  <a:gd name="T6" fmla="*/ 140 w 177"/>
                  <a:gd name="T7" fmla="*/ 89 h 244"/>
                  <a:gd name="T8" fmla="*/ 143 w 177"/>
                  <a:gd name="T9" fmla="*/ 78 h 244"/>
                  <a:gd name="T10" fmla="*/ 144 w 177"/>
                  <a:gd name="T11" fmla="*/ 65 h 244"/>
                  <a:gd name="T12" fmla="*/ 142 w 177"/>
                  <a:gd name="T13" fmla="*/ 53 h 244"/>
                  <a:gd name="T14" fmla="*/ 135 w 177"/>
                  <a:gd name="T15" fmla="*/ 43 h 244"/>
                  <a:gd name="T16" fmla="*/ 122 w 177"/>
                  <a:gd name="T17" fmla="*/ 35 h 244"/>
                  <a:gd name="T18" fmla="*/ 100 w 177"/>
                  <a:gd name="T19" fmla="*/ 33 h 244"/>
                  <a:gd name="T20" fmla="*/ 85 w 177"/>
                  <a:gd name="T21" fmla="*/ 43 h 244"/>
                  <a:gd name="T22" fmla="*/ 74 w 177"/>
                  <a:gd name="T23" fmla="*/ 58 h 244"/>
                  <a:gd name="T24" fmla="*/ 68 w 177"/>
                  <a:gd name="T25" fmla="*/ 72 h 244"/>
                  <a:gd name="T26" fmla="*/ 40 w 177"/>
                  <a:gd name="T27" fmla="*/ 146 h 244"/>
                  <a:gd name="T28" fmla="*/ 36 w 177"/>
                  <a:gd name="T29" fmla="*/ 155 h 244"/>
                  <a:gd name="T30" fmla="*/ 34 w 177"/>
                  <a:gd name="T31" fmla="*/ 167 h 244"/>
                  <a:gd name="T32" fmla="*/ 32 w 177"/>
                  <a:gd name="T33" fmla="*/ 179 h 244"/>
                  <a:gd name="T34" fmla="*/ 35 w 177"/>
                  <a:gd name="T35" fmla="*/ 191 h 244"/>
                  <a:gd name="T36" fmla="*/ 42 w 177"/>
                  <a:gd name="T37" fmla="*/ 201 h 244"/>
                  <a:gd name="T38" fmla="*/ 55 w 177"/>
                  <a:gd name="T39" fmla="*/ 209 h 244"/>
                  <a:gd name="T40" fmla="*/ 70 w 177"/>
                  <a:gd name="T41" fmla="*/ 212 h 244"/>
                  <a:gd name="T42" fmla="*/ 82 w 177"/>
                  <a:gd name="T43" fmla="*/ 209 h 244"/>
                  <a:gd name="T44" fmla="*/ 92 w 177"/>
                  <a:gd name="T45" fmla="*/ 202 h 244"/>
                  <a:gd name="T46" fmla="*/ 99 w 177"/>
                  <a:gd name="T47" fmla="*/ 192 h 244"/>
                  <a:gd name="T48" fmla="*/ 105 w 177"/>
                  <a:gd name="T49" fmla="*/ 181 h 244"/>
                  <a:gd name="T50" fmla="*/ 109 w 177"/>
                  <a:gd name="T51" fmla="*/ 172 h 244"/>
                  <a:gd name="T52" fmla="*/ 9 w 177"/>
                  <a:gd name="T53" fmla="*/ 134 h 244"/>
                  <a:gd name="T54" fmla="*/ 9 w 177"/>
                  <a:gd name="T55" fmla="*/ 134 h 244"/>
                  <a:gd name="T56" fmla="*/ 37 w 177"/>
                  <a:gd name="T57" fmla="*/ 61 h 244"/>
                  <a:gd name="T58" fmla="*/ 43 w 177"/>
                  <a:gd name="T59" fmla="*/ 46 h 244"/>
                  <a:gd name="T60" fmla="*/ 53 w 177"/>
                  <a:gd name="T61" fmla="*/ 30 h 244"/>
                  <a:gd name="T62" fmla="*/ 67 w 177"/>
                  <a:gd name="T63" fmla="*/ 15 h 244"/>
                  <a:gd name="T64" fmla="*/ 84 w 177"/>
                  <a:gd name="T65" fmla="*/ 4 h 244"/>
                  <a:gd name="T66" fmla="*/ 106 w 177"/>
                  <a:gd name="T67" fmla="*/ 0 h 244"/>
                  <a:gd name="T68" fmla="*/ 133 w 177"/>
                  <a:gd name="T69" fmla="*/ 6 h 244"/>
                  <a:gd name="T70" fmla="*/ 157 w 177"/>
                  <a:gd name="T71" fmla="*/ 19 h 244"/>
                  <a:gd name="T72" fmla="*/ 170 w 177"/>
                  <a:gd name="T73" fmla="*/ 37 h 244"/>
                  <a:gd name="T74" fmla="*/ 176 w 177"/>
                  <a:gd name="T75" fmla="*/ 57 h 244"/>
                  <a:gd name="T76" fmla="*/ 176 w 177"/>
                  <a:gd name="T77" fmla="*/ 77 h 244"/>
                  <a:gd name="T78" fmla="*/ 173 w 177"/>
                  <a:gd name="T79" fmla="*/ 95 h 244"/>
                  <a:gd name="T80" fmla="*/ 168 w 177"/>
                  <a:gd name="T81" fmla="*/ 111 h 244"/>
                  <a:gd name="T82" fmla="*/ 140 w 177"/>
                  <a:gd name="T83" fmla="*/ 184 h 244"/>
                  <a:gd name="T84" fmla="*/ 133 w 177"/>
                  <a:gd name="T85" fmla="*/ 198 h 244"/>
                  <a:gd name="T86" fmla="*/ 123 w 177"/>
                  <a:gd name="T87" fmla="*/ 215 h 244"/>
                  <a:gd name="T88" fmla="*/ 110 w 177"/>
                  <a:gd name="T89" fmla="*/ 229 h 244"/>
                  <a:gd name="T90" fmla="*/ 92 w 177"/>
                  <a:gd name="T91" fmla="*/ 240 h 244"/>
                  <a:gd name="T92" fmla="*/ 71 w 177"/>
                  <a:gd name="T93" fmla="*/ 244 h 244"/>
                  <a:gd name="T94" fmla="*/ 44 w 177"/>
                  <a:gd name="T95" fmla="*/ 239 h 244"/>
                  <a:gd name="T96" fmla="*/ 20 w 177"/>
                  <a:gd name="T97" fmla="*/ 225 h 244"/>
                  <a:gd name="T98" fmla="*/ 7 w 177"/>
                  <a:gd name="T99" fmla="*/ 207 h 244"/>
                  <a:gd name="T100" fmla="*/ 1 w 177"/>
                  <a:gd name="T101" fmla="*/ 188 h 244"/>
                  <a:gd name="T102" fmla="*/ 0 w 177"/>
                  <a:gd name="T103" fmla="*/ 168 h 244"/>
                  <a:gd name="T104" fmla="*/ 4 w 177"/>
                  <a:gd name="T105" fmla="*/ 149 h 244"/>
                  <a:gd name="T106" fmla="*/ 9 w 177"/>
                  <a:gd name="T107" fmla="*/ 13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 h="244">
                    <a:moveTo>
                      <a:pt x="109" y="172"/>
                    </a:moveTo>
                    <a:lnTo>
                      <a:pt x="109" y="172"/>
                    </a:lnTo>
                    <a:lnTo>
                      <a:pt x="137" y="99"/>
                    </a:lnTo>
                    <a:cubicBezTo>
                      <a:pt x="138" y="96"/>
                      <a:pt x="139" y="93"/>
                      <a:pt x="140" y="89"/>
                    </a:cubicBezTo>
                    <a:cubicBezTo>
                      <a:pt x="141" y="86"/>
                      <a:pt x="142" y="82"/>
                      <a:pt x="143" y="78"/>
                    </a:cubicBezTo>
                    <a:cubicBezTo>
                      <a:pt x="144" y="74"/>
                      <a:pt x="144" y="70"/>
                      <a:pt x="144" y="65"/>
                    </a:cubicBezTo>
                    <a:cubicBezTo>
                      <a:pt x="144" y="61"/>
                      <a:pt x="143" y="57"/>
                      <a:pt x="142" y="53"/>
                    </a:cubicBezTo>
                    <a:cubicBezTo>
                      <a:pt x="140" y="50"/>
                      <a:pt x="138" y="46"/>
                      <a:pt x="135" y="43"/>
                    </a:cubicBezTo>
                    <a:cubicBezTo>
                      <a:pt x="132" y="40"/>
                      <a:pt x="127" y="37"/>
                      <a:pt x="122" y="35"/>
                    </a:cubicBezTo>
                    <a:cubicBezTo>
                      <a:pt x="113" y="32"/>
                      <a:pt x="106" y="31"/>
                      <a:pt x="100" y="33"/>
                    </a:cubicBezTo>
                    <a:cubicBezTo>
                      <a:pt x="94" y="35"/>
                      <a:pt x="89" y="38"/>
                      <a:pt x="85" y="43"/>
                    </a:cubicBezTo>
                    <a:cubicBezTo>
                      <a:pt x="80" y="47"/>
                      <a:pt x="77" y="52"/>
                      <a:pt x="74" y="58"/>
                    </a:cubicBezTo>
                    <a:cubicBezTo>
                      <a:pt x="72" y="63"/>
                      <a:pt x="69" y="68"/>
                      <a:pt x="68" y="72"/>
                    </a:cubicBezTo>
                    <a:lnTo>
                      <a:pt x="40" y="146"/>
                    </a:lnTo>
                    <a:cubicBezTo>
                      <a:pt x="39" y="148"/>
                      <a:pt x="38" y="152"/>
                      <a:pt x="36" y="155"/>
                    </a:cubicBezTo>
                    <a:cubicBezTo>
                      <a:pt x="35" y="159"/>
                      <a:pt x="34" y="163"/>
                      <a:pt x="34" y="167"/>
                    </a:cubicBezTo>
                    <a:cubicBezTo>
                      <a:pt x="33" y="171"/>
                      <a:pt x="32" y="175"/>
                      <a:pt x="32" y="179"/>
                    </a:cubicBezTo>
                    <a:cubicBezTo>
                      <a:pt x="33" y="183"/>
                      <a:pt x="33" y="187"/>
                      <a:pt x="35" y="191"/>
                    </a:cubicBezTo>
                    <a:cubicBezTo>
                      <a:pt x="36" y="195"/>
                      <a:pt x="39" y="198"/>
                      <a:pt x="42" y="201"/>
                    </a:cubicBezTo>
                    <a:cubicBezTo>
                      <a:pt x="45" y="205"/>
                      <a:pt x="49" y="207"/>
                      <a:pt x="55" y="209"/>
                    </a:cubicBezTo>
                    <a:cubicBezTo>
                      <a:pt x="60" y="211"/>
                      <a:pt x="65" y="212"/>
                      <a:pt x="70" y="212"/>
                    </a:cubicBezTo>
                    <a:cubicBezTo>
                      <a:pt x="74" y="212"/>
                      <a:pt x="79" y="211"/>
                      <a:pt x="82" y="209"/>
                    </a:cubicBezTo>
                    <a:cubicBezTo>
                      <a:pt x="86" y="207"/>
                      <a:pt x="89" y="205"/>
                      <a:pt x="92" y="202"/>
                    </a:cubicBezTo>
                    <a:cubicBezTo>
                      <a:pt x="95" y="199"/>
                      <a:pt x="97" y="195"/>
                      <a:pt x="99" y="192"/>
                    </a:cubicBezTo>
                    <a:cubicBezTo>
                      <a:pt x="101" y="188"/>
                      <a:pt x="103" y="185"/>
                      <a:pt x="105" y="181"/>
                    </a:cubicBezTo>
                    <a:cubicBezTo>
                      <a:pt x="106" y="178"/>
                      <a:pt x="108" y="175"/>
                      <a:pt x="109" y="172"/>
                    </a:cubicBezTo>
                    <a:close/>
                    <a:moveTo>
                      <a:pt x="9" y="134"/>
                    </a:moveTo>
                    <a:lnTo>
                      <a:pt x="9" y="134"/>
                    </a:lnTo>
                    <a:lnTo>
                      <a:pt x="37" y="61"/>
                    </a:lnTo>
                    <a:cubicBezTo>
                      <a:pt x="38" y="56"/>
                      <a:pt x="41" y="51"/>
                      <a:pt x="43" y="46"/>
                    </a:cubicBezTo>
                    <a:cubicBezTo>
                      <a:pt x="46" y="40"/>
                      <a:pt x="49" y="35"/>
                      <a:pt x="53" y="30"/>
                    </a:cubicBezTo>
                    <a:cubicBezTo>
                      <a:pt x="57" y="24"/>
                      <a:pt x="62" y="19"/>
                      <a:pt x="67" y="15"/>
                    </a:cubicBezTo>
                    <a:cubicBezTo>
                      <a:pt x="72" y="10"/>
                      <a:pt x="78" y="7"/>
                      <a:pt x="84" y="4"/>
                    </a:cubicBezTo>
                    <a:cubicBezTo>
                      <a:pt x="91" y="2"/>
                      <a:pt x="98" y="0"/>
                      <a:pt x="106" y="0"/>
                    </a:cubicBezTo>
                    <a:cubicBezTo>
                      <a:pt x="114" y="0"/>
                      <a:pt x="123" y="2"/>
                      <a:pt x="133" y="6"/>
                    </a:cubicBezTo>
                    <a:cubicBezTo>
                      <a:pt x="143" y="10"/>
                      <a:pt x="151" y="14"/>
                      <a:pt x="157" y="19"/>
                    </a:cubicBezTo>
                    <a:cubicBezTo>
                      <a:pt x="162" y="25"/>
                      <a:pt x="167" y="31"/>
                      <a:pt x="170" y="37"/>
                    </a:cubicBezTo>
                    <a:cubicBezTo>
                      <a:pt x="173" y="43"/>
                      <a:pt x="175" y="50"/>
                      <a:pt x="176" y="57"/>
                    </a:cubicBezTo>
                    <a:cubicBezTo>
                      <a:pt x="177" y="64"/>
                      <a:pt x="177" y="70"/>
                      <a:pt x="176" y="77"/>
                    </a:cubicBezTo>
                    <a:cubicBezTo>
                      <a:pt x="175" y="83"/>
                      <a:pt x="174" y="89"/>
                      <a:pt x="173" y="95"/>
                    </a:cubicBezTo>
                    <a:cubicBezTo>
                      <a:pt x="171" y="101"/>
                      <a:pt x="169" y="106"/>
                      <a:pt x="168" y="111"/>
                    </a:cubicBezTo>
                    <a:lnTo>
                      <a:pt x="140" y="184"/>
                    </a:lnTo>
                    <a:cubicBezTo>
                      <a:pt x="138" y="188"/>
                      <a:pt x="136" y="193"/>
                      <a:pt x="133" y="198"/>
                    </a:cubicBezTo>
                    <a:cubicBezTo>
                      <a:pt x="131" y="204"/>
                      <a:pt x="127" y="209"/>
                      <a:pt x="123" y="215"/>
                    </a:cubicBezTo>
                    <a:cubicBezTo>
                      <a:pt x="120" y="220"/>
                      <a:pt x="115" y="225"/>
                      <a:pt x="110" y="229"/>
                    </a:cubicBezTo>
                    <a:cubicBezTo>
                      <a:pt x="105" y="234"/>
                      <a:pt x="99" y="238"/>
                      <a:pt x="92" y="240"/>
                    </a:cubicBezTo>
                    <a:cubicBezTo>
                      <a:pt x="86" y="243"/>
                      <a:pt x="79" y="244"/>
                      <a:pt x="71" y="244"/>
                    </a:cubicBezTo>
                    <a:cubicBezTo>
                      <a:pt x="63" y="244"/>
                      <a:pt x="54" y="242"/>
                      <a:pt x="44" y="239"/>
                    </a:cubicBezTo>
                    <a:cubicBezTo>
                      <a:pt x="34" y="235"/>
                      <a:pt x="26" y="230"/>
                      <a:pt x="20" y="225"/>
                    </a:cubicBezTo>
                    <a:cubicBezTo>
                      <a:pt x="14" y="220"/>
                      <a:pt x="10" y="214"/>
                      <a:pt x="7" y="207"/>
                    </a:cubicBezTo>
                    <a:cubicBezTo>
                      <a:pt x="3" y="201"/>
                      <a:pt x="1" y="195"/>
                      <a:pt x="1" y="188"/>
                    </a:cubicBezTo>
                    <a:cubicBezTo>
                      <a:pt x="0" y="181"/>
                      <a:pt x="0" y="174"/>
                      <a:pt x="0" y="168"/>
                    </a:cubicBezTo>
                    <a:cubicBezTo>
                      <a:pt x="1" y="161"/>
                      <a:pt x="2" y="155"/>
                      <a:pt x="4" y="149"/>
                    </a:cubicBezTo>
                    <a:cubicBezTo>
                      <a:pt x="5" y="143"/>
                      <a:pt x="7" y="138"/>
                      <a:pt x="9" y="134"/>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42" name="Freeform 175">
                <a:extLst>
                  <a:ext uri="{FF2B5EF4-FFF2-40B4-BE49-F238E27FC236}">
                    <a16:creationId xmlns:a16="http://schemas.microsoft.com/office/drawing/2014/main" id="{2ADB5834-035F-4CA4-BD87-199438B5DB71}"/>
                  </a:ext>
                </a:extLst>
              </p:cNvPr>
              <p:cNvSpPr>
                <a:spLocks/>
              </p:cNvSpPr>
              <p:nvPr/>
            </p:nvSpPr>
            <p:spPr bwMode="auto">
              <a:xfrm>
                <a:off x="6610" y="984"/>
                <a:ext cx="25" cy="65"/>
              </a:xfrm>
              <a:custGeom>
                <a:avLst/>
                <a:gdLst>
                  <a:gd name="T0" fmla="*/ 32 w 94"/>
                  <a:gd name="T1" fmla="*/ 246 h 246"/>
                  <a:gd name="T2" fmla="*/ 32 w 94"/>
                  <a:gd name="T3" fmla="*/ 246 h 246"/>
                  <a:gd name="T4" fmla="*/ 0 w 94"/>
                  <a:gd name="T5" fmla="*/ 237 h 246"/>
                  <a:gd name="T6" fmla="*/ 53 w 94"/>
                  <a:gd name="T7" fmla="*/ 34 h 246"/>
                  <a:gd name="T8" fmla="*/ 12 w 94"/>
                  <a:gd name="T9" fmla="*/ 47 h 246"/>
                  <a:gd name="T10" fmla="*/ 20 w 94"/>
                  <a:gd name="T11" fmla="*/ 15 h 246"/>
                  <a:gd name="T12" fmla="*/ 62 w 94"/>
                  <a:gd name="T13" fmla="*/ 0 h 246"/>
                  <a:gd name="T14" fmla="*/ 94 w 94"/>
                  <a:gd name="T15" fmla="*/ 8 h 246"/>
                  <a:gd name="T16" fmla="*/ 32 w 94"/>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46">
                    <a:moveTo>
                      <a:pt x="32" y="246"/>
                    </a:moveTo>
                    <a:lnTo>
                      <a:pt x="32" y="246"/>
                    </a:lnTo>
                    <a:lnTo>
                      <a:pt x="0" y="237"/>
                    </a:lnTo>
                    <a:lnTo>
                      <a:pt x="53" y="34"/>
                    </a:lnTo>
                    <a:lnTo>
                      <a:pt x="12" y="47"/>
                    </a:lnTo>
                    <a:lnTo>
                      <a:pt x="20" y="15"/>
                    </a:lnTo>
                    <a:lnTo>
                      <a:pt x="62" y="0"/>
                    </a:lnTo>
                    <a:lnTo>
                      <a:pt x="94" y="8"/>
                    </a:lnTo>
                    <a:lnTo>
                      <a:pt x="32" y="246"/>
                    </a:ln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43" name="Freeform 176">
                <a:extLst>
                  <a:ext uri="{FF2B5EF4-FFF2-40B4-BE49-F238E27FC236}">
                    <a16:creationId xmlns:a16="http://schemas.microsoft.com/office/drawing/2014/main" id="{B59F4C56-061D-4BC0-A758-8B968CF0AAFF}"/>
                  </a:ext>
                </a:extLst>
              </p:cNvPr>
              <p:cNvSpPr>
                <a:spLocks/>
              </p:cNvSpPr>
              <p:nvPr/>
            </p:nvSpPr>
            <p:spPr bwMode="auto">
              <a:xfrm>
                <a:off x="6350" y="1032"/>
                <a:ext cx="51" cy="55"/>
              </a:xfrm>
              <a:custGeom>
                <a:avLst/>
                <a:gdLst>
                  <a:gd name="T0" fmla="*/ 196 w 196"/>
                  <a:gd name="T1" fmla="*/ 187 h 208"/>
                  <a:gd name="T2" fmla="*/ 196 w 196"/>
                  <a:gd name="T3" fmla="*/ 187 h 208"/>
                  <a:gd name="T4" fmla="*/ 171 w 196"/>
                  <a:gd name="T5" fmla="*/ 208 h 208"/>
                  <a:gd name="T6" fmla="*/ 34 w 196"/>
                  <a:gd name="T7" fmla="*/ 48 h 208"/>
                  <a:gd name="T8" fmla="*/ 21 w 196"/>
                  <a:gd name="T9" fmla="*/ 90 h 208"/>
                  <a:gd name="T10" fmla="*/ 0 w 196"/>
                  <a:gd name="T11" fmla="*/ 65 h 208"/>
                  <a:gd name="T12" fmla="*/ 11 w 196"/>
                  <a:gd name="T13" fmla="*/ 22 h 208"/>
                  <a:gd name="T14" fmla="*/ 36 w 196"/>
                  <a:gd name="T15" fmla="*/ 0 h 208"/>
                  <a:gd name="T16" fmla="*/ 196 w 196"/>
                  <a:gd name="T17" fmla="*/ 18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208">
                    <a:moveTo>
                      <a:pt x="196" y="187"/>
                    </a:moveTo>
                    <a:lnTo>
                      <a:pt x="196" y="187"/>
                    </a:lnTo>
                    <a:lnTo>
                      <a:pt x="171" y="208"/>
                    </a:lnTo>
                    <a:lnTo>
                      <a:pt x="34" y="48"/>
                    </a:lnTo>
                    <a:lnTo>
                      <a:pt x="21" y="90"/>
                    </a:lnTo>
                    <a:lnTo>
                      <a:pt x="0" y="65"/>
                    </a:lnTo>
                    <a:lnTo>
                      <a:pt x="11" y="22"/>
                    </a:lnTo>
                    <a:lnTo>
                      <a:pt x="36" y="0"/>
                    </a:lnTo>
                    <a:lnTo>
                      <a:pt x="196" y="187"/>
                    </a:ln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44" name="Freeform 177">
                <a:extLst>
                  <a:ext uri="{FF2B5EF4-FFF2-40B4-BE49-F238E27FC236}">
                    <a16:creationId xmlns:a16="http://schemas.microsoft.com/office/drawing/2014/main" id="{61B4BE2C-3D9A-4CF1-A772-EE97B25DE7E5}"/>
                  </a:ext>
                </a:extLst>
              </p:cNvPr>
              <p:cNvSpPr>
                <a:spLocks/>
              </p:cNvSpPr>
              <p:nvPr/>
            </p:nvSpPr>
            <p:spPr bwMode="auto">
              <a:xfrm>
                <a:off x="6493" y="929"/>
                <a:ext cx="35" cy="65"/>
              </a:xfrm>
              <a:custGeom>
                <a:avLst/>
                <a:gdLst>
                  <a:gd name="T0" fmla="*/ 132 w 132"/>
                  <a:gd name="T1" fmla="*/ 234 h 244"/>
                  <a:gd name="T2" fmla="*/ 132 w 132"/>
                  <a:gd name="T3" fmla="*/ 234 h 244"/>
                  <a:gd name="T4" fmla="*/ 100 w 132"/>
                  <a:gd name="T5" fmla="*/ 244 h 244"/>
                  <a:gd name="T6" fmla="*/ 38 w 132"/>
                  <a:gd name="T7" fmla="*/ 43 h 244"/>
                  <a:gd name="T8" fmla="*/ 10 w 132"/>
                  <a:gd name="T9" fmla="*/ 76 h 244"/>
                  <a:gd name="T10" fmla="*/ 0 w 132"/>
                  <a:gd name="T11" fmla="*/ 44 h 244"/>
                  <a:gd name="T12" fmla="*/ 28 w 132"/>
                  <a:gd name="T13" fmla="*/ 9 h 244"/>
                  <a:gd name="T14" fmla="*/ 60 w 132"/>
                  <a:gd name="T15" fmla="*/ 0 h 244"/>
                  <a:gd name="T16" fmla="*/ 132 w 132"/>
                  <a:gd name="T17" fmla="*/ 23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244">
                    <a:moveTo>
                      <a:pt x="132" y="234"/>
                    </a:moveTo>
                    <a:lnTo>
                      <a:pt x="132" y="234"/>
                    </a:lnTo>
                    <a:lnTo>
                      <a:pt x="100" y="244"/>
                    </a:lnTo>
                    <a:lnTo>
                      <a:pt x="38" y="43"/>
                    </a:lnTo>
                    <a:lnTo>
                      <a:pt x="10" y="76"/>
                    </a:lnTo>
                    <a:lnTo>
                      <a:pt x="0" y="44"/>
                    </a:lnTo>
                    <a:lnTo>
                      <a:pt x="28" y="9"/>
                    </a:lnTo>
                    <a:lnTo>
                      <a:pt x="60" y="0"/>
                    </a:lnTo>
                    <a:lnTo>
                      <a:pt x="132" y="234"/>
                    </a:ln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45" name="Freeform 178">
                <a:extLst>
                  <a:ext uri="{FF2B5EF4-FFF2-40B4-BE49-F238E27FC236}">
                    <a16:creationId xmlns:a16="http://schemas.microsoft.com/office/drawing/2014/main" id="{C30CB02B-0453-4D55-97A0-B14E6D119AA3}"/>
                  </a:ext>
                </a:extLst>
              </p:cNvPr>
              <p:cNvSpPr>
                <a:spLocks/>
              </p:cNvSpPr>
              <p:nvPr/>
            </p:nvSpPr>
            <p:spPr bwMode="auto">
              <a:xfrm>
                <a:off x="6724" y="1037"/>
                <a:ext cx="30" cy="65"/>
              </a:xfrm>
              <a:custGeom>
                <a:avLst/>
                <a:gdLst>
                  <a:gd name="T0" fmla="*/ 113 w 113"/>
                  <a:gd name="T1" fmla="*/ 241 h 247"/>
                  <a:gd name="T2" fmla="*/ 113 w 113"/>
                  <a:gd name="T3" fmla="*/ 241 h 247"/>
                  <a:gd name="T4" fmla="*/ 81 w 113"/>
                  <a:gd name="T5" fmla="*/ 247 h 247"/>
                  <a:gd name="T6" fmla="*/ 38 w 113"/>
                  <a:gd name="T7" fmla="*/ 41 h 247"/>
                  <a:gd name="T8" fmla="*/ 7 w 113"/>
                  <a:gd name="T9" fmla="*/ 72 h 247"/>
                  <a:gd name="T10" fmla="*/ 0 w 113"/>
                  <a:gd name="T11" fmla="*/ 40 h 247"/>
                  <a:gd name="T12" fmla="*/ 31 w 113"/>
                  <a:gd name="T13" fmla="*/ 7 h 247"/>
                  <a:gd name="T14" fmla="*/ 63 w 113"/>
                  <a:gd name="T15" fmla="*/ 0 h 247"/>
                  <a:gd name="T16" fmla="*/ 113 w 113"/>
                  <a:gd name="T17" fmla="*/ 2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247">
                    <a:moveTo>
                      <a:pt x="113" y="241"/>
                    </a:moveTo>
                    <a:lnTo>
                      <a:pt x="113" y="241"/>
                    </a:lnTo>
                    <a:lnTo>
                      <a:pt x="81" y="247"/>
                    </a:lnTo>
                    <a:lnTo>
                      <a:pt x="38" y="41"/>
                    </a:lnTo>
                    <a:lnTo>
                      <a:pt x="7" y="72"/>
                    </a:lnTo>
                    <a:lnTo>
                      <a:pt x="0" y="40"/>
                    </a:lnTo>
                    <a:lnTo>
                      <a:pt x="31" y="7"/>
                    </a:lnTo>
                    <a:lnTo>
                      <a:pt x="63" y="0"/>
                    </a:lnTo>
                    <a:lnTo>
                      <a:pt x="113" y="241"/>
                    </a:ln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46" name="Freeform 179">
                <a:extLst>
                  <a:ext uri="{FF2B5EF4-FFF2-40B4-BE49-F238E27FC236}">
                    <a16:creationId xmlns:a16="http://schemas.microsoft.com/office/drawing/2014/main" id="{BDDEB939-1090-45E4-8346-97FF7DDDFE37}"/>
                  </a:ext>
                </a:extLst>
              </p:cNvPr>
              <p:cNvSpPr>
                <a:spLocks/>
              </p:cNvSpPr>
              <p:nvPr/>
            </p:nvSpPr>
            <p:spPr bwMode="auto">
              <a:xfrm>
                <a:off x="6626" y="1187"/>
                <a:ext cx="24" cy="26"/>
              </a:xfrm>
              <a:custGeom>
                <a:avLst/>
                <a:gdLst>
                  <a:gd name="T0" fmla="*/ 5 w 91"/>
                  <a:gd name="T1" fmla="*/ 84 h 98"/>
                  <a:gd name="T2" fmla="*/ 5 w 91"/>
                  <a:gd name="T3" fmla="*/ 84 h 98"/>
                  <a:gd name="T4" fmla="*/ 35 w 91"/>
                  <a:gd name="T5" fmla="*/ 96 h 98"/>
                  <a:gd name="T6" fmla="*/ 36 w 91"/>
                  <a:gd name="T7" fmla="*/ 98 h 98"/>
                  <a:gd name="T8" fmla="*/ 91 w 91"/>
                  <a:gd name="T9" fmla="*/ 19 h 98"/>
                  <a:gd name="T10" fmla="*/ 64 w 91"/>
                  <a:gd name="T11" fmla="*/ 0 h 98"/>
                  <a:gd name="T12" fmla="*/ 19 w 91"/>
                  <a:gd name="T13" fmla="*/ 0 h 98"/>
                  <a:gd name="T14" fmla="*/ 0 w 91"/>
                  <a:gd name="T15" fmla="*/ 27 h 98"/>
                  <a:gd name="T16" fmla="*/ 44 w 91"/>
                  <a:gd name="T17" fmla="*/ 29 h 98"/>
                  <a:gd name="T18" fmla="*/ 5 w 91"/>
                  <a:gd name="T19" fmla="*/ 8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8">
                    <a:moveTo>
                      <a:pt x="5" y="84"/>
                    </a:moveTo>
                    <a:lnTo>
                      <a:pt x="5" y="84"/>
                    </a:lnTo>
                    <a:cubicBezTo>
                      <a:pt x="15" y="87"/>
                      <a:pt x="26" y="90"/>
                      <a:pt x="35" y="96"/>
                    </a:cubicBezTo>
                    <a:cubicBezTo>
                      <a:pt x="35" y="97"/>
                      <a:pt x="36" y="97"/>
                      <a:pt x="36" y="98"/>
                    </a:cubicBezTo>
                    <a:lnTo>
                      <a:pt x="91" y="19"/>
                    </a:lnTo>
                    <a:lnTo>
                      <a:pt x="64" y="0"/>
                    </a:lnTo>
                    <a:lnTo>
                      <a:pt x="19" y="0"/>
                    </a:lnTo>
                    <a:lnTo>
                      <a:pt x="0" y="27"/>
                    </a:lnTo>
                    <a:lnTo>
                      <a:pt x="44" y="29"/>
                    </a:lnTo>
                    <a:lnTo>
                      <a:pt x="5" y="84"/>
                    </a:ln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47" name="Freeform 180">
                <a:extLst>
                  <a:ext uri="{FF2B5EF4-FFF2-40B4-BE49-F238E27FC236}">
                    <a16:creationId xmlns:a16="http://schemas.microsoft.com/office/drawing/2014/main" id="{7054698B-77A1-4C76-8C6E-F20559C1E0A9}"/>
                  </a:ext>
                </a:extLst>
              </p:cNvPr>
              <p:cNvSpPr>
                <a:spLocks/>
              </p:cNvSpPr>
              <p:nvPr/>
            </p:nvSpPr>
            <p:spPr bwMode="auto">
              <a:xfrm>
                <a:off x="6420" y="1165"/>
                <a:ext cx="21" cy="45"/>
              </a:xfrm>
              <a:custGeom>
                <a:avLst/>
                <a:gdLst>
                  <a:gd name="T0" fmla="*/ 49 w 82"/>
                  <a:gd name="T1" fmla="*/ 169 h 170"/>
                  <a:gd name="T2" fmla="*/ 49 w 82"/>
                  <a:gd name="T3" fmla="*/ 169 h 170"/>
                  <a:gd name="T4" fmla="*/ 72 w 82"/>
                  <a:gd name="T5" fmla="*/ 169 h 170"/>
                  <a:gd name="T6" fmla="*/ 82 w 82"/>
                  <a:gd name="T7" fmla="*/ 170 h 170"/>
                  <a:gd name="T8" fmla="*/ 68 w 82"/>
                  <a:gd name="T9" fmla="*/ 0 h 170"/>
                  <a:gd name="T10" fmla="*/ 35 w 82"/>
                  <a:gd name="T11" fmla="*/ 2 h 170"/>
                  <a:gd name="T12" fmla="*/ 0 w 82"/>
                  <a:gd name="T13" fmla="*/ 31 h 170"/>
                  <a:gd name="T14" fmla="*/ 3 w 82"/>
                  <a:gd name="T15" fmla="*/ 64 h 170"/>
                  <a:gd name="T16" fmla="*/ 38 w 82"/>
                  <a:gd name="T17" fmla="*/ 37 h 170"/>
                  <a:gd name="T18" fmla="*/ 49 w 82"/>
                  <a:gd name="T19" fmla="*/ 16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170">
                    <a:moveTo>
                      <a:pt x="49" y="169"/>
                    </a:moveTo>
                    <a:lnTo>
                      <a:pt x="49" y="169"/>
                    </a:lnTo>
                    <a:cubicBezTo>
                      <a:pt x="56" y="168"/>
                      <a:pt x="63" y="167"/>
                      <a:pt x="72" y="169"/>
                    </a:cubicBezTo>
                    <a:cubicBezTo>
                      <a:pt x="75" y="169"/>
                      <a:pt x="79" y="170"/>
                      <a:pt x="82" y="170"/>
                    </a:cubicBezTo>
                    <a:lnTo>
                      <a:pt x="68" y="0"/>
                    </a:lnTo>
                    <a:lnTo>
                      <a:pt x="35" y="2"/>
                    </a:lnTo>
                    <a:lnTo>
                      <a:pt x="0" y="31"/>
                    </a:lnTo>
                    <a:lnTo>
                      <a:pt x="3" y="64"/>
                    </a:lnTo>
                    <a:lnTo>
                      <a:pt x="38" y="37"/>
                    </a:lnTo>
                    <a:lnTo>
                      <a:pt x="49" y="169"/>
                    </a:ln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48" name="Freeform 181">
                <a:extLst>
                  <a:ext uri="{FF2B5EF4-FFF2-40B4-BE49-F238E27FC236}">
                    <a16:creationId xmlns:a16="http://schemas.microsoft.com/office/drawing/2014/main" id="{C231ACDB-2333-489E-859F-0D9C071C5248}"/>
                  </a:ext>
                </a:extLst>
              </p:cNvPr>
              <p:cNvSpPr>
                <a:spLocks/>
              </p:cNvSpPr>
              <p:nvPr/>
            </p:nvSpPr>
            <p:spPr bwMode="auto">
              <a:xfrm>
                <a:off x="6521" y="1186"/>
                <a:ext cx="40" cy="29"/>
              </a:xfrm>
              <a:custGeom>
                <a:avLst/>
                <a:gdLst>
                  <a:gd name="T0" fmla="*/ 6 w 151"/>
                  <a:gd name="T1" fmla="*/ 107 h 110"/>
                  <a:gd name="T2" fmla="*/ 6 w 151"/>
                  <a:gd name="T3" fmla="*/ 107 h 110"/>
                  <a:gd name="T4" fmla="*/ 7 w 151"/>
                  <a:gd name="T5" fmla="*/ 110 h 110"/>
                  <a:gd name="T6" fmla="*/ 17 w 151"/>
                  <a:gd name="T7" fmla="*/ 109 h 110"/>
                  <a:gd name="T8" fmla="*/ 41 w 151"/>
                  <a:gd name="T9" fmla="*/ 108 h 110"/>
                  <a:gd name="T10" fmla="*/ 38 w 151"/>
                  <a:gd name="T11" fmla="*/ 97 h 110"/>
                  <a:gd name="T12" fmla="*/ 34 w 151"/>
                  <a:gd name="T13" fmla="*/ 81 h 110"/>
                  <a:gd name="T14" fmla="*/ 33 w 151"/>
                  <a:gd name="T15" fmla="*/ 63 h 110"/>
                  <a:gd name="T16" fmla="*/ 39 w 151"/>
                  <a:gd name="T17" fmla="*/ 46 h 110"/>
                  <a:gd name="T18" fmla="*/ 57 w 151"/>
                  <a:gd name="T19" fmla="*/ 34 h 110"/>
                  <a:gd name="T20" fmla="*/ 73 w 151"/>
                  <a:gd name="T21" fmla="*/ 33 h 110"/>
                  <a:gd name="T22" fmla="*/ 85 w 151"/>
                  <a:gd name="T23" fmla="*/ 36 h 110"/>
                  <a:gd name="T24" fmla="*/ 94 w 151"/>
                  <a:gd name="T25" fmla="*/ 45 h 110"/>
                  <a:gd name="T26" fmla="*/ 101 w 151"/>
                  <a:gd name="T27" fmla="*/ 55 h 110"/>
                  <a:gd name="T28" fmla="*/ 105 w 151"/>
                  <a:gd name="T29" fmla="*/ 66 h 110"/>
                  <a:gd name="T30" fmla="*/ 109 w 151"/>
                  <a:gd name="T31" fmla="*/ 76 h 110"/>
                  <a:gd name="T32" fmla="*/ 117 w 151"/>
                  <a:gd name="T33" fmla="*/ 103 h 110"/>
                  <a:gd name="T34" fmla="*/ 151 w 151"/>
                  <a:gd name="T35" fmla="*/ 102 h 110"/>
                  <a:gd name="T36" fmla="*/ 140 w 151"/>
                  <a:gd name="T37" fmla="*/ 66 h 110"/>
                  <a:gd name="T38" fmla="*/ 135 w 151"/>
                  <a:gd name="T39" fmla="*/ 51 h 110"/>
                  <a:gd name="T40" fmla="*/ 126 w 151"/>
                  <a:gd name="T41" fmla="*/ 34 h 110"/>
                  <a:gd name="T42" fmla="*/ 114 w 151"/>
                  <a:gd name="T43" fmla="*/ 18 h 110"/>
                  <a:gd name="T44" fmla="*/ 97 w 151"/>
                  <a:gd name="T45" fmla="*/ 6 h 110"/>
                  <a:gd name="T46" fmla="*/ 75 w 151"/>
                  <a:gd name="T47" fmla="*/ 1 h 110"/>
                  <a:gd name="T48" fmla="*/ 49 w 151"/>
                  <a:gd name="T49" fmla="*/ 4 h 110"/>
                  <a:gd name="T50" fmla="*/ 24 w 151"/>
                  <a:gd name="T51" fmla="*/ 16 h 110"/>
                  <a:gd name="T52" fmla="*/ 9 w 151"/>
                  <a:gd name="T53" fmla="*/ 33 h 110"/>
                  <a:gd name="T54" fmla="*/ 2 w 151"/>
                  <a:gd name="T55" fmla="*/ 52 h 110"/>
                  <a:gd name="T56" fmla="*/ 0 w 151"/>
                  <a:gd name="T57" fmla="*/ 72 h 110"/>
                  <a:gd name="T58" fmla="*/ 2 w 151"/>
                  <a:gd name="T59" fmla="*/ 91 h 110"/>
                  <a:gd name="T60" fmla="*/ 6 w 151"/>
                  <a:gd name="T61" fmla="*/ 10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1" h="110">
                    <a:moveTo>
                      <a:pt x="6" y="107"/>
                    </a:moveTo>
                    <a:lnTo>
                      <a:pt x="6" y="107"/>
                    </a:lnTo>
                    <a:lnTo>
                      <a:pt x="7" y="110"/>
                    </a:lnTo>
                    <a:cubicBezTo>
                      <a:pt x="10" y="109"/>
                      <a:pt x="14" y="109"/>
                      <a:pt x="17" y="109"/>
                    </a:cubicBezTo>
                    <a:cubicBezTo>
                      <a:pt x="25" y="109"/>
                      <a:pt x="33" y="109"/>
                      <a:pt x="41" y="108"/>
                    </a:cubicBezTo>
                    <a:lnTo>
                      <a:pt x="38" y="97"/>
                    </a:lnTo>
                    <a:cubicBezTo>
                      <a:pt x="37" y="93"/>
                      <a:pt x="35" y="87"/>
                      <a:pt x="34" y="81"/>
                    </a:cubicBezTo>
                    <a:cubicBezTo>
                      <a:pt x="33" y="75"/>
                      <a:pt x="32" y="69"/>
                      <a:pt x="33" y="63"/>
                    </a:cubicBezTo>
                    <a:cubicBezTo>
                      <a:pt x="34" y="57"/>
                      <a:pt x="36" y="51"/>
                      <a:pt x="39" y="46"/>
                    </a:cubicBezTo>
                    <a:cubicBezTo>
                      <a:pt x="43" y="41"/>
                      <a:pt x="49" y="37"/>
                      <a:pt x="57" y="34"/>
                    </a:cubicBezTo>
                    <a:cubicBezTo>
                      <a:pt x="63" y="33"/>
                      <a:pt x="68" y="32"/>
                      <a:pt x="73" y="33"/>
                    </a:cubicBezTo>
                    <a:cubicBezTo>
                      <a:pt x="77" y="33"/>
                      <a:pt x="81" y="34"/>
                      <a:pt x="85" y="36"/>
                    </a:cubicBezTo>
                    <a:cubicBezTo>
                      <a:pt x="88" y="39"/>
                      <a:pt x="91" y="41"/>
                      <a:pt x="94" y="45"/>
                    </a:cubicBezTo>
                    <a:cubicBezTo>
                      <a:pt x="96" y="48"/>
                      <a:pt x="99" y="51"/>
                      <a:pt x="101" y="55"/>
                    </a:cubicBezTo>
                    <a:cubicBezTo>
                      <a:pt x="102" y="59"/>
                      <a:pt x="104" y="62"/>
                      <a:pt x="105" y="66"/>
                    </a:cubicBezTo>
                    <a:cubicBezTo>
                      <a:pt x="107" y="69"/>
                      <a:pt x="108" y="73"/>
                      <a:pt x="109" y="76"/>
                    </a:cubicBezTo>
                    <a:lnTo>
                      <a:pt x="117" y="103"/>
                    </a:lnTo>
                    <a:cubicBezTo>
                      <a:pt x="129" y="103"/>
                      <a:pt x="140" y="102"/>
                      <a:pt x="151" y="102"/>
                    </a:cubicBezTo>
                    <a:lnTo>
                      <a:pt x="140" y="66"/>
                    </a:lnTo>
                    <a:cubicBezTo>
                      <a:pt x="139" y="61"/>
                      <a:pt x="137" y="56"/>
                      <a:pt x="135" y="51"/>
                    </a:cubicBezTo>
                    <a:cubicBezTo>
                      <a:pt x="132" y="45"/>
                      <a:pt x="130" y="39"/>
                      <a:pt x="126" y="34"/>
                    </a:cubicBezTo>
                    <a:cubicBezTo>
                      <a:pt x="123" y="28"/>
                      <a:pt x="119" y="23"/>
                      <a:pt x="114" y="18"/>
                    </a:cubicBezTo>
                    <a:cubicBezTo>
                      <a:pt x="109" y="13"/>
                      <a:pt x="103" y="9"/>
                      <a:pt x="97" y="6"/>
                    </a:cubicBezTo>
                    <a:cubicBezTo>
                      <a:pt x="91" y="3"/>
                      <a:pt x="83" y="1"/>
                      <a:pt x="75" y="1"/>
                    </a:cubicBezTo>
                    <a:cubicBezTo>
                      <a:pt x="67" y="0"/>
                      <a:pt x="59" y="1"/>
                      <a:pt x="49" y="4"/>
                    </a:cubicBezTo>
                    <a:cubicBezTo>
                      <a:pt x="39" y="7"/>
                      <a:pt x="30" y="11"/>
                      <a:pt x="24" y="16"/>
                    </a:cubicBezTo>
                    <a:cubicBezTo>
                      <a:pt x="18" y="21"/>
                      <a:pt x="13" y="27"/>
                      <a:pt x="9" y="33"/>
                    </a:cubicBezTo>
                    <a:cubicBezTo>
                      <a:pt x="5" y="39"/>
                      <a:pt x="3" y="45"/>
                      <a:pt x="2" y="52"/>
                    </a:cubicBezTo>
                    <a:cubicBezTo>
                      <a:pt x="1" y="59"/>
                      <a:pt x="0" y="66"/>
                      <a:pt x="0" y="72"/>
                    </a:cubicBezTo>
                    <a:cubicBezTo>
                      <a:pt x="0" y="79"/>
                      <a:pt x="1" y="85"/>
                      <a:pt x="2" y="91"/>
                    </a:cubicBezTo>
                    <a:cubicBezTo>
                      <a:pt x="4" y="97"/>
                      <a:pt x="5" y="102"/>
                      <a:pt x="6" y="10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49" name="Freeform 182">
                <a:extLst>
                  <a:ext uri="{FF2B5EF4-FFF2-40B4-BE49-F238E27FC236}">
                    <a16:creationId xmlns:a16="http://schemas.microsoft.com/office/drawing/2014/main" id="{23B6275B-7296-40A6-9E2E-657A2A5EF9C3}"/>
                  </a:ext>
                </a:extLst>
              </p:cNvPr>
              <p:cNvSpPr>
                <a:spLocks noEditPoints="1"/>
              </p:cNvSpPr>
              <p:nvPr/>
            </p:nvSpPr>
            <p:spPr bwMode="auto">
              <a:xfrm>
                <a:off x="6544" y="1069"/>
                <a:ext cx="37" cy="66"/>
              </a:xfrm>
              <a:custGeom>
                <a:avLst/>
                <a:gdLst>
                  <a:gd name="T0" fmla="*/ 110 w 143"/>
                  <a:gd name="T1" fmla="*/ 162 h 250"/>
                  <a:gd name="T2" fmla="*/ 110 w 143"/>
                  <a:gd name="T3" fmla="*/ 162 h 250"/>
                  <a:gd name="T4" fmla="*/ 107 w 143"/>
                  <a:gd name="T5" fmla="*/ 84 h 250"/>
                  <a:gd name="T6" fmla="*/ 106 w 143"/>
                  <a:gd name="T7" fmla="*/ 74 h 250"/>
                  <a:gd name="T8" fmla="*/ 104 w 143"/>
                  <a:gd name="T9" fmla="*/ 62 h 250"/>
                  <a:gd name="T10" fmla="*/ 101 w 143"/>
                  <a:gd name="T11" fmla="*/ 51 h 250"/>
                  <a:gd name="T12" fmla="*/ 94 w 143"/>
                  <a:gd name="T13" fmla="*/ 40 h 250"/>
                  <a:gd name="T14" fmla="*/ 83 w 143"/>
                  <a:gd name="T15" fmla="*/ 34 h 250"/>
                  <a:gd name="T16" fmla="*/ 68 w 143"/>
                  <a:gd name="T17" fmla="*/ 31 h 250"/>
                  <a:gd name="T18" fmla="*/ 47 w 143"/>
                  <a:gd name="T19" fmla="*/ 38 h 250"/>
                  <a:gd name="T20" fmla="*/ 37 w 143"/>
                  <a:gd name="T21" fmla="*/ 53 h 250"/>
                  <a:gd name="T22" fmla="*/ 33 w 143"/>
                  <a:gd name="T23" fmla="*/ 71 h 250"/>
                  <a:gd name="T24" fmla="*/ 33 w 143"/>
                  <a:gd name="T25" fmla="*/ 87 h 250"/>
                  <a:gd name="T26" fmla="*/ 36 w 143"/>
                  <a:gd name="T27" fmla="*/ 165 h 250"/>
                  <a:gd name="T28" fmla="*/ 36 w 143"/>
                  <a:gd name="T29" fmla="*/ 175 h 250"/>
                  <a:gd name="T30" fmla="*/ 38 w 143"/>
                  <a:gd name="T31" fmla="*/ 187 h 250"/>
                  <a:gd name="T32" fmla="*/ 42 w 143"/>
                  <a:gd name="T33" fmla="*/ 199 h 250"/>
                  <a:gd name="T34" fmla="*/ 49 w 143"/>
                  <a:gd name="T35" fmla="*/ 209 h 250"/>
                  <a:gd name="T36" fmla="*/ 60 w 143"/>
                  <a:gd name="T37" fmla="*/ 216 h 250"/>
                  <a:gd name="T38" fmla="*/ 75 w 143"/>
                  <a:gd name="T39" fmla="*/ 218 h 250"/>
                  <a:gd name="T40" fmla="*/ 90 w 143"/>
                  <a:gd name="T41" fmla="*/ 215 h 250"/>
                  <a:gd name="T42" fmla="*/ 100 w 143"/>
                  <a:gd name="T43" fmla="*/ 207 h 250"/>
                  <a:gd name="T44" fmla="*/ 106 w 143"/>
                  <a:gd name="T45" fmla="*/ 197 h 250"/>
                  <a:gd name="T46" fmla="*/ 109 w 143"/>
                  <a:gd name="T47" fmla="*/ 185 h 250"/>
                  <a:gd name="T48" fmla="*/ 110 w 143"/>
                  <a:gd name="T49" fmla="*/ 173 h 250"/>
                  <a:gd name="T50" fmla="*/ 110 w 143"/>
                  <a:gd name="T51" fmla="*/ 162 h 250"/>
                  <a:gd name="T52" fmla="*/ 3 w 143"/>
                  <a:gd name="T53" fmla="*/ 166 h 250"/>
                  <a:gd name="T54" fmla="*/ 3 w 143"/>
                  <a:gd name="T55" fmla="*/ 166 h 250"/>
                  <a:gd name="T56" fmla="*/ 0 w 143"/>
                  <a:gd name="T57" fmla="*/ 88 h 250"/>
                  <a:gd name="T58" fmla="*/ 0 w 143"/>
                  <a:gd name="T59" fmla="*/ 72 h 250"/>
                  <a:gd name="T60" fmla="*/ 3 w 143"/>
                  <a:gd name="T61" fmla="*/ 53 h 250"/>
                  <a:gd name="T62" fmla="*/ 10 w 143"/>
                  <a:gd name="T63" fmla="*/ 34 h 250"/>
                  <a:gd name="T64" fmla="*/ 22 w 143"/>
                  <a:gd name="T65" fmla="*/ 18 h 250"/>
                  <a:gd name="T66" fmla="*/ 40 w 143"/>
                  <a:gd name="T67" fmla="*/ 5 h 250"/>
                  <a:gd name="T68" fmla="*/ 67 w 143"/>
                  <a:gd name="T69" fmla="*/ 0 h 250"/>
                  <a:gd name="T70" fmla="*/ 94 w 143"/>
                  <a:gd name="T71" fmla="*/ 4 h 250"/>
                  <a:gd name="T72" fmla="*/ 113 w 143"/>
                  <a:gd name="T73" fmla="*/ 14 h 250"/>
                  <a:gd name="T74" fmla="*/ 127 w 143"/>
                  <a:gd name="T75" fmla="*/ 30 h 250"/>
                  <a:gd name="T76" fmla="*/ 134 w 143"/>
                  <a:gd name="T77" fmla="*/ 49 h 250"/>
                  <a:gd name="T78" fmla="*/ 139 w 143"/>
                  <a:gd name="T79" fmla="*/ 67 h 250"/>
                  <a:gd name="T80" fmla="*/ 140 w 143"/>
                  <a:gd name="T81" fmla="*/ 83 h 250"/>
                  <a:gd name="T82" fmla="*/ 143 w 143"/>
                  <a:gd name="T83" fmla="*/ 161 h 250"/>
                  <a:gd name="T84" fmla="*/ 143 w 143"/>
                  <a:gd name="T85" fmla="*/ 177 h 250"/>
                  <a:gd name="T86" fmla="*/ 140 w 143"/>
                  <a:gd name="T87" fmla="*/ 196 h 250"/>
                  <a:gd name="T88" fmla="*/ 133 w 143"/>
                  <a:gd name="T89" fmla="*/ 215 h 250"/>
                  <a:gd name="T90" fmla="*/ 121 w 143"/>
                  <a:gd name="T91" fmla="*/ 232 h 250"/>
                  <a:gd name="T92" fmla="*/ 103 w 143"/>
                  <a:gd name="T93" fmla="*/ 244 h 250"/>
                  <a:gd name="T94" fmla="*/ 76 w 143"/>
                  <a:gd name="T95" fmla="*/ 249 h 250"/>
                  <a:gd name="T96" fmla="*/ 49 w 143"/>
                  <a:gd name="T97" fmla="*/ 246 h 250"/>
                  <a:gd name="T98" fmla="*/ 29 w 143"/>
                  <a:gd name="T99" fmla="*/ 235 h 250"/>
                  <a:gd name="T100" fmla="*/ 16 w 143"/>
                  <a:gd name="T101" fmla="*/ 219 h 250"/>
                  <a:gd name="T102" fmla="*/ 8 w 143"/>
                  <a:gd name="T103" fmla="*/ 201 h 250"/>
                  <a:gd name="T104" fmla="*/ 4 w 143"/>
                  <a:gd name="T105" fmla="*/ 182 h 250"/>
                  <a:gd name="T106" fmla="*/ 3 w 143"/>
                  <a:gd name="T107" fmla="*/ 16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 h="250">
                    <a:moveTo>
                      <a:pt x="110" y="162"/>
                    </a:moveTo>
                    <a:lnTo>
                      <a:pt x="110" y="162"/>
                    </a:lnTo>
                    <a:lnTo>
                      <a:pt x="107" y="84"/>
                    </a:lnTo>
                    <a:cubicBezTo>
                      <a:pt x="107" y="81"/>
                      <a:pt x="106" y="78"/>
                      <a:pt x="106" y="74"/>
                    </a:cubicBezTo>
                    <a:cubicBezTo>
                      <a:pt x="106" y="70"/>
                      <a:pt x="105" y="66"/>
                      <a:pt x="104" y="62"/>
                    </a:cubicBezTo>
                    <a:cubicBezTo>
                      <a:pt x="103" y="58"/>
                      <a:pt x="102" y="54"/>
                      <a:pt x="101" y="51"/>
                    </a:cubicBezTo>
                    <a:cubicBezTo>
                      <a:pt x="99" y="47"/>
                      <a:pt x="97" y="43"/>
                      <a:pt x="94" y="40"/>
                    </a:cubicBezTo>
                    <a:cubicBezTo>
                      <a:pt x="91" y="38"/>
                      <a:pt x="87" y="35"/>
                      <a:pt x="83" y="34"/>
                    </a:cubicBezTo>
                    <a:cubicBezTo>
                      <a:pt x="79" y="32"/>
                      <a:pt x="74" y="31"/>
                      <a:pt x="68" y="31"/>
                    </a:cubicBezTo>
                    <a:cubicBezTo>
                      <a:pt x="59" y="32"/>
                      <a:pt x="52" y="34"/>
                      <a:pt x="47" y="38"/>
                    </a:cubicBezTo>
                    <a:cubicBezTo>
                      <a:pt x="43" y="42"/>
                      <a:pt x="39" y="47"/>
                      <a:pt x="37" y="53"/>
                    </a:cubicBezTo>
                    <a:cubicBezTo>
                      <a:pt x="35" y="59"/>
                      <a:pt x="33" y="65"/>
                      <a:pt x="33" y="71"/>
                    </a:cubicBezTo>
                    <a:cubicBezTo>
                      <a:pt x="33" y="77"/>
                      <a:pt x="33" y="82"/>
                      <a:pt x="33" y="87"/>
                    </a:cubicBezTo>
                    <a:lnTo>
                      <a:pt x="36" y="165"/>
                    </a:lnTo>
                    <a:cubicBezTo>
                      <a:pt x="36" y="168"/>
                      <a:pt x="36" y="172"/>
                      <a:pt x="36" y="175"/>
                    </a:cubicBezTo>
                    <a:cubicBezTo>
                      <a:pt x="37" y="179"/>
                      <a:pt x="37" y="183"/>
                      <a:pt x="38" y="187"/>
                    </a:cubicBezTo>
                    <a:cubicBezTo>
                      <a:pt x="39" y="191"/>
                      <a:pt x="41" y="195"/>
                      <a:pt x="42" y="199"/>
                    </a:cubicBezTo>
                    <a:cubicBezTo>
                      <a:pt x="44" y="203"/>
                      <a:pt x="46" y="206"/>
                      <a:pt x="49" y="209"/>
                    </a:cubicBezTo>
                    <a:cubicBezTo>
                      <a:pt x="52" y="212"/>
                      <a:pt x="55" y="214"/>
                      <a:pt x="60" y="216"/>
                    </a:cubicBezTo>
                    <a:cubicBezTo>
                      <a:pt x="64" y="218"/>
                      <a:pt x="69" y="218"/>
                      <a:pt x="75" y="218"/>
                    </a:cubicBezTo>
                    <a:cubicBezTo>
                      <a:pt x="81" y="218"/>
                      <a:pt x="86" y="217"/>
                      <a:pt x="90" y="215"/>
                    </a:cubicBezTo>
                    <a:cubicBezTo>
                      <a:pt x="94" y="213"/>
                      <a:pt x="97" y="210"/>
                      <a:pt x="100" y="207"/>
                    </a:cubicBezTo>
                    <a:cubicBezTo>
                      <a:pt x="102" y="204"/>
                      <a:pt x="104" y="200"/>
                      <a:pt x="106" y="197"/>
                    </a:cubicBezTo>
                    <a:cubicBezTo>
                      <a:pt x="107" y="193"/>
                      <a:pt x="108" y="189"/>
                      <a:pt x="109" y="185"/>
                    </a:cubicBezTo>
                    <a:cubicBezTo>
                      <a:pt x="109" y="181"/>
                      <a:pt x="110" y="177"/>
                      <a:pt x="110" y="173"/>
                    </a:cubicBezTo>
                    <a:cubicBezTo>
                      <a:pt x="110" y="169"/>
                      <a:pt x="110" y="165"/>
                      <a:pt x="110" y="162"/>
                    </a:cubicBezTo>
                    <a:close/>
                    <a:moveTo>
                      <a:pt x="3" y="166"/>
                    </a:moveTo>
                    <a:lnTo>
                      <a:pt x="3" y="166"/>
                    </a:lnTo>
                    <a:lnTo>
                      <a:pt x="0" y="88"/>
                    </a:lnTo>
                    <a:cubicBezTo>
                      <a:pt x="0" y="84"/>
                      <a:pt x="0" y="78"/>
                      <a:pt x="0" y="72"/>
                    </a:cubicBezTo>
                    <a:cubicBezTo>
                      <a:pt x="0" y="66"/>
                      <a:pt x="1" y="60"/>
                      <a:pt x="3" y="53"/>
                    </a:cubicBezTo>
                    <a:cubicBezTo>
                      <a:pt x="4" y="47"/>
                      <a:pt x="7" y="41"/>
                      <a:pt x="10" y="34"/>
                    </a:cubicBezTo>
                    <a:cubicBezTo>
                      <a:pt x="13" y="28"/>
                      <a:pt x="17" y="23"/>
                      <a:pt x="22" y="18"/>
                    </a:cubicBezTo>
                    <a:cubicBezTo>
                      <a:pt x="27" y="13"/>
                      <a:pt x="33" y="9"/>
                      <a:pt x="40" y="5"/>
                    </a:cubicBezTo>
                    <a:cubicBezTo>
                      <a:pt x="48" y="2"/>
                      <a:pt x="57" y="1"/>
                      <a:pt x="67" y="0"/>
                    </a:cubicBezTo>
                    <a:cubicBezTo>
                      <a:pt x="77" y="0"/>
                      <a:pt x="86" y="1"/>
                      <a:pt x="94" y="4"/>
                    </a:cubicBezTo>
                    <a:cubicBezTo>
                      <a:pt x="102" y="6"/>
                      <a:pt x="108" y="10"/>
                      <a:pt x="113" y="14"/>
                    </a:cubicBezTo>
                    <a:cubicBezTo>
                      <a:pt x="119" y="19"/>
                      <a:pt x="123" y="24"/>
                      <a:pt x="127" y="30"/>
                    </a:cubicBezTo>
                    <a:cubicBezTo>
                      <a:pt x="130" y="36"/>
                      <a:pt x="133" y="42"/>
                      <a:pt x="134" y="49"/>
                    </a:cubicBezTo>
                    <a:cubicBezTo>
                      <a:pt x="136" y="55"/>
                      <a:pt x="138" y="61"/>
                      <a:pt x="139" y="67"/>
                    </a:cubicBezTo>
                    <a:cubicBezTo>
                      <a:pt x="139" y="73"/>
                      <a:pt x="140" y="78"/>
                      <a:pt x="140" y="83"/>
                    </a:cubicBezTo>
                    <a:lnTo>
                      <a:pt x="143" y="161"/>
                    </a:lnTo>
                    <a:cubicBezTo>
                      <a:pt x="143" y="166"/>
                      <a:pt x="143" y="171"/>
                      <a:pt x="143" y="177"/>
                    </a:cubicBezTo>
                    <a:cubicBezTo>
                      <a:pt x="142" y="183"/>
                      <a:pt x="141" y="190"/>
                      <a:pt x="140" y="196"/>
                    </a:cubicBezTo>
                    <a:cubicBezTo>
                      <a:pt x="138" y="202"/>
                      <a:pt x="136" y="209"/>
                      <a:pt x="133" y="215"/>
                    </a:cubicBezTo>
                    <a:cubicBezTo>
                      <a:pt x="130" y="221"/>
                      <a:pt x="126" y="227"/>
                      <a:pt x="121" y="232"/>
                    </a:cubicBezTo>
                    <a:cubicBezTo>
                      <a:pt x="116" y="237"/>
                      <a:pt x="110" y="241"/>
                      <a:pt x="103" y="244"/>
                    </a:cubicBezTo>
                    <a:cubicBezTo>
                      <a:pt x="95" y="247"/>
                      <a:pt x="86" y="249"/>
                      <a:pt x="76" y="249"/>
                    </a:cubicBezTo>
                    <a:cubicBezTo>
                      <a:pt x="66" y="250"/>
                      <a:pt x="57" y="249"/>
                      <a:pt x="49" y="246"/>
                    </a:cubicBezTo>
                    <a:cubicBezTo>
                      <a:pt x="41" y="243"/>
                      <a:pt x="35" y="240"/>
                      <a:pt x="29" y="235"/>
                    </a:cubicBezTo>
                    <a:cubicBezTo>
                      <a:pt x="24" y="231"/>
                      <a:pt x="20" y="225"/>
                      <a:pt x="16" y="219"/>
                    </a:cubicBezTo>
                    <a:cubicBezTo>
                      <a:pt x="13" y="213"/>
                      <a:pt x="10" y="207"/>
                      <a:pt x="8" y="201"/>
                    </a:cubicBezTo>
                    <a:cubicBezTo>
                      <a:pt x="6" y="195"/>
                      <a:pt x="5" y="188"/>
                      <a:pt x="4" y="182"/>
                    </a:cubicBezTo>
                    <a:cubicBezTo>
                      <a:pt x="3" y="177"/>
                      <a:pt x="3" y="171"/>
                      <a:pt x="3" y="166"/>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sp>
            <p:nvSpPr>
              <p:cNvPr id="850" name="Freeform 183">
                <a:extLst>
                  <a:ext uri="{FF2B5EF4-FFF2-40B4-BE49-F238E27FC236}">
                    <a16:creationId xmlns:a16="http://schemas.microsoft.com/office/drawing/2014/main" id="{2E3B5967-E417-4899-9ABE-4F1ABA10DD55}"/>
                  </a:ext>
                </a:extLst>
              </p:cNvPr>
              <p:cNvSpPr>
                <a:spLocks noEditPoints="1"/>
              </p:cNvSpPr>
              <p:nvPr/>
            </p:nvSpPr>
            <p:spPr bwMode="auto">
              <a:xfrm>
                <a:off x="6567" y="882"/>
                <a:ext cx="38" cy="66"/>
              </a:xfrm>
              <a:custGeom>
                <a:avLst/>
                <a:gdLst>
                  <a:gd name="T0" fmla="*/ 110 w 143"/>
                  <a:gd name="T1" fmla="*/ 163 h 250"/>
                  <a:gd name="T2" fmla="*/ 110 w 143"/>
                  <a:gd name="T3" fmla="*/ 163 h 250"/>
                  <a:gd name="T4" fmla="*/ 107 w 143"/>
                  <a:gd name="T5" fmla="*/ 85 h 250"/>
                  <a:gd name="T6" fmla="*/ 106 w 143"/>
                  <a:gd name="T7" fmla="*/ 74 h 250"/>
                  <a:gd name="T8" fmla="*/ 105 w 143"/>
                  <a:gd name="T9" fmla="*/ 63 h 250"/>
                  <a:gd name="T10" fmla="*/ 101 w 143"/>
                  <a:gd name="T11" fmla="*/ 51 h 250"/>
                  <a:gd name="T12" fmla="*/ 94 w 143"/>
                  <a:gd name="T13" fmla="*/ 41 h 250"/>
                  <a:gd name="T14" fmla="*/ 83 w 143"/>
                  <a:gd name="T15" fmla="*/ 34 h 250"/>
                  <a:gd name="T16" fmla="*/ 68 w 143"/>
                  <a:gd name="T17" fmla="*/ 32 h 250"/>
                  <a:gd name="T18" fmla="*/ 48 w 143"/>
                  <a:gd name="T19" fmla="*/ 38 h 250"/>
                  <a:gd name="T20" fmla="*/ 37 w 143"/>
                  <a:gd name="T21" fmla="*/ 53 h 250"/>
                  <a:gd name="T22" fmla="*/ 34 w 143"/>
                  <a:gd name="T23" fmla="*/ 71 h 250"/>
                  <a:gd name="T24" fmla="*/ 33 w 143"/>
                  <a:gd name="T25" fmla="*/ 87 h 250"/>
                  <a:gd name="T26" fmla="*/ 36 w 143"/>
                  <a:gd name="T27" fmla="*/ 165 h 250"/>
                  <a:gd name="T28" fmla="*/ 37 w 143"/>
                  <a:gd name="T29" fmla="*/ 176 h 250"/>
                  <a:gd name="T30" fmla="*/ 39 w 143"/>
                  <a:gd name="T31" fmla="*/ 187 h 250"/>
                  <a:gd name="T32" fmla="*/ 42 w 143"/>
                  <a:gd name="T33" fmla="*/ 199 h 250"/>
                  <a:gd name="T34" fmla="*/ 49 w 143"/>
                  <a:gd name="T35" fmla="*/ 209 h 250"/>
                  <a:gd name="T36" fmla="*/ 60 w 143"/>
                  <a:gd name="T37" fmla="*/ 216 h 250"/>
                  <a:gd name="T38" fmla="*/ 75 w 143"/>
                  <a:gd name="T39" fmla="*/ 218 h 250"/>
                  <a:gd name="T40" fmla="*/ 90 w 143"/>
                  <a:gd name="T41" fmla="*/ 215 h 250"/>
                  <a:gd name="T42" fmla="*/ 100 w 143"/>
                  <a:gd name="T43" fmla="*/ 207 h 250"/>
                  <a:gd name="T44" fmla="*/ 106 w 143"/>
                  <a:gd name="T45" fmla="*/ 197 h 250"/>
                  <a:gd name="T46" fmla="*/ 109 w 143"/>
                  <a:gd name="T47" fmla="*/ 185 h 250"/>
                  <a:gd name="T48" fmla="*/ 110 w 143"/>
                  <a:gd name="T49" fmla="*/ 173 h 250"/>
                  <a:gd name="T50" fmla="*/ 110 w 143"/>
                  <a:gd name="T51" fmla="*/ 163 h 250"/>
                  <a:gd name="T52" fmla="*/ 3 w 143"/>
                  <a:gd name="T53" fmla="*/ 167 h 250"/>
                  <a:gd name="T54" fmla="*/ 3 w 143"/>
                  <a:gd name="T55" fmla="*/ 167 h 250"/>
                  <a:gd name="T56" fmla="*/ 0 w 143"/>
                  <a:gd name="T57" fmla="*/ 89 h 250"/>
                  <a:gd name="T58" fmla="*/ 0 w 143"/>
                  <a:gd name="T59" fmla="*/ 72 h 250"/>
                  <a:gd name="T60" fmla="*/ 3 w 143"/>
                  <a:gd name="T61" fmla="*/ 54 h 250"/>
                  <a:gd name="T62" fmla="*/ 10 w 143"/>
                  <a:gd name="T63" fmla="*/ 35 h 250"/>
                  <a:gd name="T64" fmla="*/ 22 w 143"/>
                  <a:gd name="T65" fmla="*/ 18 h 250"/>
                  <a:gd name="T66" fmla="*/ 41 w 143"/>
                  <a:gd name="T67" fmla="*/ 6 h 250"/>
                  <a:gd name="T68" fmla="*/ 67 w 143"/>
                  <a:gd name="T69" fmla="*/ 1 h 250"/>
                  <a:gd name="T70" fmla="*/ 94 w 143"/>
                  <a:gd name="T71" fmla="*/ 4 h 250"/>
                  <a:gd name="T72" fmla="*/ 114 w 143"/>
                  <a:gd name="T73" fmla="*/ 15 h 250"/>
                  <a:gd name="T74" fmla="*/ 127 w 143"/>
                  <a:gd name="T75" fmla="*/ 31 h 250"/>
                  <a:gd name="T76" fmla="*/ 135 w 143"/>
                  <a:gd name="T77" fmla="*/ 49 h 250"/>
                  <a:gd name="T78" fmla="*/ 139 w 143"/>
                  <a:gd name="T79" fmla="*/ 67 h 250"/>
                  <a:gd name="T80" fmla="*/ 140 w 143"/>
                  <a:gd name="T81" fmla="*/ 83 h 250"/>
                  <a:gd name="T82" fmla="*/ 143 w 143"/>
                  <a:gd name="T83" fmla="*/ 162 h 250"/>
                  <a:gd name="T84" fmla="*/ 143 w 143"/>
                  <a:gd name="T85" fmla="*/ 178 h 250"/>
                  <a:gd name="T86" fmla="*/ 140 w 143"/>
                  <a:gd name="T87" fmla="*/ 196 h 250"/>
                  <a:gd name="T88" fmla="*/ 134 w 143"/>
                  <a:gd name="T89" fmla="*/ 215 h 250"/>
                  <a:gd name="T90" fmla="*/ 122 w 143"/>
                  <a:gd name="T91" fmla="*/ 232 h 250"/>
                  <a:gd name="T92" fmla="*/ 103 w 143"/>
                  <a:gd name="T93" fmla="*/ 244 h 250"/>
                  <a:gd name="T94" fmla="*/ 76 w 143"/>
                  <a:gd name="T95" fmla="*/ 250 h 250"/>
                  <a:gd name="T96" fmla="*/ 49 w 143"/>
                  <a:gd name="T97" fmla="*/ 246 h 250"/>
                  <a:gd name="T98" fmla="*/ 30 w 143"/>
                  <a:gd name="T99" fmla="*/ 235 h 250"/>
                  <a:gd name="T100" fmla="*/ 17 w 143"/>
                  <a:gd name="T101" fmla="*/ 220 h 250"/>
                  <a:gd name="T102" fmla="*/ 9 w 143"/>
                  <a:gd name="T103" fmla="*/ 201 h 250"/>
                  <a:gd name="T104" fmla="*/ 4 w 143"/>
                  <a:gd name="T105" fmla="*/ 183 h 250"/>
                  <a:gd name="T106" fmla="*/ 3 w 143"/>
                  <a:gd name="T107" fmla="*/ 16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 h="250">
                    <a:moveTo>
                      <a:pt x="110" y="163"/>
                    </a:moveTo>
                    <a:lnTo>
                      <a:pt x="110" y="163"/>
                    </a:lnTo>
                    <a:lnTo>
                      <a:pt x="107" y="85"/>
                    </a:lnTo>
                    <a:cubicBezTo>
                      <a:pt x="107" y="82"/>
                      <a:pt x="107" y="78"/>
                      <a:pt x="106" y="74"/>
                    </a:cubicBezTo>
                    <a:cubicBezTo>
                      <a:pt x="106" y="71"/>
                      <a:pt x="106" y="67"/>
                      <a:pt x="105" y="63"/>
                    </a:cubicBezTo>
                    <a:cubicBezTo>
                      <a:pt x="104" y="59"/>
                      <a:pt x="102" y="55"/>
                      <a:pt x="101" y="51"/>
                    </a:cubicBezTo>
                    <a:cubicBezTo>
                      <a:pt x="99" y="47"/>
                      <a:pt x="97" y="44"/>
                      <a:pt x="94" y="41"/>
                    </a:cubicBezTo>
                    <a:cubicBezTo>
                      <a:pt x="91" y="38"/>
                      <a:pt x="88" y="36"/>
                      <a:pt x="83" y="34"/>
                    </a:cubicBezTo>
                    <a:cubicBezTo>
                      <a:pt x="79" y="32"/>
                      <a:pt x="74" y="32"/>
                      <a:pt x="68" y="32"/>
                    </a:cubicBezTo>
                    <a:cubicBezTo>
                      <a:pt x="59" y="32"/>
                      <a:pt x="53" y="34"/>
                      <a:pt x="48" y="38"/>
                    </a:cubicBezTo>
                    <a:cubicBezTo>
                      <a:pt x="43" y="43"/>
                      <a:pt x="39" y="48"/>
                      <a:pt x="37" y="53"/>
                    </a:cubicBezTo>
                    <a:cubicBezTo>
                      <a:pt x="35" y="59"/>
                      <a:pt x="34" y="65"/>
                      <a:pt x="34" y="71"/>
                    </a:cubicBezTo>
                    <a:cubicBezTo>
                      <a:pt x="33" y="77"/>
                      <a:pt x="33" y="83"/>
                      <a:pt x="33" y="87"/>
                    </a:cubicBezTo>
                    <a:lnTo>
                      <a:pt x="36" y="165"/>
                    </a:lnTo>
                    <a:cubicBezTo>
                      <a:pt x="36" y="168"/>
                      <a:pt x="36" y="172"/>
                      <a:pt x="37" y="176"/>
                    </a:cubicBezTo>
                    <a:cubicBezTo>
                      <a:pt x="37" y="180"/>
                      <a:pt x="38" y="183"/>
                      <a:pt x="39" y="187"/>
                    </a:cubicBezTo>
                    <a:cubicBezTo>
                      <a:pt x="40" y="191"/>
                      <a:pt x="41" y="195"/>
                      <a:pt x="42" y="199"/>
                    </a:cubicBezTo>
                    <a:cubicBezTo>
                      <a:pt x="44" y="203"/>
                      <a:pt x="46" y="206"/>
                      <a:pt x="49" y="209"/>
                    </a:cubicBezTo>
                    <a:cubicBezTo>
                      <a:pt x="52" y="212"/>
                      <a:pt x="56" y="215"/>
                      <a:pt x="60" y="216"/>
                    </a:cubicBezTo>
                    <a:cubicBezTo>
                      <a:pt x="64" y="218"/>
                      <a:pt x="69" y="219"/>
                      <a:pt x="75" y="218"/>
                    </a:cubicBezTo>
                    <a:cubicBezTo>
                      <a:pt x="81" y="218"/>
                      <a:pt x="86" y="217"/>
                      <a:pt x="90" y="215"/>
                    </a:cubicBezTo>
                    <a:cubicBezTo>
                      <a:pt x="94" y="213"/>
                      <a:pt x="97" y="211"/>
                      <a:pt x="100" y="207"/>
                    </a:cubicBezTo>
                    <a:cubicBezTo>
                      <a:pt x="103" y="204"/>
                      <a:pt x="105" y="201"/>
                      <a:pt x="106" y="197"/>
                    </a:cubicBezTo>
                    <a:cubicBezTo>
                      <a:pt x="107" y="193"/>
                      <a:pt x="108" y="189"/>
                      <a:pt x="109" y="185"/>
                    </a:cubicBezTo>
                    <a:cubicBezTo>
                      <a:pt x="110" y="181"/>
                      <a:pt x="110" y="177"/>
                      <a:pt x="110" y="173"/>
                    </a:cubicBezTo>
                    <a:cubicBezTo>
                      <a:pt x="110" y="169"/>
                      <a:pt x="110" y="166"/>
                      <a:pt x="110" y="163"/>
                    </a:cubicBezTo>
                    <a:close/>
                    <a:moveTo>
                      <a:pt x="3" y="167"/>
                    </a:moveTo>
                    <a:lnTo>
                      <a:pt x="3" y="167"/>
                    </a:lnTo>
                    <a:lnTo>
                      <a:pt x="0" y="89"/>
                    </a:lnTo>
                    <a:cubicBezTo>
                      <a:pt x="0" y="84"/>
                      <a:pt x="0" y="79"/>
                      <a:pt x="0" y="72"/>
                    </a:cubicBezTo>
                    <a:cubicBezTo>
                      <a:pt x="1" y="66"/>
                      <a:pt x="2" y="60"/>
                      <a:pt x="3" y="54"/>
                    </a:cubicBezTo>
                    <a:cubicBezTo>
                      <a:pt x="5" y="47"/>
                      <a:pt x="7" y="41"/>
                      <a:pt x="10" y="35"/>
                    </a:cubicBezTo>
                    <a:cubicBezTo>
                      <a:pt x="13" y="29"/>
                      <a:pt x="17" y="23"/>
                      <a:pt x="22" y="18"/>
                    </a:cubicBezTo>
                    <a:cubicBezTo>
                      <a:pt x="27" y="13"/>
                      <a:pt x="33" y="9"/>
                      <a:pt x="41" y="6"/>
                    </a:cubicBezTo>
                    <a:cubicBezTo>
                      <a:pt x="48" y="3"/>
                      <a:pt x="57" y="1"/>
                      <a:pt x="67" y="1"/>
                    </a:cubicBezTo>
                    <a:cubicBezTo>
                      <a:pt x="78" y="0"/>
                      <a:pt x="87" y="1"/>
                      <a:pt x="94" y="4"/>
                    </a:cubicBezTo>
                    <a:cubicBezTo>
                      <a:pt x="102" y="7"/>
                      <a:pt x="108" y="10"/>
                      <a:pt x="114" y="15"/>
                    </a:cubicBezTo>
                    <a:cubicBezTo>
                      <a:pt x="119" y="19"/>
                      <a:pt x="124" y="25"/>
                      <a:pt x="127" y="31"/>
                    </a:cubicBezTo>
                    <a:cubicBezTo>
                      <a:pt x="130" y="36"/>
                      <a:pt x="133" y="43"/>
                      <a:pt x="135" y="49"/>
                    </a:cubicBezTo>
                    <a:cubicBezTo>
                      <a:pt x="137" y="55"/>
                      <a:pt x="138" y="61"/>
                      <a:pt x="139" y="67"/>
                    </a:cubicBezTo>
                    <a:cubicBezTo>
                      <a:pt x="140" y="73"/>
                      <a:pt x="140" y="79"/>
                      <a:pt x="140" y="83"/>
                    </a:cubicBezTo>
                    <a:lnTo>
                      <a:pt x="143" y="162"/>
                    </a:lnTo>
                    <a:cubicBezTo>
                      <a:pt x="143" y="166"/>
                      <a:pt x="143" y="172"/>
                      <a:pt x="143" y="178"/>
                    </a:cubicBezTo>
                    <a:cubicBezTo>
                      <a:pt x="143" y="184"/>
                      <a:pt x="142" y="190"/>
                      <a:pt x="140" y="196"/>
                    </a:cubicBezTo>
                    <a:cubicBezTo>
                      <a:pt x="139" y="203"/>
                      <a:pt x="136" y="209"/>
                      <a:pt x="134" y="215"/>
                    </a:cubicBezTo>
                    <a:cubicBezTo>
                      <a:pt x="131" y="221"/>
                      <a:pt x="127" y="227"/>
                      <a:pt x="122" y="232"/>
                    </a:cubicBezTo>
                    <a:cubicBezTo>
                      <a:pt x="117" y="237"/>
                      <a:pt x="110" y="241"/>
                      <a:pt x="103" y="244"/>
                    </a:cubicBezTo>
                    <a:cubicBezTo>
                      <a:pt x="96" y="247"/>
                      <a:pt x="87" y="249"/>
                      <a:pt x="76" y="250"/>
                    </a:cubicBezTo>
                    <a:cubicBezTo>
                      <a:pt x="66" y="250"/>
                      <a:pt x="57" y="249"/>
                      <a:pt x="49" y="246"/>
                    </a:cubicBezTo>
                    <a:cubicBezTo>
                      <a:pt x="42" y="244"/>
                      <a:pt x="35" y="240"/>
                      <a:pt x="30" y="235"/>
                    </a:cubicBezTo>
                    <a:cubicBezTo>
                      <a:pt x="24" y="231"/>
                      <a:pt x="20" y="226"/>
                      <a:pt x="17" y="220"/>
                    </a:cubicBezTo>
                    <a:cubicBezTo>
                      <a:pt x="13" y="214"/>
                      <a:pt x="11" y="208"/>
                      <a:pt x="9" y="201"/>
                    </a:cubicBezTo>
                    <a:cubicBezTo>
                      <a:pt x="7" y="195"/>
                      <a:pt x="5" y="189"/>
                      <a:pt x="4" y="183"/>
                    </a:cubicBezTo>
                    <a:cubicBezTo>
                      <a:pt x="4" y="177"/>
                      <a:pt x="3" y="171"/>
                      <a:pt x="3" y="167"/>
                    </a:cubicBezTo>
                    <a:close/>
                  </a:path>
                </a:pathLst>
              </a:custGeom>
              <a:grpFill/>
              <a:ln w="0">
                <a:noFill/>
                <a:prstDash val="solid"/>
                <a:round/>
                <a:headEnd/>
                <a:tailEnd/>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rgbClr val="FFFFFF"/>
                  </a:solidFill>
                  <a:latin typeface="Segoe UI"/>
                </a:endParaRPr>
              </a:p>
            </p:txBody>
          </p:sp>
        </p:grpSp>
        <p:sp>
          <p:nvSpPr>
            <p:cNvPr id="835" name="TextBox 834">
              <a:extLst>
                <a:ext uri="{FF2B5EF4-FFF2-40B4-BE49-F238E27FC236}">
                  <a16:creationId xmlns:a16="http://schemas.microsoft.com/office/drawing/2014/main" id="{C1DE1610-3895-47C3-AD94-92DB8F086281}"/>
                </a:ext>
              </a:extLst>
            </p:cNvPr>
            <p:cNvSpPr txBox="1"/>
            <p:nvPr/>
          </p:nvSpPr>
          <p:spPr>
            <a:xfrm>
              <a:off x="4474513" y="1018137"/>
              <a:ext cx="787326" cy="277099"/>
            </a:xfrm>
            <a:prstGeom prst="rect">
              <a:avLst/>
            </a:prstGeom>
            <a:noFill/>
          </p:spPr>
          <p:txBody>
            <a:bodyPr wrap="square" lIns="0" tIns="0" rIns="0" bIns="0" rtlCol="0">
              <a:spAutoFit/>
            </a:bodyPr>
            <a:lstStyle/>
            <a:p>
              <a:pPr algn="ctr" defTabSz="672161" eaLnBrk="1" fontAlgn="auto" hangingPunct="1">
                <a:lnSpc>
                  <a:spcPct val="90000"/>
                </a:lnSpc>
                <a:spcBef>
                  <a:spcPts val="0"/>
                </a:spcBef>
                <a:spcAft>
                  <a:spcPts val="441"/>
                </a:spcAft>
                <a:defRPr/>
              </a:pPr>
              <a:r>
                <a:rPr lang="en-US" sz="1471" kern="0">
                  <a:solidFill>
                    <a:srgbClr val="0078D7"/>
                  </a:solidFill>
                  <a:latin typeface="Segoe UI Semibold" panose="020B0702040204020203" pitchFamily="34" charset="0"/>
                  <a:cs typeface="Segoe UI Semibold" panose="020B0702040204020203" pitchFamily="34" charset="0"/>
                </a:rPr>
                <a:t>40</a:t>
              </a:r>
              <a:r>
                <a:rPr lang="en-US" sz="1028" kern="0">
                  <a:solidFill>
                    <a:srgbClr val="0078D7"/>
                  </a:solidFill>
                  <a:latin typeface="Segoe UI"/>
                </a:rPr>
                <a:t>TB</a:t>
              </a:r>
              <a:endParaRPr lang="en-US" sz="1471" kern="0">
                <a:solidFill>
                  <a:srgbClr val="0078D7"/>
                </a:solidFill>
                <a:latin typeface="Segoe UI"/>
              </a:endParaRPr>
            </a:p>
          </p:txBody>
        </p:sp>
      </p:grpSp>
      <p:sp>
        <p:nvSpPr>
          <p:cNvPr id="851" name="TextBox 850">
            <a:extLst>
              <a:ext uri="{FF2B5EF4-FFF2-40B4-BE49-F238E27FC236}">
                <a16:creationId xmlns:a16="http://schemas.microsoft.com/office/drawing/2014/main" id="{AA59A5F9-176E-48E0-8B3C-A7C686619FF7}"/>
              </a:ext>
            </a:extLst>
          </p:cNvPr>
          <p:cNvSpPr txBox="1"/>
          <p:nvPr/>
        </p:nvSpPr>
        <p:spPr>
          <a:xfrm>
            <a:off x="4605755" y="3786339"/>
            <a:ext cx="604012" cy="336374"/>
          </a:xfrm>
          <a:prstGeom prst="rect">
            <a:avLst/>
          </a:prstGeom>
        </p:spPr>
        <p:txBody>
          <a:bodyPr wrap="none">
            <a:spAutoFit/>
          </a:bodyPr>
          <a:lstStyle>
            <a:defPPr>
              <a:defRPr lang="en-US"/>
            </a:defPPr>
            <a:lvl1pPr defTabSz="896215">
              <a:lnSpc>
                <a:spcPct val="90000"/>
              </a:lnSpc>
              <a:defRPr sz="1372" kern="100">
                <a:solidFill>
                  <a:srgbClr val="353535"/>
                </a:solidFill>
                <a:latin typeface="Segoe UI"/>
                <a:ea typeface="ＭＳ Ｐゴシック" charset="0"/>
              </a:defRPr>
            </a:lvl1pPr>
          </a:lstStyle>
          <a:p>
            <a:pPr defTabSz="658793" eaLnBrk="1" fontAlgn="auto" hangingPunct="1">
              <a:spcBef>
                <a:spcPts val="0"/>
              </a:spcBef>
              <a:spcAft>
                <a:spcPts val="0"/>
              </a:spcAft>
              <a:defRPr/>
            </a:pPr>
            <a:r>
              <a:rPr lang="en-US" sz="881"/>
              <a:t>Effective</a:t>
            </a:r>
            <a:br>
              <a:rPr lang="en-US" sz="881"/>
            </a:br>
            <a:r>
              <a:rPr lang="en-US" sz="881"/>
              <a:t>policy</a:t>
            </a:r>
          </a:p>
        </p:txBody>
      </p:sp>
      <p:sp>
        <p:nvSpPr>
          <p:cNvPr id="852" name="Arc 851">
            <a:extLst>
              <a:ext uri="{FF2B5EF4-FFF2-40B4-BE49-F238E27FC236}">
                <a16:creationId xmlns:a16="http://schemas.microsoft.com/office/drawing/2014/main" id="{58B4F5E5-631E-4638-AD6D-7090CB61D786}"/>
              </a:ext>
            </a:extLst>
          </p:cNvPr>
          <p:cNvSpPr/>
          <p:nvPr/>
        </p:nvSpPr>
        <p:spPr>
          <a:xfrm>
            <a:off x="3639676" y="2124201"/>
            <a:ext cx="1562987" cy="1562987"/>
          </a:xfrm>
          <a:prstGeom prst="arc">
            <a:avLst>
              <a:gd name="adj1" fmla="val 9905982"/>
              <a:gd name="adj2" fmla="val 12734190"/>
            </a:avLst>
          </a:prstGeom>
          <a:noFill/>
          <a:ln w="9525" cap="flat" cmpd="sng" algn="ctr">
            <a:solidFill>
              <a:srgbClr val="0078D7"/>
            </a:solidFill>
            <a:prstDash val="solid"/>
            <a:headEnd type="triangle" w="med" len="med"/>
            <a:tailEnd type="triangle" w="med" len="med"/>
          </a:ln>
          <a:effectLst/>
        </p:spPr>
        <p:txBody>
          <a:bodyPr rtlCol="0" anchor="ctr"/>
          <a:lstStyle/>
          <a:p>
            <a:pPr algn="ctr" defTabSz="672161" eaLnBrk="1" fontAlgn="auto" hangingPunct="1">
              <a:spcBef>
                <a:spcPts val="0"/>
              </a:spcBef>
              <a:spcAft>
                <a:spcPts val="0"/>
              </a:spcAft>
              <a:defRPr/>
            </a:pPr>
            <a:endParaRPr lang="en-US" sz="1377" kern="0">
              <a:solidFill>
                <a:srgbClr val="353535"/>
              </a:solidFill>
              <a:latin typeface="Segoe UI Semilight"/>
            </a:endParaRPr>
          </a:p>
        </p:txBody>
      </p:sp>
      <p:grpSp>
        <p:nvGrpSpPr>
          <p:cNvPr id="3" name="Group 2">
            <a:extLst>
              <a:ext uri="{FF2B5EF4-FFF2-40B4-BE49-F238E27FC236}">
                <a16:creationId xmlns:a16="http://schemas.microsoft.com/office/drawing/2014/main" id="{3A257D1C-1920-44DB-B338-4426155A50EA}"/>
              </a:ext>
            </a:extLst>
          </p:cNvPr>
          <p:cNvGrpSpPr/>
          <p:nvPr/>
        </p:nvGrpSpPr>
        <p:grpSpPr>
          <a:xfrm>
            <a:off x="7505955" y="792250"/>
            <a:ext cx="1318690" cy="1059795"/>
            <a:chOff x="10008494" y="870996"/>
            <a:chExt cx="1758503" cy="1413260"/>
          </a:xfrm>
        </p:grpSpPr>
        <p:grpSp>
          <p:nvGrpSpPr>
            <p:cNvPr id="2" name="Group 1">
              <a:extLst>
                <a:ext uri="{FF2B5EF4-FFF2-40B4-BE49-F238E27FC236}">
                  <a16:creationId xmlns:a16="http://schemas.microsoft.com/office/drawing/2014/main" id="{AB616EE3-A31E-48F1-B6C0-0FB4E845D378}"/>
                </a:ext>
              </a:extLst>
            </p:cNvPr>
            <p:cNvGrpSpPr/>
            <p:nvPr/>
          </p:nvGrpSpPr>
          <p:grpSpPr>
            <a:xfrm>
              <a:off x="10008494" y="870996"/>
              <a:ext cx="1723127" cy="1060679"/>
              <a:chOff x="13283193" y="691690"/>
              <a:chExt cx="2014419" cy="1239985"/>
            </a:xfrm>
          </p:grpSpPr>
          <p:grpSp>
            <p:nvGrpSpPr>
              <p:cNvPr id="337" name="Group 336">
                <a:extLst>
                  <a:ext uri="{FF2B5EF4-FFF2-40B4-BE49-F238E27FC236}">
                    <a16:creationId xmlns:a16="http://schemas.microsoft.com/office/drawing/2014/main" id="{89847B9B-BC01-4016-A245-D5517D147FF5}"/>
                  </a:ext>
                </a:extLst>
              </p:cNvPr>
              <p:cNvGrpSpPr/>
              <p:nvPr/>
            </p:nvGrpSpPr>
            <p:grpSpPr>
              <a:xfrm>
                <a:off x="13283193" y="691690"/>
                <a:ext cx="2014419" cy="1239985"/>
                <a:chOff x="9682252" y="2345440"/>
                <a:chExt cx="2014419" cy="1239985"/>
              </a:xfrm>
            </p:grpSpPr>
            <p:grpSp>
              <p:nvGrpSpPr>
                <p:cNvPr id="338" name="Group 337">
                  <a:extLst>
                    <a:ext uri="{FF2B5EF4-FFF2-40B4-BE49-F238E27FC236}">
                      <a16:creationId xmlns:a16="http://schemas.microsoft.com/office/drawing/2014/main" id="{01BD44E0-144C-45A1-B673-BEA9747A9191}"/>
                    </a:ext>
                  </a:extLst>
                </p:cNvPr>
                <p:cNvGrpSpPr/>
                <p:nvPr/>
              </p:nvGrpSpPr>
              <p:grpSpPr>
                <a:xfrm>
                  <a:off x="10070785" y="2345440"/>
                  <a:ext cx="1625886" cy="1069106"/>
                  <a:chOff x="10846854" y="1787463"/>
                  <a:chExt cx="1625886" cy="1069106"/>
                </a:xfrm>
              </p:grpSpPr>
              <p:sp>
                <p:nvSpPr>
                  <p:cNvPr id="342" name="Freeform 38">
                    <a:extLst>
                      <a:ext uri="{FF2B5EF4-FFF2-40B4-BE49-F238E27FC236}">
                        <a16:creationId xmlns:a16="http://schemas.microsoft.com/office/drawing/2014/main" id="{440DBF75-9EDB-40A7-801C-BADB035D7D9C}"/>
                      </a:ext>
                    </a:extLst>
                  </p:cNvPr>
                  <p:cNvSpPr>
                    <a:spLocks/>
                  </p:cNvSpPr>
                  <p:nvPr/>
                </p:nvSpPr>
                <p:spPr bwMode="auto">
                  <a:xfrm>
                    <a:off x="10846854" y="1787463"/>
                    <a:ext cx="1625886" cy="1069106"/>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solidFill>
                      <a:schemeClr val="tx1">
                        <a:lumMod val="25000"/>
                        <a:lumOff val="75000"/>
                      </a:schemeClr>
                    </a:solidFill>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ysClr val="windowText" lastClr="000000"/>
                      </a:solidFill>
                      <a:latin typeface="Segoe UI"/>
                    </a:endParaRPr>
                  </a:p>
                </p:txBody>
              </p:sp>
              <p:sp>
                <p:nvSpPr>
                  <p:cNvPr id="343" name="Freeform 131">
                    <a:extLst>
                      <a:ext uri="{FF2B5EF4-FFF2-40B4-BE49-F238E27FC236}">
                        <a16:creationId xmlns:a16="http://schemas.microsoft.com/office/drawing/2014/main" id="{A5F1A8B8-9BC4-4471-9BA4-ABE1D1B66F02}"/>
                      </a:ext>
                    </a:extLst>
                  </p:cNvPr>
                  <p:cNvSpPr>
                    <a:spLocks noChangeAspect="1"/>
                  </p:cNvSpPr>
                  <p:nvPr/>
                </p:nvSpPr>
                <p:spPr bwMode="black">
                  <a:xfrm>
                    <a:off x="11519100" y="1928416"/>
                    <a:ext cx="350595" cy="42050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DA3104"/>
                  </a:solidFill>
                  <a:ln>
                    <a:noFill/>
                  </a:ln>
                </p:spPr>
                <p:txBody>
                  <a:bodyPr vert="horz" wrap="square" lIns="68570" tIns="34285" rIns="68570" bIns="34285" numCol="1" anchor="t" anchorCtr="0" compatLnSpc="1">
                    <a:prstTxWarp prst="textNoShape">
                      <a:avLst/>
                    </a:prstTxWarp>
                  </a:bodyPr>
                  <a:lstStyle/>
                  <a:p>
                    <a:pPr algn="ctr" defTabSz="685775" eaLnBrk="1" fontAlgn="auto" hangingPunct="1">
                      <a:spcBef>
                        <a:spcPts val="0"/>
                      </a:spcBef>
                      <a:spcAft>
                        <a:spcPts val="0"/>
                      </a:spcAft>
                      <a:defRPr/>
                    </a:pPr>
                    <a:endParaRPr lang="en-US" sz="1377">
                      <a:solidFill>
                        <a:srgbClr val="000000"/>
                      </a:solidFill>
                      <a:latin typeface="Segoe UI"/>
                    </a:endParaRPr>
                  </a:p>
                </p:txBody>
              </p:sp>
            </p:grpSp>
            <p:grpSp>
              <p:nvGrpSpPr>
                <p:cNvPr id="339" name="Group 338">
                  <a:extLst>
                    <a:ext uri="{FF2B5EF4-FFF2-40B4-BE49-F238E27FC236}">
                      <a16:creationId xmlns:a16="http://schemas.microsoft.com/office/drawing/2014/main" id="{20541EBE-7F27-486F-971C-43FD8BCC613E}"/>
                    </a:ext>
                  </a:extLst>
                </p:cNvPr>
                <p:cNvGrpSpPr/>
                <p:nvPr/>
              </p:nvGrpSpPr>
              <p:grpSpPr>
                <a:xfrm>
                  <a:off x="9682252" y="2749670"/>
                  <a:ext cx="1271007" cy="835755"/>
                  <a:chOff x="10909197" y="2287518"/>
                  <a:chExt cx="1271007" cy="835755"/>
                </a:xfrm>
              </p:grpSpPr>
              <p:sp>
                <p:nvSpPr>
                  <p:cNvPr id="340" name="Freeform 38">
                    <a:extLst>
                      <a:ext uri="{FF2B5EF4-FFF2-40B4-BE49-F238E27FC236}">
                        <a16:creationId xmlns:a16="http://schemas.microsoft.com/office/drawing/2014/main" id="{D030E96D-10CA-492D-9361-BA45F531D2E7}"/>
                      </a:ext>
                    </a:extLst>
                  </p:cNvPr>
                  <p:cNvSpPr>
                    <a:spLocks/>
                  </p:cNvSpPr>
                  <p:nvPr/>
                </p:nvSpPr>
                <p:spPr bwMode="auto">
                  <a:xfrm>
                    <a:off x="10909197" y="2287518"/>
                    <a:ext cx="1271007" cy="83575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FFFFFF"/>
                  </a:solidFill>
                  <a:ln>
                    <a:solidFill>
                      <a:schemeClr val="tx1">
                        <a:lumMod val="25000"/>
                        <a:lumOff val="75000"/>
                      </a:schemeClr>
                    </a:solidFill>
                  </a:ln>
                </p:spPr>
                <p:txBody>
                  <a:bodyPr vert="horz" wrap="square" lIns="68561" tIns="34280" rIns="68561" bIns="34280" numCol="1" anchor="t" anchorCtr="0" compatLnSpc="1">
                    <a:prstTxWarp prst="textNoShape">
                      <a:avLst/>
                    </a:prstTxWarp>
                  </a:bodyPr>
                  <a:lstStyle/>
                  <a:p>
                    <a:pPr defTabSz="685537" eaLnBrk="1" fontAlgn="auto" hangingPunct="1">
                      <a:spcBef>
                        <a:spcPts val="0"/>
                      </a:spcBef>
                      <a:spcAft>
                        <a:spcPts val="0"/>
                      </a:spcAft>
                      <a:defRPr/>
                    </a:pPr>
                    <a:endParaRPr lang="en-US" sz="1324" kern="0">
                      <a:solidFill>
                        <a:sysClr val="windowText" lastClr="000000"/>
                      </a:solidFill>
                      <a:latin typeface="Segoe UI"/>
                    </a:endParaRPr>
                  </a:p>
                </p:txBody>
              </p:sp>
              <p:pic>
                <p:nvPicPr>
                  <p:cNvPr id="341" name="Picture 2" descr="https://azure.microsoft.com/svghandler/preview/?width=600&amp;amp;height=315">
                    <a:extLst>
                      <a:ext uri="{FF2B5EF4-FFF2-40B4-BE49-F238E27FC236}">
                        <a16:creationId xmlns:a16="http://schemas.microsoft.com/office/drawing/2014/main" id="{6358AE85-3607-44DC-92A5-2F6E79F733D7}"/>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11239760" y="2461065"/>
                    <a:ext cx="652458" cy="513267"/>
                  </a:xfrm>
                  <a:prstGeom prst="rect">
                    <a:avLst/>
                  </a:prstGeom>
                  <a:noFill/>
                  <a:ln>
                    <a:noFill/>
                  </a:ln>
                  <a:extLst>
                    <a:ext uri="{909E8E84-426E-40DD-AFC4-6F175D3DCCD1}">
                      <a14:hiddenFill xmlns:a14="http://schemas.microsoft.com/office/drawing/2010/main">
                        <a:solidFill>
                          <a:srgbClr val="FFFFFF"/>
                        </a:solidFill>
                      </a14:hiddenFill>
                    </a:ext>
                  </a:extLst>
                </p:spPr>
              </p:pic>
            </p:grpSp>
          </p:grpSp>
          <p:sp>
            <p:nvSpPr>
              <p:cNvPr id="344" name="Freeform 22">
                <a:extLst>
                  <a:ext uri="{FF2B5EF4-FFF2-40B4-BE49-F238E27FC236}">
                    <a16:creationId xmlns:a16="http://schemas.microsoft.com/office/drawing/2014/main" id="{465BAACB-1B42-4D3C-878A-DD27BC0EE902}"/>
                  </a:ext>
                </a:extLst>
              </p:cNvPr>
              <p:cNvSpPr>
                <a:spLocks noChangeAspect="1" noEditPoints="1"/>
              </p:cNvSpPr>
              <p:nvPr/>
            </p:nvSpPr>
            <p:spPr bwMode="black">
              <a:xfrm>
                <a:off x="14723553" y="1147365"/>
                <a:ext cx="310974" cy="194023"/>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chemeClr val="accent1"/>
              </a:solidFill>
              <a:ln>
                <a:noFill/>
              </a:ln>
            </p:spPr>
            <p:txBody>
              <a:bodyPr vert="horz" wrap="square" lIns="68570" tIns="34285" rIns="68570" bIns="34285" numCol="1" anchor="t" anchorCtr="0" compatLnSpc="1">
                <a:prstTxWarp prst="textNoShape">
                  <a:avLst/>
                </a:prstTxWarp>
              </a:bodyPr>
              <a:lstStyle/>
              <a:p>
                <a:pPr defTabSz="685775" eaLnBrk="1" fontAlgn="auto" hangingPunct="1">
                  <a:spcBef>
                    <a:spcPts val="0"/>
                  </a:spcBef>
                  <a:spcAft>
                    <a:spcPts val="0"/>
                  </a:spcAft>
                  <a:defRPr/>
                </a:pPr>
                <a:endParaRPr lang="en-US" sz="1377">
                  <a:solidFill>
                    <a:srgbClr val="000000"/>
                  </a:solidFill>
                  <a:latin typeface="Segoe UI"/>
                </a:endParaRPr>
              </a:p>
            </p:txBody>
          </p:sp>
          <p:pic>
            <p:nvPicPr>
              <p:cNvPr id="345" name="Picture 344">
                <a:extLst>
                  <a:ext uri="{FF2B5EF4-FFF2-40B4-BE49-F238E27FC236}">
                    <a16:creationId xmlns:a16="http://schemas.microsoft.com/office/drawing/2014/main" id="{9D49EA46-7279-4525-985C-BEDE9265BF3F}"/>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2837" b="-3522"/>
              <a:stretch/>
            </p:blipFill>
            <p:spPr>
              <a:xfrm>
                <a:off x="14623158" y="1371082"/>
                <a:ext cx="254092" cy="254091"/>
              </a:xfrm>
              <a:prstGeom prst="rect">
                <a:avLst/>
              </a:prstGeom>
            </p:spPr>
          </p:pic>
          <p:pic>
            <p:nvPicPr>
              <p:cNvPr id="346" name="Picture 345">
                <a:extLst>
                  <a:ext uri="{FF2B5EF4-FFF2-40B4-BE49-F238E27FC236}">
                    <a16:creationId xmlns:a16="http://schemas.microsoft.com/office/drawing/2014/main" id="{1D20FA89-79DD-45AB-9013-2C59432FDCE4}"/>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4933808" y="1399169"/>
                <a:ext cx="221162" cy="215399"/>
              </a:xfrm>
              <a:prstGeom prst="rect">
                <a:avLst/>
              </a:prstGeom>
            </p:spPr>
          </p:pic>
        </p:grpSp>
        <p:sp>
          <p:nvSpPr>
            <p:cNvPr id="347" name="Rectangle 346">
              <a:extLst>
                <a:ext uri="{FF2B5EF4-FFF2-40B4-BE49-F238E27FC236}">
                  <a16:creationId xmlns:a16="http://schemas.microsoft.com/office/drawing/2014/main" id="{69425EAE-5139-4AD5-BCE3-C7E674781870}"/>
                </a:ext>
              </a:extLst>
            </p:cNvPr>
            <p:cNvSpPr/>
            <p:nvPr/>
          </p:nvSpPr>
          <p:spPr>
            <a:xfrm>
              <a:off x="10166796" y="1914872"/>
              <a:ext cx="1600201" cy="369384"/>
            </a:xfrm>
            <a:prstGeom prst="rect">
              <a:avLst/>
            </a:prstGeom>
          </p:spPr>
          <p:txBody>
            <a:bodyPr wrap="square">
              <a:spAutoFit/>
            </a:bodyPr>
            <a:lstStyle/>
            <a:p>
              <a:pPr algn="ctr" defTabSz="685775" eaLnBrk="1" fontAlgn="auto" hangingPunct="1">
                <a:spcBef>
                  <a:spcPts val="0"/>
                </a:spcBef>
                <a:spcAft>
                  <a:spcPts val="0"/>
                </a:spcAft>
                <a:defRPr/>
              </a:pPr>
              <a:r>
                <a:rPr lang="en-US" sz="1200" spc="-38">
                  <a:ln w="3175">
                    <a:noFill/>
                  </a:ln>
                  <a:gradFill>
                    <a:gsLst>
                      <a:gs pos="1250">
                        <a:srgbClr val="1A1A1A"/>
                      </a:gs>
                      <a:gs pos="100000">
                        <a:srgbClr val="1A1A1A"/>
                      </a:gs>
                    </a:gsLst>
                    <a:lin ang="5400000" scaled="0"/>
                  </a:gradFill>
                  <a:latin typeface="Segoe UI"/>
                  <a:cs typeface="Segoe UI" pitchFamily="34" charset="0"/>
                </a:rPr>
                <a:t>Microsoft Cloud</a:t>
              </a:r>
              <a:endParaRPr lang="en-US" sz="750">
                <a:solidFill>
                  <a:srgbClr val="000000"/>
                </a:solidFill>
                <a:latin typeface="Segoe UI"/>
              </a:endParaRPr>
            </a:p>
          </p:txBody>
        </p:sp>
      </p:grpSp>
      <p:sp>
        <p:nvSpPr>
          <p:cNvPr id="351" name="Title 3">
            <a:extLst>
              <a:ext uri="{FF2B5EF4-FFF2-40B4-BE49-F238E27FC236}">
                <a16:creationId xmlns:a16="http://schemas.microsoft.com/office/drawing/2014/main" id="{6E36EACF-3DC9-4346-980A-359CC2E79895}"/>
              </a:ext>
            </a:extLst>
          </p:cNvPr>
          <p:cNvSpPr txBox="1">
            <a:spLocks/>
          </p:cNvSpPr>
          <p:nvPr/>
        </p:nvSpPr>
        <p:spPr>
          <a:xfrm>
            <a:off x="432171" y="96293"/>
            <a:ext cx="8262718" cy="415440"/>
          </a:xfrm>
          <a:prstGeom prst="rect">
            <a:avLst/>
          </a:prstGeom>
        </p:spPr>
        <p:txBody>
          <a:bodyPr/>
          <a:lst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a:lstStyle>
          <a:p>
            <a:pPr defTabSz="699557" fontAlgn="auto">
              <a:spcAft>
                <a:spcPts val="0"/>
              </a:spcAft>
              <a:defRPr/>
            </a:pPr>
            <a:r>
              <a:rPr lang="en-US" sz="2400" spc="-113">
                <a:latin typeface="Segoe UI Semibold"/>
              </a:rPr>
              <a:t>Azure AD Conditional Access</a:t>
            </a:r>
          </a:p>
        </p:txBody>
      </p:sp>
    </p:spTree>
    <p:extLst>
      <p:ext uri="{BB962C8B-B14F-4D97-AF65-F5344CB8AC3E}">
        <p14:creationId xmlns:p14="http://schemas.microsoft.com/office/powerpoint/2010/main" val="1289000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xmlns:a16="http://schemas.microsoft.com/office/drawing/2014/main" xmlns:a14="http://schemas.microsoft.com/office/drawing/2010/main" xmlns:asvg="http://schemas.microsoft.com/office/drawing/2016/SVG/main" xmlns:p14="http://schemas.microsoft.com/office/powerpoint/2010/main">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37"/>
                                        </p:tgtEl>
                                        <p:attrNameLst>
                                          <p:attrName>style.visibility</p:attrName>
                                        </p:attrNameLst>
                                      </p:cBhvr>
                                      <p:to>
                                        <p:strVal val="visible"/>
                                      </p:to>
                                    </p:set>
                                    <p:anim calcmode="lin" valueType="num">
                                      <p:cBhvr additive="base">
                                        <p:cTn id="7" dur="500" fill="hold"/>
                                        <p:tgtEl>
                                          <p:spTgt spid="737"/>
                                        </p:tgtEl>
                                        <p:attrNameLst>
                                          <p:attrName>ppt_x</p:attrName>
                                        </p:attrNameLst>
                                      </p:cBhvr>
                                      <p:tavLst>
                                        <p:tav tm="0">
                                          <p:val>
                                            <p:strVal val="0-#ppt_w/2"/>
                                          </p:val>
                                        </p:tav>
                                        <p:tav tm="100000">
                                          <p:val>
                                            <p:strVal val="#ppt_x"/>
                                          </p:val>
                                        </p:tav>
                                      </p:tavLst>
                                    </p:anim>
                                    <p:anim calcmode="lin" valueType="num">
                                      <p:cBhvr additive="base">
                                        <p:cTn id="8" dur="500" fill="hold"/>
                                        <p:tgtEl>
                                          <p:spTgt spid="73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694"/>
                                        </p:tgtEl>
                                        <p:attrNameLst>
                                          <p:attrName>style.visibility</p:attrName>
                                        </p:attrNameLst>
                                      </p:cBhvr>
                                      <p:to>
                                        <p:strVal val="visible"/>
                                      </p:to>
                                    </p:set>
                                    <p:animEffect transition="in" filter="wipe(left)">
                                      <p:cBhvr>
                                        <p:cTn id="12" dur="500"/>
                                        <p:tgtEl>
                                          <p:spTgt spid="694"/>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719"/>
                                        </p:tgtEl>
                                        <p:attrNameLst>
                                          <p:attrName>style.visibility</p:attrName>
                                        </p:attrNameLst>
                                      </p:cBhvr>
                                      <p:to>
                                        <p:strVal val="visible"/>
                                      </p:to>
                                    </p:set>
                                    <p:animEffect transition="in" filter="wipe(left)">
                                      <p:cBhvr>
                                        <p:cTn id="16" dur="500"/>
                                        <p:tgtEl>
                                          <p:spTgt spid="719"/>
                                        </p:tgtEl>
                                      </p:cBhvr>
                                    </p:animEffect>
                                  </p:childTnLst>
                                </p:cTn>
                              </p:par>
                            </p:childTnLst>
                          </p:cTn>
                        </p:par>
                        <p:par>
                          <p:cTn id="17" fill="hold">
                            <p:stCondLst>
                              <p:cond delay="1500"/>
                            </p:stCondLst>
                            <p:childTnLst>
                              <p:par>
                                <p:cTn id="18" presetID="10" presetClass="entr" presetSubtype="0" fill="hold" grpId="0" nodeType="afterEffect">
                                  <p:stCondLst>
                                    <p:cond delay="0"/>
                                  </p:stCondLst>
                                  <p:childTnLst>
                                    <p:set>
                                      <p:cBhvr>
                                        <p:cTn id="19" dur="1" fill="hold">
                                          <p:stCondLst>
                                            <p:cond delay="0"/>
                                          </p:stCondLst>
                                        </p:cTn>
                                        <p:tgtEl>
                                          <p:spTgt spid="745"/>
                                        </p:tgtEl>
                                        <p:attrNameLst>
                                          <p:attrName>style.visibility</p:attrName>
                                        </p:attrNameLst>
                                      </p:cBhvr>
                                      <p:to>
                                        <p:strVal val="visible"/>
                                      </p:to>
                                    </p:set>
                                    <p:animEffect transition="in" filter="fade">
                                      <p:cBhvr>
                                        <p:cTn id="20" dur="500"/>
                                        <p:tgtEl>
                                          <p:spTgt spid="745"/>
                                        </p:tgtEl>
                                      </p:cBhvr>
                                    </p:animEffect>
                                  </p:childTnLst>
                                </p:cTn>
                              </p:par>
                            </p:childTnLst>
                          </p:cTn>
                        </p:par>
                        <p:par>
                          <p:cTn id="21" fill="hold">
                            <p:stCondLst>
                              <p:cond delay="2000"/>
                            </p:stCondLst>
                            <p:childTnLst>
                              <p:par>
                                <p:cTn id="22" presetID="10" presetClass="entr" presetSubtype="0" fill="hold" nodeType="afterEffect">
                                  <p:stCondLst>
                                    <p:cond delay="0"/>
                                  </p:stCondLst>
                                  <p:childTnLst>
                                    <p:set>
                                      <p:cBhvr>
                                        <p:cTn id="23" dur="1" fill="hold">
                                          <p:stCondLst>
                                            <p:cond delay="0"/>
                                          </p:stCondLst>
                                        </p:cTn>
                                        <p:tgtEl>
                                          <p:spTgt spid="714"/>
                                        </p:tgtEl>
                                        <p:attrNameLst>
                                          <p:attrName>style.visibility</p:attrName>
                                        </p:attrNameLst>
                                      </p:cBhvr>
                                      <p:to>
                                        <p:strVal val="visible"/>
                                      </p:to>
                                    </p:set>
                                    <p:animEffect transition="in" filter="fade">
                                      <p:cBhvr>
                                        <p:cTn id="24" dur="250"/>
                                        <p:tgtEl>
                                          <p:spTgt spid="71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33"/>
                                        </p:tgtEl>
                                        <p:attrNameLst>
                                          <p:attrName>style.visibility</p:attrName>
                                        </p:attrNameLst>
                                      </p:cBhvr>
                                      <p:to>
                                        <p:strVal val="visible"/>
                                      </p:to>
                                    </p:set>
                                    <p:animEffect transition="in" filter="fade">
                                      <p:cBhvr>
                                        <p:cTn id="27" dur="250"/>
                                        <p:tgtEl>
                                          <p:spTgt spid="733"/>
                                        </p:tgtEl>
                                      </p:cBhvr>
                                    </p:animEffect>
                                  </p:childTnLst>
                                </p:cTn>
                              </p:par>
                            </p:childTnLst>
                          </p:cTn>
                        </p:par>
                        <p:par>
                          <p:cTn id="28" fill="hold">
                            <p:stCondLst>
                              <p:cond delay="2250"/>
                            </p:stCondLst>
                            <p:childTnLst>
                              <p:par>
                                <p:cTn id="29" presetID="22" presetClass="entr" presetSubtype="2" fill="hold" grpId="0" nodeType="afterEffect">
                                  <p:stCondLst>
                                    <p:cond delay="0"/>
                                  </p:stCondLst>
                                  <p:childTnLst>
                                    <p:set>
                                      <p:cBhvr>
                                        <p:cTn id="30" dur="1" fill="hold">
                                          <p:stCondLst>
                                            <p:cond delay="0"/>
                                          </p:stCondLst>
                                        </p:cTn>
                                        <p:tgtEl>
                                          <p:spTgt spid="369"/>
                                        </p:tgtEl>
                                        <p:attrNameLst>
                                          <p:attrName>style.visibility</p:attrName>
                                        </p:attrNameLst>
                                      </p:cBhvr>
                                      <p:to>
                                        <p:strVal val="visible"/>
                                      </p:to>
                                    </p:set>
                                    <p:animEffect transition="in" filter="wipe(right)">
                                      <p:cBhvr>
                                        <p:cTn id="31" dur="500"/>
                                        <p:tgtEl>
                                          <p:spTgt spid="369"/>
                                        </p:tgtEl>
                                      </p:cBhvr>
                                    </p:animEffect>
                                  </p:childTnLst>
                                </p:cTn>
                              </p:par>
                              <p:par>
                                <p:cTn id="32" presetID="10" presetClass="entr" presetSubtype="0" fill="hold" nodeType="withEffect">
                                  <p:stCondLst>
                                    <p:cond delay="100"/>
                                  </p:stCondLst>
                                  <p:childTnLst>
                                    <p:set>
                                      <p:cBhvr>
                                        <p:cTn id="33" dur="1" fill="hold">
                                          <p:stCondLst>
                                            <p:cond delay="0"/>
                                          </p:stCondLst>
                                        </p:cTn>
                                        <p:tgtEl>
                                          <p:spTgt spid="705"/>
                                        </p:tgtEl>
                                        <p:attrNameLst>
                                          <p:attrName>style.visibility</p:attrName>
                                        </p:attrNameLst>
                                      </p:cBhvr>
                                      <p:to>
                                        <p:strVal val="visible"/>
                                      </p:to>
                                    </p:set>
                                    <p:animEffect transition="in" filter="fade">
                                      <p:cBhvr>
                                        <p:cTn id="34" dur="250"/>
                                        <p:tgtEl>
                                          <p:spTgt spid="705"/>
                                        </p:tgtEl>
                                      </p:cBhvr>
                                    </p:animEffect>
                                  </p:childTnLst>
                                </p:cTn>
                              </p:par>
                              <p:par>
                                <p:cTn id="35" presetID="10" presetClass="entr" presetSubtype="0" fill="hold" grpId="0" nodeType="withEffect">
                                  <p:stCondLst>
                                    <p:cond delay="100"/>
                                  </p:stCondLst>
                                  <p:childTnLst>
                                    <p:set>
                                      <p:cBhvr>
                                        <p:cTn id="36" dur="1" fill="hold">
                                          <p:stCondLst>
                                            <p:cond delay="0"/>
                                          </p:stCondLst>
                                        </p:cTn>
                                        <p:tgtEl>
                                          <p:spTgt spid="734"/>
                                        </p:tgtEl>
                                        <p:attrNameLst>
                                          <p:attrName>style.visibility</p:attrName>
                                        </p:attrNameLst>
                                      </p:cBhvr>
                                      <p:to>
                                        <p:strVal val="visible"/>
                                      </p:to>
                                    </p:set>
                                    <p:animEffect transition="in" filter="fade">
                                      <p:cBhvr>
                                        <p:cTn id="37" dur="250"/>
                                        <p:tgtEl>
                                          <p:spTgt spid="734"/>
                                        </p:tgtEl>
                                      </p:cBhvr>
                                    </p:animEffect>
                                  </p:childTnLst>
                                </p:cTn>
                              </p:par>
                            </p:childTnLst>
                          </p:cTn>
                        </p:par>
                        <p:par>
                          <p:cTn id="38" fill="hold">
                            <p:stCondLst>
                              <p:cond delay="2750"/>
                            </p:stCondLst>
                            <p:childTnLst>
                              <p:par>
                                <p:cTn id="39" presetID="22" presetClass="entr" presetSubtype="2" fill="hold" grpId="0" nodeType="afterEffect">
                                  <p:stCondLst>
                                    <p:cond delay="0"/>
                                  </p:stCondLst>
                                  <p:childTnLst>
                                    <p:set>
                                      <p:cBhvr>
                                        <p:cTn id="40" dur="1" fill="hold">
                                          <p:stCondLst>
                                            <p:cond delay="0"/>
                                          </p:stCondLst>
                                        </p:cTn>
                                        <p:tgtEl>
                                          <p:spTgt spid="387"/>
                                        </p:tgtEl>
                                        <p:attrNameLst>
                                          <p:attrName>style.visibility</p:attrName>
                                        </p:attrNameLst>
                                      </p:cBhvr>
                                      <p:to>
                                        <p:strVal val="visible"/>
                                      </p:to>
                                    </p:set>
                                    <p:animEffect transition="in" filter="wipe(right)">
                                      <p:cBhvr>
                                        <p:cTn id="41" dur="500"/>
                                        <p:tgtEl>
                                          <p:spTgt spid="387"/>
                                        </p:tgtEl>
                                      </p:cBhvr>
                                    </p:animEffect>
                                  </p:childTnLst>
                                </p:cTn>
                              </p:par>
                              <p:par>
                                <p:cTn id="42" presetID="10" presetClass="entr" presetSubtype="0" fill="hold" nodeType="withEffect">
                                  <p:stCondLst>
                                    <p:cond delay="0"/>
                                  </p:stCondLst>
                                  <p:childTnLst>
                                    <p:set>
                                      <p:cBhvr>
                                        <p:cTn id="43" dur="1" fill="hold">
                                          <p:stCondLst>
                                            <p:cond delay="0"/>
                                          </p:stCondLst>
                                        </p:cTn>
                                        <p:tgtEl>
                                          <p:spTgt spid="285"/>
                                        </p:tgtEl>
                                        <p:attrNameLst>
                                          <p:attrName>style.visibility</p:attrName>
                                        </p:attrNameLst>
                                      </p:cBhvr>
                                      <p:to>
                                        <p:strVal val="visible"/>
                                      </p:to>
                                    </p:set>
                                    <p:animEffect transition="in" filter="fade">
                                      <p:cBhvr>
                                        <p:cTn id="44" dur="500"/>
                                        <p:tgtEl>
                                          <p:spTgt spid="285"/>
                                        </p:tgtEl>
                                      </p:cBhvr>
                                    </p:animEffect>
                                  </p:childTnLst>
                                </p:cTn>
                              </p:par>
                              <p:par>
                                <p:cTn id="45" presetID="10" presetClass="entr" presetSubtype="0" fill="hold" nodeType="withEffect">
                                  <p:stCondLst>
                                    <p:cond delay="200"/>
                                  </p:stCondLst>
                                  <p:childTnLst>
                                    <p:set>
                                      <p:cBhvr>
                                        <p:cTn id="46" dur="1" fill="hold">
                                          <p:stCondLst>
                                            <p:cond delay="0"/>
                                          </p:stCondLst>
                                        </p:cTn>
                                        <p:tgtEl>
                                          <p:spTgt spid="695"/>
                                        </p:tgtEl>
                                        <p:attrNameLst>
                                          <p:attrName>style.visibility</p:attrName>
                                        </p:attrNameLst>
                                      </p:cBhvr>
                                      <p:to>
                                        <p:strVal val="visible"/>
                                      </p:to>
                                    </p:set>
                                    <p:animEffect transition="in" filter="fade">
                                      <p:cBhvr>
                                        <p:cTn id="47" dur="250"/>
                                        <p:tgtEl>
                                          <p:spTgt spid="695"/>
                                        </p:tgtEl>
                                      </p:cBhvr>
                                    </p:animEffect>
                                  </p:childTnLst>
                                </p:cTn>
                              </p:par>
                              <p:par>
                                <p:cTn id="48" presetID="10" presetClass="entr" presetSubtype="0" fill="hold" grpId="0" nodeType="withEffect">
                                  <p:stCondLst>
                                    <p:cond delay="200"/>
                                  </p:stCondLst>
                                  <p:childTnLst>
                                    <p:set>
                                      <p:cBhvr>
                                        <p:cTn id="49" dur="1" fill="hold">
                                          <p:stCondLst>
                                            <p:cond delay="0"/>
                                          </p:stCondLst>
                                        </p:cTn>
                                        <p:tgtEl>
                                          <p:spTgt spid="735"/>
                                        </p:tgtEl>
                                        <p:attrNameLst>
                                          <p:attrName>style.visibility</p:attrName>
                                        </p:attrNameLst>
                                      </p:cBhvr>
                                      <p:to>
                                        <p:strVal val="visible"/>
                                      </p:to>
                                    </p:set>
                                    <p:animEffect transition="in" filter="fade">
                                      <p:cBhvr>
                                        <p:cTn id="50" dur="250"/>
                                        <p:tgtEl>
                                          <p:spTgt spid="735"/>
                                        </p:tgtEl>
                                      </p:cBhvr>
                                    </p:animEffect>
                                  </p:childTnLst>
                                </p:cTn>
                              </p:par>
                            </p:childTnLst>
                          </p:cTn>
                        </p:par>
                        <p:par>
                          <p:cTn id="51" fill="hold">
                            <p:stCondLst>
                              <p:cond delay="3250"/>
                            </p:stCondLst>
                            <p:childTnLst>
                              <p:par>
                                <p:cTn id="52" presetID="22" presetClass="entr" presetSubtype="2" fill="hold" grpId="0" nodeType="afterEffect">
                                  <p:stCondLst>
                                    <p:cond delay="0"/>
                                  </p:stCondLst>
                                  <p:childTnLst>
                                    <p:set>
                                      <p:cBhvr>
                                        <p:cTn id="53" dur="1" fill="hold">
                                          <p:stCondLst>
                                            <p:cond delay="0"/>
                                          </p:stCondLst>
                                        </p:cTn>
                                        <p:tgtEl>
                                          <p:spTgt spid="407"/>
                                        </p:tgtEl>
                                        <p:attrNameLst>
                                          <p:attrName>style.visibility</p:attrName>
                                        </p:attrNameLst>
                                      </p:cBhvr>
                                      <p:to>
                                        <p:strVal val="visible"/>
                                      </p:to>
                                    </p:set>
                                    <p:animEffect transition="in" filter="wipe(right)">
                                      <p:cBhvr>
                                        <p:cTn id="54" dur="500"/>
                                        <p:tgtEl>
                                          <p:spTgt spid="407"/>
                                        </p:tgtEl>
                                      </p:cBhvr>
                                    </p:animEffect>
                                  </p:childTnLst>
                                </p:cTn>
                              </p:par>
                              <p:par>
                                <p:cTn id="55" presetID="10" presetClass="entr" presetSubtype="0" fill="hold" nodeType="withEffect">
                                  <p:stCondLst>
                                    <p:cond delay="0"/>
                                  </p:stCondLst>
                                  <p:childTnLst>
                                    <p:set>
                                      <p:cBhvr>
                                        <p:cTn id="56" dur="1" fill="hold">
                                          <p:stCondLst>
                                            <p:cond delay="0"/>
                                          </p:stCondLst>
                                        </p:cTn>
                                        <p:tgtEl>
                                          <p:spTgt spid="222"/>
                                        </p:tgtEl>
                                        <p:attrNameLst>
                                          <p:attrName>style.visibility</p:attrName>
                                        </p:attrNameLst>
                                      </p:cBhvr>
                                      <p:to>
                                        <p:strVal val="visible"/>
                                      </p:to>
                                    </p:set>
                                    <p:animEffect transition="in" filter="fade">
                                      <p:cBhvr>
                                        <p:cTn id="57" dur="500"/>
                                        <p:tgtEl>
                                          <p:spTgt spid="222"/>
                                        </p:tgtEl>
                                      </p:cBhvr>
                                    </p:animEffect>
                                  </p:childTnLst>
                                </p:cTn>
                              </p:par>
                              <p:par>
                                <p:cTn id="58" presetID="10" presetClass="entr" presetSubtype="0" fill="hold" nodeType="withEffect">
                                  <p:stCondLst>
                                    <p:cond delay="300"/>
                                  </p:stCondLst>
                                  <p:childTnLst>
                                    <p:set>
                                      <p:cBhvr>
                                        <p:cTn id="59" dur="1" fill="hold">
                                          <p:stCondLst>
                                            <p:cond delay="0"/>
                                          </p:stCondLst>
                                        </p:cTn>
                                        <p:tgtEl>
                                          <p:spTgt spid="698"/>
                                        </p:tgtEl>
                                        <p:attrNameLst>
                                          <p:attrName>style.visibility</p:attrName>
                                        </p:attrNameLst>
                                      </p:cBhvr>
                                      <p:to>
                                        <p:strVal val="visible"/>
                                      </p:to>
                                    </p:set>
                                    <p:animEffect transition="in" filter="fade">
                                      <p:cBhvr>
                                        <p:cTn id="60" dur="250"/>
                                        <p:tgtEl>
                                          <p:spTgt spid="698"/>
                                        </p:tgtEl>
                                      </p:cBhvr>
                                    </p:animEffect>
                                  </p:childTnLst>
                                </p:cTn>
                              </p:par>
                              <p:par>
                                <p:cTn id="61" presetID="10" presetClass="entr" presetSubtype="0" fill="hold" grpId="0" nodeType="withEffect">
                                  <p:stCondLst>
                                    <p:cond delay="300"/>
                                  </p:stCondLst>
                                  <p:childTnLst>
                                    <p:set>
                                      <p:cBhvr>
                                        <p:cTn id="62" dur="1" fill="hold">
                                          <p:stCondLst>
                                            <p:cond delay="0"/>
                                          </p:stCondLst>
                                        </p:cTn>
                                        <p:tgtEl>
                                          <p:spTgt spid="736"/>
                                        </p:tgtEl>
                                        <p:attrNameLst>
                                          <p:attrName>style.visibility</p:attrName>
                                        </p:attrNameLst>
                                      </p:cBhvr>
                                      <p:to>
                                        <p:strVal val="visible"/>
                                      </p:to>
                                    </p:set>
                                    <p:animEffect transition="in" filter="fade">
                                      <p:cBhvr>
                                        <p:cTn id="63" dur="250"/>
                                        <p:tgtEl>
                                          <p:spTgt spid="736"/>
                                        </p:tgtEl>
                                      </p:cBhvr>
                                    </p:animEffect>
                                  </p:childTnLst>
                                </p:cTn>
                              </p:par>
                            </p:childTnLst>
                          </p:cTn>
                        </p:par>
                        <p:par>
                          <p:cTn id="64" fill="hold">
                            <p:stCondLst>
                              <p:cond delay="3800"/>
                            </p:stCondLst>
                            <p:childTnLst>
                              <p:par>
                                <p:cTn id="65" presetID="22" presetClass="entr" presetSubtype="2" fill="hold" grpId="0" nodeType="afterEffect">
                                  <p:stCondLst>
                                    <p:cond delay="0"/>
                                  </p:stCondLst>
                                  <p:childTnLst>
                                    <p:set>
                                      <p:cBhvr>
                                        <p:cTn id="66" dur="1" fill="hold">
                                          <p:stCondLst>
                                            <p:cond delay="0"/>
                                          </p:stCondLst>
                                        </p:cTn>
                                        <p:tgtEl>
                                          <p:spTgt spid="336"/>
                                        </p:tgtEl>
                                        <p:attrNameLst>
                                          <p:attrName>style.visibility</p:attrName>
                                        </p:attrNameLst>
                                      </p:cBhvr>
                                      <p:to>
                                        <p:strVal val="visible"/>
                                      </p:to>
                                    </p:set>
                                    <p:animEffect transition="in" filter="wipe(right)">
                                      <p:cBhvr>
                                        <p:cTn id="67" dur="500"/>
                                        <p:tgtEl>
                                          <p:spTgt spid="336"/>
                                        </p:tgtEl>
                                      </p:cBhvr>
                                    </p:animEffect>
                                  </p:childTnLst>
                                </p:cTn>
                              </p:par>
                              <p:par>
                                <p:cTn id="68" presetID="10" presetClass="entr" presetSubtype="0" fill="hold" nodeType="withEffect">
                                  <p:stCondLst>
                                    <p:cond delay="0"/>
                                  </p:stCondLst>
                                  <p:childTnLst>
                                    <p:set>
                                      <p:cBhvr>
                                        <p:cTn id="69" dur="1" fill="hold">
                                          <p:stCondLst>
                                            <p:cond delay="0"/>
                                          </p:stCondLst>
                                        </p:cTn>
                                        <p:tgtEl>
                                          <p:spTgt spid="306"/>
                                        </p:tgtEl>
                                        <p:attrNameLst>
                                          <p:attrName>style.visibility</p:attrName>
                                        </p:attrNameLst>
                                      </p:cBhvr>
                                      <p:to>
                                        <p:strVal val="visible"/>
                                      </p:to>
                                    </p:set>
                                    <p:animEffect transition="in" filter="fade">
                                      <p:cBhvr>
                                        <p:cTn id="70" dur="500"/>
                                        <p:tgtEl>
                                          <p:spTgt spid="306"/>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8" fill="hold" nodeType="clickEffect">
                                  <p:stCondLst>
                                    <p:cond delay="0"/>
                                  </p:stCondLst>
                                  <p:childTnLst>
                                    <p:set>
                                      <p:cBhvr>
                                        <p:cTn id="74" dur="1" fill="hold">
                                          <p:stCondLst>
                                            <p:cond delay="0"/>
                                          </p:stCondLst>
                                        </p:cTn>
                                        <p:tgtEl>
                                          <p:spTgt spid="746"/>
                                        </p:tgtEl>
                                        <p:attrNameLst>
                                          <p:attrName>style.visibility</p:attrName>
                                        </p:attrNameLst>
                                      </p:cBhvr>
                                      <p:to>
                                        <p:strVal val="visible"/>
                                      </p:to>
                                    </p:set>
                                    <p:animEffect transition="in" filter="wipe(left)">
                                      <p:cBhvr>
                                        <p:cTn id="75" dur="500"/>
                                        <p:tgtEl>
                                          <p:spTgt spid="746"/>
                                        </p:tgtEl>
                                      </p:cBhvr>
                                    </p:animEffect>
                                  </p:childTnLst>
                                </p:cTn>
                              </p:par>
                              <p:par>
                                <p:cTn id="76" presetID="10" presetClass="entr" presetSubtype="0" fill="hold" nodeType="withEffect">
                                  <p:stCondLst>
                                    <p:cond delay="250"/>
                                  </p:stCondLst>
                                  <p:childTnLst>
                                    <p:set>
                                      <p:cBhvr>
                                        <p:cTn id="77" dur="1" fill="hold">
                                          <p:stCondLst>
                                            <p:cond delay="0"/>
                                          </p:stCondLst>
                                        </p:cTn>
                                        <p:tgtEl>
                                          <p:spTgt spid="756"/>
                                        </p:tgtEl>
                                        <p:attrNameLst>
                                          <p:attrName>style.visibility</p:attrName>
                                        </p:attrNameLst>
                                      </p:cBhvr>
                                      <p:to>
                                        <p:strVal val="visible"/>
                                      </p:to>
                                    </p:set>
                                    <p:animEffect transition="in" filter="fade">
                                      <p:cBhvr>
                                        <p:cTn id="78" dur="500"/>
                                        <p:tgtEl>
                                          <p:spTgt spid="756"/>
                                        </p:tgtEl>
                                      </p:cBhvr>
                                    </p:animEffect>
                                  </p:childTnLst>
                                </p:cTn>
                              </p:par>
                              <p:par>
                                <p:cTn id="79" presetID="10" presetClass="entr" presetSubtype="0" fill="hold" nodeType="withEffect">
                                  <p:stCondLst>
                                    <p:cond delay="500"/>
                                  </p:stCondLst>
                                  <p:childTnLst>
                                    <p:set>
                                      <p:cBhvr>
                                        <p:cTn id="80" dur="1" fill="hold">
                                          <p:stCondLst>
                                            <p:cond delay="0"/>
                                          </p:stCondLst>
                                        </p:cTn>
                                        <p:tgtEl>
                                          <p:spTgt spid="809"/>
                                        </p:tgtEl>
                                        <p:attrNameLst>
                                          <p:attrName>style.visibility</p:attrName>
                                        </p:attrNameLst>
                                      </p:cBhvr>
                                      <p:to>
                                        <p:strVal val="visible"/>
                                      </p:to>
                                    </p:set>
                                    <p:animEffect transition="in" filter="fade">
                                      <p:cBhvr>
                                        <p:cTn id="81" dur="500"/>
                                        <p:tgtEl>
                                          <p:spTgt spid="809"/>
                                        </p:tgtEl>
                                      </p:cBhvr>
                                    </p:animEffect>
                                  </p:childTnLst>
                                </p:cTn>
                              </p:par>
                              <p:par>
                                <p:cTn id="82" presetID="10" presetClass="entr" presetSubtype="0" fill="hold" nodeType="withEffect">
                                  <p:stCondLst>
                                    <p:cond delay="750"/>
                                  </p:stCondLst>
                                  <p:childTnLst>
                                    <p:set>
                                      <p:cBhvr>
                                        <p:cTn id="83" dur="1" fill="hold">
                                          <p:stCondLst>
                                            <p:cond delay="0"/>
                                          </p:stCondLst>
                                        </p:cTn>
                                        <p:tgtEl>
                                          <p:spTgt spid="760"/>
                                        </p:tgtEl>
                                        <p:attrNameLst>
                                          <p:attrName>style.visibility</p:attrName>
                                        </p:attrNameLst>
                                      </p:cBhvr>
                                      <p:to>
                                        <p:strVal val="visible"/>
                                      </p:to>
                                    </p:set>
                                    <p:animEffect transition="in" filter="fade">
                                      <p:cBhvr>
                                        <p:cTn id="84" dur="500"/>
                                        <p:tgtEl>
                                          <p:spTgt spid="760"/>
                                        </p:tgtEl>
                                      </p:cBhvr>
                                    </p:animEffect>
                                  </p:childTnLst>
                                </p:cTn>
                              </p:par>
                            </p:childTnLst>
                          </p:cTn>
                        </p:par>
                        <p:par>
                          <p:cTn id="85" fill="hold">
                            <p:stCondLst>
                              <p:cond delay="1250"/>
                            </p:stCondLst>
                            <p:childTnLst>
                              <p:par>
                                <p:cTn id="86" presetID="47" presetClass="entr" presetSubtype="0" fill="hold" grpId="0" nodeType="afterEffect">
                                  <p:stCondLst>
                                    <p:cond delay="0"/>
                                  </p:stCondLst>
                                  <p:childTnLst>
                                    <p:set>
                                      <p:cBhvr>
                                        <p:cTn id="87" dur="1" fill="hold">
                                          <p:stCondLst>
                                            <p:cond delay="0"/>
                                          </p:stCondLst>
                                        </p:cTn>
                                        <p:tgtEl>
                                          <p:spTgt spid="832"/>
                                        </p:tgtEl>
                                        <p:attrNameLst>
                                          <p:attrName>style.visibility</p:attrName>
                                        </p:attrNameLst>
                                      </p:cBhvr>
                                      <p:to>
                                        <p:strVal val="visible"/>
                                      </p:to>
                                    </p:set>
                                    <p:animEffect transition="in" filter="fade">
                                      <p:cBhvr>
                                        <p:cTn id="88" dur="1000"/>
                                        <p:tgtEl>
                                          <p:spTgt spid="832"/>
                                        </p:tgtEl>
                                      </p:cBhvr>
                                    </p:animEffect>
                                    <p:anim calcmode="lin" valueType="num">
                                      <p:cBhvr>
                                        <p:cTn id="89" dur="1000" fill="hold"/>
                                        <p:tgtEl>
                                          <p:spTgt spid="832"/>
                                        </p:tgtEl>
                                        <p:attrNameLst>
                                          <p:attrName>ppt_x</p:attrName>
                                        </p:attrNameLst>
                                      </p:cBhvr>
                                      <p:tavLst>
                                        <p:tav tm="0">
                                          <p:val>
                                            <p:strVal val="#ppt_x"/>
                                          </p:val>
                                        </p:tav>
                                        <p:tav tm="100000">
                                          <p:val>
                                            <p:strVal val="#ppt_x"/>
                                          </p:val>
                                        </p:tav>
                                      </p:tavLst>
                                    </p:anim>
                                    <p:anim calcmode="lin" valueType="num">
                                      <p:cBhvr>
                                        <p:cTn id="90" dur="1000" fill="hold"/>
                                        <p:tgtEl>
                                          <p:spTgt spid="832"/>
                                        </p:tgtEl>
                                        <p:attrNameLst>
                                          <p:attrName>ppt_y</p:attrName>
                                        </p:attrNameLst>
                                      </p:cBhvr>
                                      <p:tavLst>
                                        <p:tav tm="0">
                                          <p:val>
                                            <p:strVal val="#ppt_y-.1"/>
                                          </p:val>
                                        </p:tav>
                                        <p:tav tm="100000">
                                          <p:val>
                                            <p:strVal val="#ppt_y"/>
                                          </p:val>
                                        </p:tav>
                                      </p:tavLst>
                                    </p:anim>
                                  </p:childTnLst>
                                </p:cTn>
                              </p:par>
                              <p:par>
                                <p:cTn id="91" presetID="47" presetClass="entr" presetSubtype="0" fill="hold" grpId="0" nodeType="withEffect">
                                  <p:stCondLst>
                                    <p:cond delay="0"/>
                                  </p:stCondLst>
                                  <p:childTnLst>
                                    <p:set>
                                      <p:cBhvr>
                                        <p:cTn id="92" dur="1" fill="hold">
                                          <p:stCondLst>
                                            <p:cond delay="0"/>
                                          </p:stCondLst>
                                        </p:cTn>
                                        <p:tgtEl>
                                          <p:spTgt spid="732"/>
                                        </p:tgtEl>
                                        <p:attrNameLst>
                                          <p:attrName>style.visibility</p:attrName>
                                        </p:attrNameLst>
                                      </p:cBhvr>
                                      <p:to>
                                        <p:strVal val="visible"/>
                                      </p:to>
                                    </p:set>
                                    <p:animEffect transition="in" filter="fade">
                                      <p:cBhvr>
                                        <p:cTn id="93" dur="1000"/>
                                        <p:tgtEl>
                                          <p:spTgt spid="732"/>
                                        </p:tgtEl>
                                      </p:cBhvr>
                                    </p:animEffect>
                                    <p:anim calcmode="lin" valueType="num">
                                      <p:cBhvr>
                                        <p:cTn id="94" dur="1000" fill="hold"/>
                                        <p:tgtEl>
                                          <p:spTgt spid="732"/>
                                        </p:tgtEl>
                                        <p:attrNameLst>
                                          <p:attrName>ppt_x</p:attrName>
                                        </p:attrNameLst>
                                      </p:cBhvr>
                                      <p:tavLst>
                                        <p:tav tm="0">
                                          <p:val>
                                            <p:strVal val="#ppt_x"/>
                                          </p:val>
                                        </p:tav>
                                        <p:tav tm="100000">
                                          <p:val>
                                            <p:strVal val="#ppt_x"/>
                                          </p:val>
                                        </p:tav>
                                      </p:tavLst>
                                    </p:anim>
                                    <p:anim calcmode="lin" valueType="num">
                                      <p:cBhvr>
                                        <p:cTn id="95" dur="1000" fill="hold"/>
                                        <p:tgtEl>
                                          <p:spTgt spid="732"/>
                                        </p:tgtEl>
                                        <p:attrNameLst>
                                          <p:attrName>ppt_y</p:attrName>
                                        </p:attrNameLst>
                                      </p:cBhvr>
                                      <p:tavLst>
                                        <p:tav tm="0">
                                          <p:val>
                                            <p:strVal val="#ppt_y-.1"/>
                                          </p:val>
                                        </p:tav>
                                        <p:tav tm="100000">
                                          <p:val>
                                            <p:strVal val="#ppt_y"/>
                                          </p:val>
                                        </p:tav>
                                      </p:tavLst>
                                    </p:anim>
                                  </p:childTnLst>
                                </p:cTn>
                              </p:par>
                            </p:childTnLst>
                          </p:cTn>
                        </p:par>
                        <p:par>
                          <p:cTn id="96" fill="hold">
                            <p:stCondLst>
                              <p:cond delay="2250"/>
                            </p:stCondLst>
                            <p:childTnLst>
                              <p:par>
                                <p:cTn id="97" presetID="2" presetClass="entr" presetSubtype="1" fill="hold" nodeType="afterEffect">
                                  <p:stCondLst>
                                    <p:cond delay="0"/>
                                  </p:stCondLst>
                                  <p:childTnLst>
                                    <p:set>
                                      <p:cBhvr>
                                        <p:cTn id="98" dur="1" fill="hold">
                                          <p:stCondLst>
                                            <p:cond delay="0"/>
                                          </p:stCondLst>
                                        </p:cTn>
                                        <p:tgtEl>
                                          <p:spTgt spid="833"/>
                                        </p:tgtEl>
                                        <p:attrNameLst>
                                          <p:attrName>style.visibility</p:attrName>
                                        </p:attrNameLst>
                                      </p:cBhvr>
                                      <p:to>
                                        <p:strVal val="visible"/>
                                      </p:to>
                                    </p:set>
                                    <p:anim calcmode="lin" valueType="num">
                                      <p:cBhvr additive="base">
                                        <p:cTn id="99" dur="500" fill="hold"/>
                                        <p:tgtEl>
                                          <p:spTgt spid="833"/>
                                        </p:tgtEl>
                                        <p:attrNameLst>
                                          <p:attrName>ppt_x</p:attrName>
                                        </p:attrNameLst>
                                      </p:cBhvr>
                                      <p:tavLst>
                                        <p:tav tm="0">
                                          <p:val>
                                            <p:strVal val="#ppt_x"/>
                                          </p:val>
                                        </p:tav>
                                        <p:tav tm="100000">
                                          <p:val>
                                            <p:strVal val="#ppt_x"/>
                                          </p:val>
                                        </p:tav>
                                      </p:tavLst>
                                    </p:anim>
                                    <p:anim calcmode="lin" valueType="num">
                                      <p:cBhvr additive="base">
                                        <p:cTn id="100" dur="500" fill="hold"/>
                                        <p:tgtEl>
                                          <p:spTgt spid="833"/>
                                        </p:tgtEl>
                                        <p:attrNameLst>
                                          <p:attrName>ppt_y</p:attrName>
                                        </p:attrNameLst>
                                      </p:cBhvr>
                                      <p:tavLst>
                                        <p:tav tm="0">
                                          <p:val>
                                            <p:strVal val="0-#ppt_h/2"/>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820"/>
                                        </p:tgtEl>
                                        <p:attrNameLst>
                                          <p:attrName>style.visibility</p:attrName>
                                        </p:attrNameLst>
                                      </p:cBhvr>
                                      <p:to>
                                        <p:strVal val="visible"/>
                                      </p:to>
                                    </p:set>
                                    <p:animEffect transition="in" filter="fade">
                                      <p:cBhvr>
                                        <p:cTn id="105" dur="500"/>
                                        <p:tgtEl>
                                          <p:spTgt spid="820"/>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819"/>
                                        </p:tgtEl>
                                        <p:attrNameLst>
                                          <p:attrName>style.visibility</p:attrName>
                                        </p:attrNameLst>
                                      </p:cBhvr>
                                      <p:to>
                                        <p:strVal val="visible"/>
                                      </p:to>
                                    </p:set>
                                    <p:animEffect transition="in" filter="fade">
                                      <p:cBhvr>
                                        <p:cTn id="108" dur="500"/>
                                        <p:tgtEl>
                                          <p:spTgt spid="819"/>
                                        </p:tgtEl>
                                      </p:cBhvr>
                                    </p:animEffect>
                                  </p:childTnLst>
                                </p:cTn>
                              </p:par>
                            </p:childTnLst>
                          </p:cTn>
                        </p:par>
                        <p:par>
                          <p:cTn id="109" fill="hold">
                            <p:stCondLst>
                              <p:cond delay="500"/>
                            </p:stCondLst>
                            <p:childTnLst>
                              <p:par>
                                <p:cTn id="110" presetID="10" presetClass="entr" presetSubtype="0" fill="hold" nodeType="afterEffect">
                                  <p:stCondLst>
                                    <p:cond delay="0"/>
                                  </p:stCondLst>
                                  <p:childTnLst>
                                    <p:set>
                                      <p:cBhvr>
                                        <p:cTn id="111" dur="1" fill="hold">
                                          <p:stCondLst>
                                            <p:cond delay="0"/>
                                          </p:stCondLst>
                                        </p:cTn>
                                        <p:tgtEl>
                                          <p:spTgt spid="826"/>
                                        </p:tgtEl>
                                        <p:attrNameLst>
                                          <p:attrName>style.visibility</p:attrName>
                                        </p:attrNameLst>
                                      </p:cBhvr>
                                      <p:to>
                                        <p:strVal val="visible"/>
                                      </p:to>
                                    </p:set>
                                    <p:animEffect transition="in" filter="fade">
                                      <p:cBhvr>
                                        <p:cTn id="112" dur="500"/>
                                        <p:tgtEl>
                                          <p:spTgt spid="826"/>
                                        </p:tgtEl>
                                      </p:cBhvr>
                                    </p:animEffect>
                                  </p:childTnLst>
                                </p:cTn>
                              </p:par>
                              <p:par>
                                <p:cTn id="113" presetID="8" presetClass="emph" presetSubtype="0" fill="hold" nodeType="withEffect">
                                  <p:stCondLst>
                                    <p:cond delay="0"/>
                                  </p:stCondLst>
                                  <p:childTnLst>
                                    <p:animRot by="21600000">
                                      <p:cBhvr>
                                        <p:cTn id="114" dur="1250" fill="hold"/>
                                        <p:tgtEl>
                                          <p:spTgt spid="826"/>
                                        </p:tgtEl>
                                        <p:attrNameLst>
                                          <p:attrName>r</p:attrName>
                                        </p:attrNameLst>
                                      </p:cBhvr>
                                    </p:animRot>
                                  </p:childTnLst>
                                </p:cTn>
                              </p:par>
                              <p:par>
                                <p:cTn id="115" presetID="10" presetClass="entr" presetSubtype="0" fill="hold" grpId="0" nodeType="withEffect">
                                  <p:stCondLst>
                                    <p:cond delay="1000"/>
                                  </p:stCondLst>
                                  <p:childTnLst>
                                    <p:set>
                                      <p:cBhvr>
                                        <p:cTn id="116" dur="1" fill="hold">
                                          <p:stCondLst>
                                            <p:cond delay="0"/>
                                          </p:stCondLst>
                                        </p:cTn>
                                        <p:tgtEl>
                                          <p:spTgt spid="830"/>
                                        </p:tgtEl>
                                        <p:attrNameLst>
                                          <p:attrName>style.visibility</p:attrName>
                                        </p:attrNameLst>
                                      </p:cBhvr>
                                      <p:to>
                                        <p:strVal val="visible"/>
                                      </p:to>
                                    </p:set>
                                    <p:animEffect transition="in" filter="fade">
                                      <p:cBhvr>
                                        <p:cTn id="117" dur="500"/>
                                        <p:tgtEl>
                                          <p:spTgt spid="830"/>
                                        </p:tgtEl>
                                      </p:cBhvr>
                                    </p:animEffect>
                                  </p:childTnLst>
                                </p:cTn>
                              </p:par>
                            </p:childTnLst>
                          </p:cTn>
                        </p:par>
                        <p:par>
                          <p:cTn id="118" fill="hold">
                            <p:stCondLst>
                              <p:cond delay="2000"/>
                            </p:stCondLst>
                            <p:childTnLst>
                              <p:par>
                                <p:cTn id="119" presetID="10" presetClass="entr" presetSubtype="0" fill="hold" nodeType="afterEffect">
                                  <p:stCondLst>
                                    <p:cond delay="0"/>
                                  </p:stCondLst>
                                  <p:childTnLst>
                                    <p:set>
                                      <p:cBhvr>
                                        <p:cTn id="120" dur="1" fill="hold">
                                          <p:stCondLst>
                                            <p:cond delay="0"/>
                                          </p:stCondLst>
                                        </p:cTn>
                                        <p:tgtEl>
                                          <p:spTgt spid="720"/>
                                        </p:tgtEl>
                                        <p:attrNameLst>
                                          <p:attrName>style.visibility</p:attrName>
                                        </p:attrNameLst>
                                      </p:cBhvr>
                                      <p:to>
                                        <p:strVal val="visible"/>
                                      </p:to>
                                    </p:set>
                                    <p:animEffect transition="in" filter="fade">
                                      <p:cBhvr>
                                        <p:cTn id="121" dur="1000"/>
                                        <p:tgtEl>
                                          <p:spTgt spid="720"/>
                                        </p:tgtEl>
                                      </p:cBhvr>
                                    </p:animEffect>
                                  </p:childTnLst>
                                </p:cTn>
                              </p:par>
                              <p:par>
                                <p:cTn id="122" presetID="63" presetClass="path" presetSubtype="0" accel="50000" decel="50000" fill="hold" nodeType="withEffect">
                                  <p:stCondLst>
                                    <p:cond delay="0"/>
                                  </p:stCondLst>
                                  <p:childTnLst>
                                    <p:animMotion origin="layout" path="M -0.09766 -2.96296E-6 L -1.04167E-6 -2.96296E-6 " pathEditMode="relative" rAng="0" ptsTypes="AA">
                                      <p:cBhvr>
                                        <p:cTn id="123" dur="1500" fill="hold"/>
                                        <p:tgtEl>
                                          <p:spTgt spid="720"/>
                                        </p:tgtEl>
                                        <p:attrNameLst>
                                          <p:attrName>ppt_x</p:attrName>
                                          <p:attrName>ppt_y</p:attrName>
                                        </p:attrNameLst>
                                      </p:cBhvr>
                                      <p:rCtr x="4883" y="0"/>
                                    </p:animMotion>
                                  </p:childTnLst>
                                </p:cTn>
                              </p:par>
                              <p:par>
                                <p:cTn id="124" presetID="10" presetClass="entr" presetSubtype="0" fill="hold" grpId="0" nodeType="withEffect">
                                  <p:stCondLst>
                                    <p:cond delay="1000"/>
                                  </p:stCondLst>
                                  <p:childTnLst>
                                    <p:set>
                                      <p:cBhvr>
                                        <p:cTn id="125" dur="1" fill="hold">
                                          <p:stCondLst>
                                            <p:cond delay="0"/>
                                          </p:stCondLst>
                                        </p:cTn>
                                        <p:tgtEl>
                                          <p:spTgt spid="851"/>
                                        </p:tgtEl>
                                        <p:attrNameLst>
                                          <p:attrName>style.visibility</p:attrName>
                                        </p:attrNameLst>
                                      </p:cBhvr>
                                      <p:to>
                                        <p:strVal val="visible"/>
                                      </p:to>
                                    </p:set>
                                    <p:animEffect transition="in" filter="fade">
                                      <p:cBhvr>
                                        <p:cTn id="126" dur="500"/>
                                        <p:tgtEl>
                                          <p:spTgt spid="851"/>
                                        </p:tgtEl>
                                      </p:cBhvr>
                                    </p:animEffect>
                                  </p:childTnLst>
                                </p:cTn>
                              </p:par>
                            </p:childTnLst>
                          </p:cTn>
                        </p:par>
                      </p:childTnLst>
                    </p:cTn>
                  </p:par>
                  <p:par>
                    <p:cTn id="127" fill="hold">
                      <p:stCondLst>
                        <p:cond delay="indefinite"/>
                      </p:stCondLst>
                      <p:childTnLst>
                        <p:par>
                          <p:cTn id="128" fill="hold">
                            <p:stCondLst>
                              <p:cond delay="0"/>
                            </p:stCondLst>
                            <p:childTnLst>
                              <p:par>
                                <p:cTn id="129" presetID="22" presetClass="entr" presetSubtype="8" fill="hold" grpId="0" nodeType="clickEffect">
                                  <p:stCondLst>
                                    <p:cond delay="0"/>
                                  </p:stCondLst>
                                  <p:childTnLst>
                                    <p:set>
                                      <p:cBhvr>
                                        <p:cTn id="130" dur="1" fill="hold">
                                          <p:stCondLst>
                                            <p:cond delay="0"/>
                                          </p:stCondLst>
                                        </p:cTn>
                                        <p:tgtEl>
                                          <p:spTgt spid="636"/>
                                        </p:tgtEl>
                                        <p:attrNameLst>
                                          <p:attrName>style.visibility</p:attrName>
                                        </p:attrNameLst>
                                      </p:cBhvr>
                                      <p:to>
                                        <p:strVal val="visible"/>
                                      </p:to>
                                    </p:set>
                                    <p:animEffect transition="in" filter="wipe(left)">
                                      <p:cBhvr>
                                        <p:cTn id="131" dur="500"/>
                                        <p:tgtEl>
                                          <p:spTgt spid="636"/>
                                        </p:tgtEl>
                                      </p:cBhvr>
                                    </p:animEffect>
                                  </p:childTnLst>
                                </p:cTn>
                              </p:par>
                              <p:par>
                                <p:cTn id="132" presetID="22" presetClass="entr" presetSubtype="8" fill="hold" grpId="0" nodeType="withEffect">
                                  <p:stCondLst>
                                    <p:cond delay="0"/>
                                  </p:stCondLst>
                                  <p:childTnLst>
                                    <p:set>
                                      <p:cBhvr>
                                        <p:cTn id="133" dur="1" fill="hold">
                                          <p:stCondLst>
                                            <p:cond delay="0"/>
                                          </p:stCondLst>
                                        </p:cTn>
                                        <p:tgtEl>
                                          <p:spTgt spid="637"/>
                                        </p:tgtEl>
                                        <p:attrNameLst>
                                          <p:attrName>style.visibility</p:attrName>
                                        </p:attrNameLst>
                                      </p:cBhvr>
                                      <p:to>
                                        <p:strVal val="visible"/>
                                      </p:to>
                                    </p:set>
                                    <p:animEffect transition="in" filter="wipe(left)">
                                      <p:cBhvr>
                                        <p:cTn id="134" dur="500"/>
                                        <p:tgtEl>
                                          <p:spTgt spid="637"/>
                                        </p:tgtEl>
                                      </p:cBhvr>
                                    </p:animEffect>
                                  </p:childTnLst>
                                </p:cTn>
                              </p:par>
                              <p:par>
                                <p:cTn id="135" presetID="22" presetClass="entr" presetSubtype="8" fill="hold" grpId="0" nodeType="withEffect">
                                  <p:stCondLst>
                                    <p:cond delay="0"/>
                                  </p:stCondLst>
                                  <p:childTnLst>
                                    <p:set>
                                      <p:cBhvr>
                                        <p:cTn id="136" dur="1" fill="hold">
                                          <p:stCondLst>
                                            <p:cond delay="0"/>
                                          </p:stCondLst>
                                        </p:cTn>
                                        <p:tgtEl>
                                          <p:spTgt spid="852"/>
                                        </p:tgtEl>
                                        <p:attrNameLst>
                                          <p:attrName>style.visibility</p:attrName>
                                        </p:attrNameLst>
                                      </p:cBhvr>
                                      <p:to>
                                        <p:strVal val="visible"/>
                                      </p:to>
                                    </p:set>
                                    <p:animEffect transition="in" filter="wipe(left)">
                                      <p:cBhvr>
                                        <p:cTn id="137" dur="500"/>
                                        <p:tgtEl>
                                          <p:spTgt spid="852"/>
                                        </p:tgtEl>
                                      </p:cBhvr>
                                    </p:animEffect>
                                  </p:childTnLst>
                                </p:cTn>
                              </p:par>
                              <p:par>
                                <p:cTn id="138" presetID="21" presetClass="entr" presetSubtype="8" fill="hold" grpId="0" nodeType="withEffect">
                                  <p:stCondLst>
                                    <p:cond delay="0"/>
                                  </p:stCondLst>
                                  <p:childTnLst>
                                    <p:set>
                                      <p:cBhvr>
                                        <p:cTn id="139" dur="1" fill="hold">
                                          <p:stCondLst>
                                            <p:cond delay="0"/>
                                          </p:stCondLst>
                                        </p:cTn>
                                        <p:tgtEl>
                                          <p:spTgt spid="831"/>
                                        </p:tgtEl>
                                        <p:attrNameLst>
                                          <p:attrName>style.visibility</p:attrName>
                                        </p:attrNameLst>
                                      </p:cBhvr>
                                      <p:to>
                                        <p:strVal val="visible"/>
                                      </p:to>
                                    </p:set>
                                    <p:animEffect transition="in" filter="wheel(8)">
                                      <p:cBhvr>
                                        <p:cTn id="140" dur="500"/>
                                        <p:tgtEl>
                                          <p:spTgt spid="831"/>
                                        </p:tgtEl>
                                      </p:cBhvr>
                                    </p:animEffect>
                                  </p:childTnLst>
                                </p:cTn>
                              </p:par>
                              <p:par>
                                <p:cTn id="141" presetID="8" presetClass="emph" presetSubtype="0" fill="hold" grpId="1" nodeType="withEffect">
                                  <p:stCondLst>
                                    <p:cond delay="0"/>
                                  </p:stCondLst>
                                  <p:childTnLst>
                                    <p:animRot by="21600000">
                                      <p:cBhvr>
                                        <p:cTn id="142" dur="3000" fill="hold"/>
                                        <p:tgtEl>
                                          <p:spTgt spid="831"/>
                                        </p:tgtEl>
                                        <p:attrNameLst>
                                          <p:attrName>r</p:attrName>
                                        </p:attrNameLst>
                                      </p:cBhvr>
                                    </p:animRot>
                                  </p:childTnLst>
                                </p:cTn>
                              </p:par>
                              <p:par>
                                <p:cTn id="143" presetID="10" presetClass="entr" presetSubtype="0" fill="hold" grpId="0" nodeType="withEffect">
                                  <p:stCondLst>
                                    <p:cond delay="0"/>
                                  </p:stCondLst>
                                  <p:childTnLst>
                                    <p:set>
                                      <p:cBhvr>
                                        <p:cTn id="144" dur="1" fill="hold">
                                          <p:stCondLst>
                                            <p:cond delay="0"/>
                                          </p:stCondLst>
                                        </p:cTn>
                                        <p:tgtEl>
                                          <p:spTgt spid="676"/>
                                        </p:tgtEl>
                                        <p:attrNameLst>
                                          <p:attrName>style.visibility</p:attrName>
                                        </p:attrNameLst>
                                      </p:cBhvr>
                                      <p:to>
                                        <p:strVal val="visible"/>
                                      </p:to>
                                    </p:set>
                                    <p:animEffect transition="in" filter="fade">
                                      <p:cBhvr>
                                        <p:cTn id="145" dur="500"/>
                                        <p:tgtEl>
                                          <p:spTgt spid="676"/>
                                        </p:tgtEl>
                                      </p:cBhvr>
                                    </p:animEffect>
                                  </p:childTnLst>
                                </p:cTn>
                              </p:par>
                              <p:par>
                                <p:cTn id="146" presetID="10" presetClass="entr" presetSubtype="0" fill="hold" nodeType="withEffect">
                                  <p:stCondLst>
                                    <p:cond delay="500"/>
                                  </p:stCondLst>
                                  <p:childTnLst>
                                    <p:set>
                                      <p:cBhvr>
                                        <p:cTn id="147" dur="1" fill="hold">
                                          <p:stCondLst>
                                            <p:cond delay="0"/>
                                          </p:stCondLst>
                                        </p:cTn>
                                        <p:tgtEl>
                                          <p:spTgt spid="4"/>
                                        </p:tgtEl>
                                        <p:attrNameLst>
                                          <p:attrName>style.visibility</p:attrName>
                                        </p:attrNameLst>
                                      </p:cBhvr>
                                      <p:to>
                                        <p:strVal val="visible"/>
                                      </p:to>
                                    </p:set>
                                    <p:animEffect transition="in" filter="fade">
                                      <p:cBhvr>
                                        <p:cTn id="148" dur="250"/>
                                        <p:tgtEl>
                                          <p:spTgt spid="4"/>
                                        </p:tgtEl>
                                      </p:cBhvr>
                                    </p:animEffect>
                                  </p:childTnLst>
                                </p:cTn>
                              </p:par>
                              <p:par>
                                <p:cTn id="149" presetID="10" presetClass="entr" presetSubtype="0" fill="hold" grpId="0" nodeType="withEffect">
                                  <p:stCondLst>
                                    <p:cond delay="500"/>
                                  </p:stCondLst>
                                  <p:childTnLst>
                                    <p:set>
                                      <p:cBhvr>
                                        <p:cTn id="150" dur="1" fill="hold">
                                          <p:stCondLst>
                                            <p:cond delay="0"/>
                                          </p:stCondLst>
                                        </p:cTn>
                                        <p:tgtEl>
                                          <p:spTgt spid="644"/>
                                        </p:tgtEl>
                                        <p:attrNameLst>
                                          <p:attrName>style.visibility</p:attrName>
                                        </p:attrNameLst>
                                      </p:cBhvr>
                                      <p:to>
                                        <p:strVal val="visible"/>
                                      </p:to>
                                    </p:set>
                                    <p:animEffect transition="in" filter="fade">
                                      <p:cBhvr>
                                        <p:cTn id="151" dur="250"/>
                                        <p:tgtEl>
                                          <p:spTgt spid="644"/>
                                        </p:tgtEl>
                                      </p:cBhvr>
                                    </p:animEffect>
                                  </p:childTnLst>
                                </p:cTn>
                              </p:par>
                              <p:par>
                                <p:cTn id="152" presetID="10" presetClass="entr" presetSubtype="0" fill="hold" nodeType="withEffect">
                                  <p:stCondLst>
                                    <p:cond delay="500"/>
                                  </p:stCondLst>
                                  <p:childTnLst>
                                    <p:set>
                                      <p:cBhvr>
                                        <p:cTn id="153" dur="1" fill="hold">
                                          <p:stCondLst>
                                            <p:cond delay="0"/>
                                          </p:stCondLst>
                                        </p:cTn>
                                        <p:tgtEl>
                                          <p:spTgt spid="668"/>
                                        </p:tgtEl>
                                        <p:attrNameLst>
                                          <p:attrName>style.visibility</p:attrName>
                                        </p:attrNameLst>
                                      </p:cBhvr>
                                      <p:to>
                                        <p:strVal val="visible"/>
                                      </p:to>
                                    </p:set>
                                    <p:animEffect transition="in" filter="fade">
                                      <p:cBhvr>
                                        <p:cTn id="154" dur="250"/>
                                        <p:tgtEl>
                                          <p:spTgt spid="668"/>
                                        </p:tgtEl>
                                      </p:cBhvr>
                                    </p:animEffect>
                                  </p:childTnLst>
                                </p:cTn>
                              </p:par>
                              <p:par>
                                <p:cTn id="155" presetID="10" presetClass="entr" presetSubtype="0" fill="hold" grpId="0" nodeType="withEffect">
                                  <p:stCondLst>
                                    <p:cond delay="500"/>
                                  </p:stCondLst>
                                  <p:childTnLst>
                                    <p:set>
                                      <p:cBhvr>
                                        <p:cTn id="156" dur="1" fill="hold">
                                          <p:stCondLst>
                                            <p:cond delay="0"/>
                                          </p:stCondLst>
                                        </p:cTn>
                                        <p:tgtEl>
                                          <p:spTgt spid="667"/>
                                        </p:tgtEl>
                                        <p:attrNameLst>
                                          <p:attrName>style.visibility</p:attrName>
                                        </p:attrNameLst>
                                      </p:cBhvr>
                                      <p:to>
                                        <p:strVal val="visible"/>
                                      </p:to>
                                    </p:set>
                                    <p:animEffect transition="in" filter="fade">
                                      <p:cBhvr>
                                        <p:cTn id="157" dur="250"/>
                                        <p:tgtEl>
                                          <p:spTgt spid="667"/>
                                        </p:tgtEl>
                                      </p:cBhvr>
                                    </p:animEffect>
                                  </p:childTnLst>
                                </p:cTn>
                              </p:par>
                              <p:par>
                                <p:cTn id="158" presetID="10" presetClass="entr" presetSubtype="0" fill="hold" nodeType="withEffect">
                                  <p:stCondLst>
                                    <p:cond delay="750"/>
                                  </p:stCondLst>
                                  <p:childTnLst>
                                    <p:set>
                                      <p:cBhvr>
                                        <p:cTn id="159" dur="1" fill="hold">
                                          <p:stCondLst>
                                            <p:cond delay="0"/>
                                          </p:stCondLst>
                                        </p:cTn>
                                        <p:tgtEl>
                                          <p:spTgt spid="639"/>
                                        </p:tgtEl>
                                        <p:attrNameLst>
                                          <p:attrName>style.visibility</p:attrName>
                                        </p:attrNameLst>
                                      </p:cBhvr>
                                      <p:to>
                                        <p:strVal val="visible"/>
                                      </p:to>
                                    </p:set>
                                    <p:animEffect transition="in" filter="fade">
                                      <p:cBhvr>
                                        <p:cTn id="160" dur="250"/>
                                        <p:tgtEl>
                                          <p:spTgt spid="639"/>
                                        </p:tgtEl>
                                      </p:cBhvr>
                                    </p:animEffect>
                                  </p:childTnLst>
                                </p:cTn>
                              </p:par>
                              <p:par>
                                <p:cTn id="161" presetID="10" presetClass="entr" presetSubtype="0" fill="hold" grpId="0" nodeType="withEffect">
                                  <p:stCondLst>
                                    <p:cond delay="750"/>
                                  </p:stCondLst>
                                  <p:childTnLst>
                                    <p:set>
                                      <p:cBhvr>
                                        <p:cTn id="162" dur="1" fill="hold">
                                          <p:stCondLst>
                                            <p:cond delay="0"/>
                                          </p:stCondLst>
                                        </p:cTn>
                                        <p:tgtEl>
                                          <p:spTgt spid="638"/>
                                        </p:tgtEl>
                                        <p:attrNameLst>
                                          <p:attrName>style.visibility</p:attrName>
                                        </p:attrNameLst>
                                      </p:cBhvr>
                                      <p:to>
                                        <p:strVal val="visible"/>
                                      </p:to>
                                    </p:set>
                                    <p:animEffect transition="in" filter="fade">
                                      <p:cBhvr>
                                        <p:cTn id="163" dur="250"/>
                                        <p:tgtEl>
                                          <p:spTgt spid="638"/>
                                        </p:tgtEl>
                                      </p:cBhvr>
                                    </p:animEffect>
                                  </p:childTnLst>
                                </p:cTn>
                              </p:par>
                              <p:par>
                                <p:cTn id="164" presetID="10" presetClass="entr" presetSubtype="0" fill="hold" nodeType="withEffect">
                                  <p:stCondLst>
                                    <p:cond delay="1000"/>
                                  </p:stCondLst>
                                  <p:childTnLst>
                                    <p:set>
                                      <p:cBhvr>
                                        <p:cTn id="165" dur="1" fill="hold">
                                          <p:stCondLst>
                                            <p:cond delay="0"/>
                                          </p:stCondLst>
                                        </p:cTn>
                                        <p:tgtEl>
                                          <p:spTgt spid="657"/>
                                        </p:tgtEl>
                                        <p:attrNameLst>
                                          <p:attrName>style.visibility</p:attrName>
                                        </p:attrNameLst>
                                      </p:cBhvr>
                                      <p:to>
                                        <p:strVal val="visible"/>
                                      </p:to>
                                    </p:set>
                                    <p:animEffect transition="in" filter="fade">
                                      <p:cBhvr>
                                        <p:cTn id="166" dur="250"/>
                                        <p:tgtEl>
                                          <p:spTgt spid="657"/>
                                        </p:tgtEl>
                                      </p:cBhvr>
                                    </p:animEffect>
                                  </p:childTnLst>
                                </p:cTn>
                              </p:par>
                              <p:par>
                                <p:cTn id="167" presetID="10" presetClass="entr" presetSubtype="0" fill="hold" grpId="0" nodeType="withEffect">
                                  <p:stCondLst>
                                    <p:cond delay="1000"/>
                                  </p:stCondLst>
                                  <p:childTnLst>
                                    <p:set>
                                      <p:cBhvr>
                                        <p:cTn id="168" dur="1" fill="hold">
                                          <p:stCondLst>
                                            <p:cond delay="0"/>
                                          </p:stCondLst>
                                        </p:cTn>
                                        <p:tgtEl>
                                          <p:spTgt spid="656"/>
                                        </p:tgtEl>
                                        <p:attrNameLst>
                                          <p:attrName>style.visibility</p:attrName>
                                        </p:attrNameLst>
                                      </p:cBhvr>
                                      <p:to>
                                        <p:strVal val="visible"/>
                                      </p:to>
                                    </p:set>
                                    <p:animEffect transition="in" filter="fade">
                                      <p:cBhvr>
                                        <p:cTn id="169" dur="250"/>
                                        <p:tgtEl>
                                          <p:spTgt spid="656"/>
                                        </p:tgtEl>
                                      </p:cBhvr>
                                    </p:animEffect>
                                  </p:childTnLst>
                                </p:cTn>
                              </p:par>
                              <p:par>
                                <p:cTn id="170" presetID="10" presetClass="entr" presetSubtype="0" fill="hold" nodeType="withEffect">
                                  <p:stCondLst>
                                    <p:cond delay="1250"/>
                                  </p:stCondLst>
                                  <p:childTnLst>
                                    <p:set>
                                      <p:cBhvr>
                                        <p:cTn id="171" dur="1" fill="hold">
                                          <p:stCondLst>
                                            <p:cond delay="0"/>
                                          </p:stCondLst>
                                        </p:cTn>
                                        <p:tgtEl>
                                          <p:spTgt spid="651"/>
                                        </p:tgtEl>
                                        <p:attrNameLst>
                                          <p:attrName>style.visibility</p:attrName>
                                        </p:attrNameLst>
                                      </p:cBhvr>
                                      <p:to>
                                        <p:strVal val="visible"/>
                                      </p:to>
                                    </p:set>
                                    <p:animEffect transition="in" filter="fade">
                                      <p:cBhvr>
                                        <p:cTn id="172" dur="250"/>
                                        <p:tgtEl>
                                          <p:spTgt spid="651"/>
                                        </p:tgtEl>
                                      </p:cBhvr>
                                    </p:animEffect>
                                  </p:childTnLst>
                                </p:cTn>
                              </p:par>
                              <p:par>
                                <p:cTn id="173" presetID="10" presetClass="entr" presetSubtype="0" fill="hold" grpId="0" nodeType="withEffect">
                                  <p:stCondLst>
                                    <p:cond delay="1250"/>
                                  </p:stCondLst>
                                  <p:childTnLst>
                                    <p:set>
                                      <p:cBhvr>
                                        <p:cTn id="174" dur="1" fill="hold">
                                          <p:stCondLst>
                                            <p:cond delay="0"/>
                                          </p:stCondLst>
                                        </p:cTn>
                                        <p:tgtEl>
                                          <p:spTgt spid="650"/>
                                        </p:tgtEl>
                                        <p:attrNameLst>
                                          <p:attrName>style.visibility</p:attrName>
                                        </p:attrNameLst>
                                      </p:cBhvr>
                                      <p:to>
                                        <p:strVal val="visible"/>
                                      </p:to>
                                    </p:set>
                                    <p:animEffect transition="in" filter="fade">
                                      <p:cBhvr>
                                        <p:cTn id="175" dur="250"/>
                                        <p:tgtEl>
                                          <p:spTgt spid="650"/>
                                        </p:tgtEl>
                                      </p:cBhvr>
                                    </p:animEffect>
                                  </p:childTnLst>
                                </p:cTn>
                              </p:par>
                            </p:childTnLst>
                          </p:cTn>
                        </p:par>
                        <p:par>
                          <p:cTn id="176" fill="hold">
                            <p:stCondLst>
                              <p:cond delay="3000"/>
                            </p:stCondLst>
                            <p:childTnLst>
                              <p:par>
                                <p:cTn id="177" presetID="10" presetClass="entr" presetSubtype="0" fill="hold" nodeType="afterEffect">
                                  <p:stCondLst>
                                    <p:cond delay="0"/>
                                  </p:stCondLst>
                                  <p:childTnLst>
                                    <p:set>
                                      <p:cBhvr>
                                        <p:cTn id="178" dur="1" fill="hold">
                                          <p:stCondLst>
                                            <p:cond delay="0"/>
                                          </p:stCondLst>
                                        </p:cTn>
                                        <p:tgtEl>
                                          <p:spTgt spid="3"/>
                                        </p:tgtEl>
                                        <p:attrNameLst>
                                          <p:attrName>style.visibility</p:attrName>
                                        </p:attrNameLst>
                                      </p:cBhvr>
                                      <p:to>
                                        <p:strVal val="visible"/>
                                      </p:to>
                                    </p:set>
                                    <p:animEffect transition="in" filter="fade">
                                      <p:cBhvr>
                                        <p:cTn id="179" dur="500"/>
                                        <p:tgtEl>
                                          <p:spTgt spid="3"/>
                                        </p:tgtEl>
                                      </p:cBhvr>
                                    </p:animEffect>
                                  </p:childTnLst>
                                </p:cTn>
                              </p:par>
                              <p:par>
                                <p:cTn id="180" presetID="10" presetClass="entr" presetSubtype="0" fill="hold" nodeType="withEffect">
                                  <p:stCondLst>
                                    <p:cond delay="0"/>
                                  </p:stCondLst>
                                  <p:childTnLst>
                                    <p:set>
                                      <p:cBhvr>
                                        <p:cTn id="181" dur="1" fill="hold">
                                          <p:stCondLst>
                                            <p:cond delay="0"/>
                                          </p:stCondLst>
                                        </p:cTn>
                                        <p:tgtEl>
                                          <p:spTgt spid="229"/>
                                        </p:tgtEl>
                                        <p:attrNameLst>
                                          <p:attrName>style.visibility</p:attrName>
                                        </p:attrNameLst>
                                      </p:cBhvr>
                                      <p:to>
                                        <p:strVal val="visible"/>
                                      </p:to>
                                    </p:set>
                                    <p:animEffect transition="in" filter="fade">
                                      <p:cBhvr>
                                        <p:cTn id="182" dur="500"/>
                                        <p:tgtEl>
                                          <p:spTgt spid="229"/>
                                        </p:tgtEl>
                                      </p:cBhvr>
                                    </p:animEffect>
                                  </p:childTnLst>
                                </p:cTn>
                              </p:par>
                              <p:par>
                                <p:cTn id="183" presetID="10" presetClass="entr" presetSubtype="0" fill="hold" nodeType="withEffect">
                                  <p:stCondLst>
                                    <p:cond delay="0"/>
                                  </p:stCondLst>
                                  <p:childTnLst>
                                    <p:set>
                                      <p:cBhvr>
                                        <p:cTn id="184" dur="1" fill="hold">
                                          <p:stCondLst>
                                            <p:cond delay="0"/>
                                          </p:stCondLst>
                                        </p:cTn>
                                        <p:tgtEl>
                                          <p:spTgt spid="232"/>
                                        </p:tgtEl>
                                        <p:attrNameLst>
                                          <p:attrName>style.visibility</p:attrName>
                                        </p:attrNameLst>
                                      </p:cBhvr>
                                      <p:to>
                                        <p:strVal val="visible"/>
                                      </p:to>
                                    </p:set>
                                    <p:animEffect transition="in" filter="fade">
                                      <p:cBhvr>
                                        <p:cTn id="185" dur="500"/>
                                        <p:tgtEl>
                                          <p:spTgt spid="232"/>
                                        </p:tgtEl>
                                      </p:cBhvr>
                                    </p:animEffect>
                                  </p:childTnLst>
                                </p:cTn>
                              </p:par>
                              <p:par>
                                <p:cTn id="186" presetID="22" presetClass="entr" presetSubtype="8" fill="hold" grpId="0" nodeType="withEffect">
                                  <p:stCondLst>
                                    <p:cond delay="0"/>
                                  </p:stCondLst>
                                  <p:childTnLst>
                                    <p:set>
                                      <p:cBhvr>
                                        <p:cTn id="187" dur="1" fill="hold">
                                          <p:stCondLst>
                                            <p:cond delay="0"/>
                                          </p:stCondLst>
                                        </p:cTn>
                                        <p:tgtEl>
                                          <p:spTgt spid="438"/>
                                        </p:tgtEl>
                                        <p:attrNameLst>
                                          <p:attrName>style.visibility</p:attrName>
                                        </p:attrNameLst>
                                      </p:cBhvr>
                                      <p:to>
                                        <p:strVal val="visible"/>
                                      </p:to>
                                    </p:set>
                                    <p:animEffect transition="in" filter="wipe(left)">
                                      <p:cBhvr>
                                        <p:cTn id="188" dur="500"/>
                                        <p:tgtEl>
                                          <p:spTgt spid="438"/>
                                        </p:tgtEl>
                                      </p:cBhvr>
                                    </p:animEffect>
                                  </p:childTnLst>
                                </p:cTn>
                              </p:par>
                            </p:childTnLst>
                          </p:cTn>
                        </p:par>
                        <p:par>
                          <p:cTn id="189" fill="hold">
                            <p:stCondLst>
                              <p:cond delay="3500"/>
                            </p:stCondLst>
                            <p:childTnLst>
                              <p:par>
                                <p:cTn id="190" presetID="10" presetClass="entr" presetSubtype="0" fill="hold" nodeType="afterEffect">
                                  <p:stCondLst>
                                    <p:cond delay="0"/>
                                  </p:stCondLst>
                                  <p:childTnLst>
                                    <p:set>
                                      <p:cBhvr>
                                        <p:cTn id="191" dur="1" fill="hold">
                                          <p:stCondLst>
                                            <p:cond delay="0"/>
                                          </p:stCondLst>
                                        </p:cTn>
                                        <p:tgtEl>
                                          <p:spTgt spid="269"/>
                                        </p:tgtEl>
                                        <p:attrNameLst>
                                          <p:attrName>style.visibility</p:attrName>
                                        </p:attrNameLst>
                                      </p:cBhvr>
                                      <p:to>
                                        <p:strVal val="visible"/>
                                      </p:to>
                                    </p:set>
                                    <p:animEffect transition="in" filter="fade">
                                      <p:cBhvr>
                                        <p:cTn id="192" dur="500"/>
                                        <p:tgtEl>
                                          <p:spTgt spid="2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8" grpId="0" animBg="1"/>
      <p:bldP spid="369" grpId="0" animBg="1"/>
      <p:bldP spid="387" grpId="0" animBg="1"/>
      <p:bldP spid="336" grpId="0" animBg="1"/>
      <p:bldP spid="407" grpId="0" animBg="1"/>
      <p:bldP spid="636" grpId="0" animBg="1"/>
      <p:bldP spid="637" grpId="0" animBg="1"/>
      <p:bldP spid="638" grpId="0"/>
      <p:bldP spid="644" grpId="0"/>
      <p:bldP spid="650" grpId="0"/>
      <p:bldP spid="656" grpId="0"/>
      <p:bldP spid="667" grpId="0"/>
      <p:bldP spid="676" grpId="0"/>
      <p:bldP spid="694" grpId="0" animBg="1"/>
      <p:bldP spid="719" grpId="0" animBg="1"/>
      <p:bldP spid="732" grpId="0" animBg="1"/>
      <p:bldP spid="733" grpId="0"/>
      <p:bldP spid="734" grpId="0"/>
      <p:bldP spid="735" grpId="0"/>
      <p:bldP spid="736" grpId="0"/>
      <p:bldP spid="745" grpId="0"/>
      <p:bldP spid="819" grpId="0"/>
      <p:bldP spid="830" grpId="0"/>
      <p:bldP spid="831" grpId="0" animBg="1"/>
      <p:bldP spid="831" grpId="1" animBg="1"/>
      <p:bldP spid="832" grpId="0" animBg="1"/>
      <p:bldP spid="851" grpId="0"/>
      <p:bldP spid="85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288"/>
            <a:ext cx="7886700" cy="415498"/>
          </a:xfrm>
        </p:spPr>
        <p:txBody>
          <a:bodyPr/>
          <a:lstStyle/>
          <a:p>
            <a:r>
              <a:rPr lang="en-US" dirty="0"/>
              <a:t>Contoso Identity Logical Configuration</a:t>
            </a:r>
          </a:p>
        </p:txBody>
      </p:sp>
      <p:grpSp>
        <p:nvGrpSpPr>
          <p:cNvPr id="16" name="Group 15">
            <a:extLst>
              <a:ext uri="{FF2B5EF4-FFF2-40B4-BE49-F238E27FC236}">
                <a16:creationId xmlns:a16="http://schemas.microsoft.com/office/drawing/2014/main" id="{9D84C76E-5329-4C37-9BED-A81ECDDDA44B}"/>
              </a:ext>
            </a:extLst>
          </p:cNvPr>
          <p:cNvGrpSpPr/>
          <p:nvPr/>
        </p:nvGrpSpPr>
        <p:grpSpPr>
          <a:xfrm>
            <a:off x="4800688" y="3082940"/>
            <a:ext cx="1544975" cy="693243"/>
            <a:chOff x="6400924" y="4110582"/>
            <a:chExt cx="2059968" cy="924323"/>
          </a:xfrm>
        </p:grpSpPr>
        <p:cxnSp>
          <p:nvCxnSpPr>
            <p:cNvPr id="75" name="Straight Arrow Connector 74"/>
            <p:cNvCxnSpPr>
              <a:cxnSpLocks/>
            </p:cNvCxnSpPr>
            <p:nvPr/>
          </p:nvCxnSpPr>
          <p:spPr>
            <a:xfrm flipH="1">
              <a:off x="6650001" y="4110582"/>
              <a:ext cx="1393205"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6400924" y="4188178"/>
              <a:ext cx="2059968" cy="846727"/>
            </a:xfrm>
            <a:prstGeom prst="rect">
              <a:avLst/>
            </a:prstGeom>
            <a:noFill/>
          </p:spPr>
          <p:txBody>
            <a:bodyPr wrap="none" lIns="137160" tIns="109728" rIns="137160" bIns="109728" rtlCol="0">
              <a:spAutoFit/>
            </a:bodyPr>
            <a:lstStyle/>
            <a:p>
              <a:pPr marL="0" marR="0" lvl="0" indent="0" algn="l" defTabSz="699557" rtl="0" eaLnBrk="1" fontAlgn="auto" latinLnBrk="0" hangingPunct="1">
                <a:lnSpc>
                  <a:spcPct val="90000"/>
                </a:lnSpc>
                <a:spcBef>
                  <a:spcPts val="0"/>
                </a:spcBef>
                <a:spcAft>
                  <a:spcPts val="150"/>
                </a:spcAft>
                <a:buClrTx/>
                <a:buSzTx/>
                <a:buFontTx/>
                <a:buNone/>
                <a:tabLst/>
                <a:defRPr/>
              </a:pPr>
              <a:r>
                <a:rPr kumimoji="0" lang="en-US" sz="1400" b="0" i="0" u="none" strike="noStrike" kern="1200" cap="none" spc="0" normalizeH="0" baseline="0" noProof="0" dirty="0">
                  <a:ln>
                    <a:noFill/>
                  </a:ln>
                  <a:solidFill>
                    <a:srgbClr val="5F5F5F"/>
                  </a:solidFill>
                  <a:effectLst/>
                  <a:uLnTx/>
                  <a:uFillTx/>
                  <a:latin typeface="Segoe UI"/>
                  <a:ea typeface="+mn-ea"/>
                  <a:cs typeface="+mn-cs"/>
                </a:rPr>
                <a:t>Authentication</a:t>
              </a:r>
            </a:p>
            <a:p>
              <a:pPr marL="0" marR="0" lvl="0" indent="0" algn="l" defTabSz="699557" rtl="0" eaLnBrk="1" fontAlgn="auto" latinLnBrk="0" hangingPunct="1">
                <a:lnSpc>
                  <a:spcPct val="90000"/>
                </a:lnSpc>
                <a:spcBef>
                  <a:spcPts val="0"/>
                </a:spcBef>
                <a:spcAft>
                  <a:spcPts val="150"/>
                </a:spcAft>
                <a:buClrTx/>
                <a:buSzTx/>
                <a:buFontTx/>
                <a:buNone/>
                <a:tabLst/>
                <a:defRPr/>
              </a:pPr>
              <a:r>
                <a:rPr kumimoji="0" lang="en-US" sz="1400" b="0" i="0" u="none" strike="noStrike" kern="1200" cap="none" spc="0" normalizeH="0" baseline="0" noProof="0" dirty="0">
                  <a:ln>
                    <a:noFill/>
                  </a:ln>
                  <a:solidFill>
                    <a:srgbClr val="5F5F5F"/>
                  </a:solidFill>
                  <a:effectLst/>
                  <a:uLnTx/>
                  <a:uFillTx/>
                  <a:latin typeface="Segoe UI"/>
                  <a:ea typeface="+mn-ea"/>
                  <a:cs typeface="+mn-cs"/>
                </a:rPr>
                <a:t>&amp; Authorization</a:t>
              </a:r>
            </a:p>
          </p:txBody>
        </p:sp>
      </p:grpSp>
      <p:grpSp>
        <p:nvGrpSpPr>
          <p:cNvPr id="13" name="Group 12">
            <a:extLst>
              <a:ext uri="{FF2B5EF4-FFF2-40B4-BE49-F238E27FC236}">
                <a16:creationId xmlns:a16="http://schemas.microsoft.com/office/drawing/2014/main" id="{E3473A9D-8E24-493D-B390-46129493826B}"/>
              </a:ext>
            </a:extLst>
          </p:cNvPr>
          <p:cNvGrpSpPr/>
          <p:nvPr/>
        </p:nvGrpSpPr>
        <p:grpSpPr>
          <a:xfrm>
            <a:off x="2685410" y="771537"/>
            <a:ext cx="2553111" cy="3560940"/>
            <a:chOff x="3580546" y="1028715"/>
            <a:chExt cx="3404148" cy="4747919"/>
          </a:xfrm>
        </p:grpSpPr>
        <p:grpSp>
          <p:nvGrpSpPr>
            <p:cNvPr id="43" name="Group 42"/>
            <p:cNvGrpSpPr/>
            <p:nvPr/>
          </p:nvGrpSpPr>
          <p:grpSpPr>
            <a:xfrm>
              <a:off x="3580546" y="2846112"/>
              <a:ext cx="3404148" cy="2930522"/>
              <a:chOff x="4150827" y="3040062"/>
              <a:chExt cx="4495799" cy="3918185"/>
            </a:xfrm>
          </p:grpSpPr>
          <p:sp>
            <p:nvSpPr>
              <p:cNvPr id="44" name="Isosceles Triangle 43"/>
              <p:cNvSpPr/>
              <p:nvPr/>
            </p:nvSpPr>
            <p:spPr bwMode="auto">
              <a:xfrm>
                <a:off x="4150827" y="3040062"/>
                <a:ext cx="4495799" cy="3810000"/>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8"/>
              <p:cNvSpPr>
                <a:spLocks noEditPoints="1"/>
              </p:cNvSpPr>
              <p:nvPr/>
            </p:nvSpPr>
            <p:spPr bwMode="auto">
              <a:xfrm>
                <a:off x="6274872" y="3497263"/>
                <a:ext cx="247708" cy="618616"/>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solidFill>
                <a:schemeClr val="bg1"/>
              </a:solidFill>
              <a:ln>
                <a:noFill/>
              </a:ln>
            </p:spPr>
            <p:txBody>
              <a:bodyPr vert="horz" wrap="square" lIns="67232" tIns="33616" rIns="67232" bIns="33616" numCol="1" anchor="t" anchorCtr="0" compatLnSpc="1">
                <a:prstTxWarp prst="textNoShape">
                  <a:avLst/>
                </a:prstTxWarp>
              </a:bodyPr>
              <a:lstStyle/>
              <a:p>
                <a:pPr marL="0" marR="0" lvl="0" indent="0" algn="l" defTabSz="67213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Box 45"/>
              <p:cNvSpPr txBox="1"/>
              <p:nvPr/>
            </p:nvSpPr>
            <p:spPr>
              <a:xfrm>
                <a:off x="5871256" y="4143002"/>
                <a:ext cx="1039909" cy="641386"/>
              </a:xfrm>
              <a:prstGeom prst="rect">
                <a:avLst/>
              </a:prstGeom>
              <a:noFill/>
            </p:spPr>
            <p:txBody>
              <a:bodyPr wrap="none" lIns="134464" tIns="107571" rIns="134464" bIns="107571" rtlCol="0">
                <a:spAutoFit/>
              </a:bodyPr>
              <a:lstStyle/>
              <a:p>
                <a:pPr marL="0" marR="0" lvl="0" indent="0" algn="l" defTabSz="685775" rtl="0" eaLnBrk="1" fontAlgn="auto" latinLnBrk="0" hangingPunct="1">
                  <a:lnSpc>
                    <a:spcPct val="90000"/>
                  </a:lnSpc>
                  <a:spcBef>
                    <a:spcPts val="0"/>
                  </a:spcBef>
                  <a:spcAft>
                    <a:spcPts val="441"/>
                  </a:spcAft>
                  <a:buClrTx/>
                  <a:buSzTx/>
                  <a:buFontTx/>
                  <a:buNone/>
                  <a:tabLst/>
                  <a:defRPr/>
                </a:pPr>
                <a:r>
                  <a:rPr kumimoji="0" lang="en-US" sz="102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Users</a:t>
                </a:r>
              </a:p>
            </p:txBody>
          </p:sp>
          <p:sp>
            <p:nvSpPr>
              <p:cNvPr id="47" name="Freeform 9"/>
              <p:cNvSpPr>
                <a:spLocks noEditPoints="1"/>
              </p:cNvSpPr>
              <p:nvPr/>
            </p:nvSpPr>
            <p:spPr bwMode="auto">
              <a:xfrm>
                <a:off x="6087576" y="4700376"/>
                <a:ext cx="622300" cy="588962"/>
              </a:xfrm>
              <a:custGeom>
                <a:avLst/>
                <a:gdLst>
                  <a:gd name="T0" fmla="*/ 176 w 242"/>
                  <a:gd name="T1" fmla="*/ 20 h 229"/>
                  <a:gd name="T2" fmla="*/ 195 w 242"/>
                  <a:gd name="T3" fmla="*/ 0 h 229"/>
                  <a:gd name="T4" fmla="*/ 215 w 242"/>
                  <a:gd name="T5" fmla="*/ 19 h 229"/>
                  <a:gd name="T6" fmla="*/ 196 w 242"/>
                  <a:gd name="T7" fmla="*/ 39 h 229"/>
                  <a:gd name="T8" fmla="*/ 176 w 242"/>
                  <a:gd name="T9" fmla="*/ 20 h 229"/>
                  <a:gd name="T10" fmla="*/ 218 w 242"/>
                  <a:gd name="T11" fmla="*/ 46 h 229"/>
                  <a:gd name="T12" fmla="*/ 196 w 242"/>
                  <a:gd name="T13" fmla="*/ 46 h 229"/>
                  <a:gd name="T14" fmla="*/ 175 w 242"/>
                  <a:gd name="T15" fmla="*/ 47 h 229"/>
                  <a:gd name="T16" fmla="*/ 152 w 242"/>
                  <a:gd name="T17" fmla="*/ 70 h 229"/>
                  <a:gd name="T18" fmla="*/ 153 w 242"/>
                  <a:gd name="T19" fmla="*/ 98 h 229"/>
                  <a:gd name="T20" fmla="*/ 154 w 242"/>
                  <a:gd name="T21" fmla="*/ 98 h 229"/>
                  <a:gd name="T22" fmla="*/ 180 w 242"/>
                  <a:gd name="T23" fmla="*/ 128 h 229"/>
                  <a:gd name="T24" fmla="*/ 181 w 242"/>
                  <a:gd name="T25" fmla="*/ 190 h 229"/>
                  <a:gd name="T26" fmla="*/ 180 w 242"/>
                  <a:gd name="T27" fmla="*/ 199 h 229"/>
                  <a:gd name="T28" fmla="*/ 176 w 242"/>
                  <a:gd name="T29" fmla="*/ 206 h 229"/>
                  <a:gd name="T30" fmla="*/ 178 w 242"/>
                  <a:gd name="T31" fmla="*/ 226 h 229"/>
                  <a:gd name="T32" fmla="*/ 222 w 242"/>
                  <a:gd name="T33" fmla="*/ 225 h 229"/>
                  <a:gd name="T34" fmla="*/ 227 w 242"/>
                  <a:gd name="T35" fmla="*/ 141 h 229"/>
                  <a:gd name="T36" fmla="*/ 242 w 242"/>
                  <a:gd name="T37" fmla="*/ 123 h 229"/>
                  <a:gd name="T38" fmla="*/ 241 w 242"/>
                  <a:gd name="T39" fmla="*/ 68 h 229"/>
                  <a:gd name="T40" fmla="*/ 218 w 242"/>
                  <a:gd name="T41" fmla="*/ 46 h 229"/>
                  <a:gd name="T42" fmla="*/ 49 w 242"/>
                  <a:gd name="T43" fmla="*/ 65 h 229"/>
                  <a:gd name="T44" fmla="*/ 70 w 242"/>
                  <a:gd name="T45" fmla="*/ 42 h 229"/>
                  <a:gd name="T46" fmla="*/ 48 w 242"/>
                  <a:gd name="T47" fmla="*/ 20 h 229"/>
                  <a:gd name="T48" fmla="*/ 26 w 242"/>
                  <a:gd name="T49" fmla="*/ 43 h 229"/>
                  <a:gd name="T50" fmla="*/ 49 w 242"/>
                  <a:gd name="T51" fmla="*/ 65 h 229"/>
                  <a:gd name="T52" fmla="*/ 71 w 242"/>
                  <a:gd name="T53" fmla="*/ 192 h 229"/>
                  <a:gd name="T54" fmla="*/ 70 w 242"/>
                  <a:gd name="T55" fmla="*/ 130 h 229"/>
                  <a:gd name="T56" fmla="*/ 99 w 242"/>
                  <a:gd name="T57" fmla="*/ 99 h 229"/>
                  <a:gd name="T58" fmla="*/ 99 w 242"/>
                  <a:gd name="T59" fmla="*/ 99 h 229"/>
                  <a:gd name="T60" fmla="*/ 99 w 242"/>
                  <a:gd name="T61" fmla="*/ 97 h 229"/>
                  <a:gd name="T62" fmla="*/ 73 w 242"/>
                  <a:gd name="T63" fmla="*/ 71 h 229"/>
                  <a:gd name="T64" fmla="*/ 49 w 242"/>
                  <a:gd name="T65" fmla="*/ 72 h 229"/>
                  <a:gd name="T66" fmla="*/ 25 w 242"/>
                  <a:gd name="T67" fmla="*/ 72 h 229"/>
                  <a:gd name="T68" fmla="*/ 0 w 242"/>
                  <a:gd name="T69" fmla="*/ 99 h 229"/>
                  <a:gd name="T70" fmla="*/ 1 w 242"/>
                  <a:gd name="T71" fmla="*/ 160 h 229"/>
                  <a:gd name="T72" fmla="*/ 18 w 242"/>
                  <a:gd name="T73" fmla="*/ 179 h 229"/>
                  <a:gd name="T74" fmla="*/ 24 w 242"/>
                  <a:gd name="T75" fmla="*/ 229 h 229"/>
                  <a:gd name="T76" fmla="*/ 80 w 242"/>
                  <a:gd name="T77" fmla="*/ 228 h 229"/>
                  <a:gd name="T78" fmla="*/ 81 w 242"/>
                  <a:gd name="T79" fmla="*/ 212 h 229"/>
                  <a:gd name="T80" fmla="*/ 78 w 242"/>
                  <a:gd name="T81" fmla="*/ 209 h 229"/>
                  <a:gd name="T82" fmla="*/ 71 w 242"/>
                  <a:gd name="T83" fmla="*/ 192 h 229"/>
                  <a:gd name="T84" fmla="*/ 124 w 242"/>
                  <a:gd name="T85" fmla="*/ 96 h 229"/>
                  <a:gd name="T86" fmla="*/ 146 w 242"/>
                  <a:gd name="T87" fmla="*/ 74 h 229"/>
                  <a:gd name="T88" fmla="*/ 123 w 242"/>
                  <a:gd name="T89" fmla="*/ 52 h 229"/>
                  <a:gd name="T90" fmla="*/ 102 w 242"/>
                  <a:gd name="T91" fmla="*/ 74 h 229"/>
                  <a:gd name="T92" fmla="*/ 124 w 242"/>
                  <a:gd name="T93" fmla="*/ 96 h 229"/>
                  <a:gd name="T94" fmla="*/ 174 w 242"/>
                  <a:gd name="T95" fmla="*/ 128 h 229"/>
                  <a:gd name="T96" fmla="*/ 153 w 242"/>
                  <a:gd name="T97" fmla="*/ 103 h 229"/>
                  <a:gd name="T98" fmla="*/ 148 w 242"/>
                  <a:gd name="T99" fmla="*/ 103 h 229"/>
                  <a:gd name="T100" fmla="*/ 124 w 242"/>
                  <a:gd name="T101" fmla="*/ 103 h 229"/>
                  <a:gd name="T102" fmla="*/ 100 w 242"/>
                  <a:gd name="T103" fmla="*/ 104 h 229"/>
                  <a:gd name="T104" fmla="*/ 99 w 242"/>
                  <a:gd name="T105" fmla="*/ 104 h 229"/>
                  <a:gd name="T106" fmla="*/ 75 w 242"/>
                  <a:gd name="T107" fmla="*/ 130 h 229"/>
                  <a:gd name="T108" fmla="*/ 77 w 242"/>
                  <a:gd name="T109" fmla="*/ 192 h 229"/>
                  <a:gd name="T110" fmla="*/ 82 w 242"/>
                  <a:gd name="T111" fmla="*/ 205 h 229"/>
                  <a:gd name="T112" fmla="*/ 94 w 242"/>
                  <a:gd name="T113" fmla="*/ 210 h 229"/>
                  <a:gd name="T114" fmla="*/ 96 w 242"/>
                  <a:gd name="T115" fmla="*/ 228 h 229"/>
                  <a:gd name="T116" fmla="*/ 158 w 242"/>
                  <a:gd name="T117" fmla="*/ 226 h 229"/>
                  <a:gd name="T118" fmla="*/ 159 w 242"/>
                  <a:gd name="T119" fmla="*/ 209 h 229"/>
                  <a:gd name="T120" fmla="*/ 175 w 242"/>
                  <a:gd name="T121" fmla="*/ 197 h 229"/>
                  <a:gd name="T122" fmla="*/ 176 w 242"/>
                  <a:gd name="T123" fmla="*/ 190 h 229"/>
                  <a:gd name="T124" fmla="*/ 174 w 242"/>
                  <a:gd name="T125" fmla="*/ 12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229">
                    <a:moveTo>
                      <a:pt x="176" y="20"/>
                    </a:moveTo>
                    <a:cubicBezTo>
                      <a:pt x="176" y="9"/>
                      <a:pt x="184" y="0"/>
                      <a:pt x="195" y="0"/>
                    </a:cubicBezTo>
                    <a:cubicBezTo>
                      <a:pt x="206" y="0"/>
                      <a:pt x="215" y="8"/>
                      <a:pt x="215" y="19"/>
                    </a:cubicBezTo>
                    <a:cubicBezTo>
                      <a:pt x="216" y="30"/>
                      <a:pt x="207" y="39"/>
                      <a:pt x="196" y="39"/>
                    </a:cubicBezTo>
                    <a:cubicBezTo>
                      <a:pt x="185" y="40"/>
                      <a:pt x="176" y="31"/>
                      <a:pt x="176" y="20"/>
                    </a:cubicBezTo>
                    <a:close/>
                    <a:moveTo>
                      <a:pt x="218" y="46"/>
                    </a:moveTo>
                    <a:cubicBezTo>
                      <a:pt x="196" y="46"/>
                      <a:pt x="196" y="46"/>
                      <a:pt x="196" y="46"/>
                    </a:cubicBezTo>
                    <a:cubicBezTo>
                      <a:pt x="175" y="47"/>
                      <a:pt x="175" y="47"/>
                      <a:pt x="175" y="47"/>
                    </a:cubicBezTo>
                    <a:cubicBezTo>
                      <a:pt x="158" y="47"/>
                      <a:pt x="152" y="60"/>
                      <a:pt x="152" y="70"/>
                    </a:cubicBezTo>
                    <a:cubicBezTo>
                      <a:pt x="153" y="98"/>
                      <a:pt x="153" y="98"/>
                      <a:pt x="153" y="98"/>
                    </a:cubicBezTo>
                    <a:cubicBezTo>
                      <a:pt x="153" y="98"/>
                      <a:pt x="153" y="98"/>
                      <a:pt x="154" y="98"/>
                    </a:cubicBezTo>
                    <a:cubicBezTo>
                      <a:pt x="171" y="100"/>
                      <a:pt x="179" y="115"/>
                      <a:pt x="180" y="128"/>
                    </a:cubicBezTo>
                    <a:cubicBezTo>
                      <a:pt x="181" y="190"/>
                      <a:pt x="181" y="190"/>
                      <a:pt x="181" y="190"/>
                    </a:cubicBezTo>
                    <a:cubicBezTo>
                      <a:pt x="181" y="193"/>
                      <a:pt x="181" y="196"/>
                      <a:pt x="180" y="199"/>
                    </a:cubicBezTo>
                    <a:cubicBezTo>
                      <a:pt x="179" y="202"/>
                      <a:pt x="177" y="204"/>
                      <a:pt x="176" y="206"/>
                    </a:cubicBezTo>
                    <a:cubicBezTo>
                      <a:pt x="178" y="226"/>
                      <a:pt x="178" y="226"/>
                      <a:pt x="178" y="226"/>
                    </a:cubicBezTo>
                    <a:cubicBezTo>
                      <a:pt x="222" y="225"/>
                      <a:pt x="222" y="225"/>
                      <a:pt x="222" y="225"/>
                    </a:cubicBezTo>
                    <a:cubicBezTo>
                      <a:pt x="227" y="141"/>
                      <a:pt x="227" y="141"/>
                      <a:pt x="227" y="141"/>
                    </a:cubicBezTo>
                    <a:cubicBezTo>
                      <a:pt x="227" y="141"/>
                      <a:pt x="242" y="139"/>
                      <a:pt x="242" y="123"/>
                    </a:cubicBezTo>
                    <a:cubicBezTo>
                      <a:pt x="241" y="68"/>
                      <a:pt x="241" y="68"/>
                      <a:pt x="241" y="68"/>
                    </a:cubicBezTo>
                    <a:cubicBezTo>
                      <a:pt x="241" y="58"/>
                      <a:pt x="234" y="45"/>
                      <a:pt x="218" y="46"/>
                    </a:cubicBezTo>
                    <a:close/>
                    <a:moveTo>
                      <a:pt x="49" y="65"/>
                    </a:moveTo>
                    <a:cubicBezTo>
                      <a:pt x="61" y="64"/>
                      <a:pt x="71" y="54"/>
                      <a:pt x="70" y="42"/>
                    </a:cubicBezTo>
                    <a:cubicBezTo>
                      <a:pt x="70" y="30"/>
                      <a:pt x="60" y="20"/>
                      <a:pt x="48" y="20"/>
                    </a:cubicBezTo>
                    <a:cubicBezTo>
                      <a:pt x="36" y="21"/>
                      <a:pt x="26" y="31"/>
                      <a:pt x="26" y="43"/>
                    </a:cubicBezTo>
                    <a:cubicBezTo>
                      <a:pt x="27" y="55"/>
                      <a:pt x="37" y="65"/>
                      <a:pt x="49" y="65"/>
                    </a:cubicBezTo>
                    <a:close/>
                    <a:moveTo>
                      <a:pt x="71" y="192"/>
                    </a:moveTo>
                    <a:cubicBezTo>
                      <a:pt x="70" y="130"/>
                      <a:pt x="70" y="130"/>
                      <a:pt x="70" y="130"/>
                    </a:cubicBezTo>
                    <a:cubicBezTo>
                      <a:pt x="70" y="115"/>
                      <a:pt x="80" y="100"/>
                      <a:pt x="99" y="99"/>
                    </a:cubicBezTo>
                    <a:cubicBezTo>
                      <a:pt x="99" y="99"/>
                      <a:pt x="99" y="99"/>
                      <a:pt x="99" y="99"/>
                    </a:cubicBezTo>
                    <a:cubicBezTo>
                      <a:pt x="99" y="97"/>
                      <a:pt x="99" y="97"/>
                      <a:pt x="99" y="97"/>
                    </a:cubicBezTo>
                    <a:cubicBezTo>
                      <a:pt x="99" y="86"/>
                      <a:pt x="91" y="71"/>
                      <a:pt x="73" y="71"/>
                    </a:cubicBezTo>
                    <a:cubicBezTo>
                      <a:pt x="49" y="72"/>
                      <a:pt x="49" y="72"/>
                      <a:pt x="49" y="72"/>
                    </a:cubicBezTo>
                    <a:cubicBezTo>
                      <a:pt x="25" y="72"/>
                      <a:pt x="25" y="72"/>
                      <a:pt x="25" y="72"/>
                    </a:cubicBezTo>
                    <a:cubicBezTo>
                      <a:pt x="7" y="73"/>
                      <a:pt x="0" y="88"/>
                      <a:pt x="0" y="99"/>
                    </a:cubicBezTo>
                    <a:cubicBezTo>
                      <a:pt x="1" y="160"/>
                      <a:pt x="1" y="160"/>
                      <a:pt x="1" y="160"/>
                    </a:cubicBezTo>
                    <a:cubicBezTo>
                      <a:pt x="2" y="178"/>
                      <a:pt x="18" y="179"/>
                      <a:pt x="18" y="179"/>
                    </a:cubicBezTo>
                    <a:cubicBezTo>
                      <a:pt x="24" y="229"/>
                      <a:pt x="24" y="229"/>
                      <a:pt x="24" y="229"/>
                    </a:cubicBezTo>
                    <a:cubicBezTo>
                      <a:pt x="80" y="228"/>
                      <a:pt x="80" y="228"/>
                      <a:pt x="80" y="228"/>
                    </a:cubicBezTo>
                    <a:cubicBezTo>
                      <a:pt x="81" y="212"/>
                      <a:pt x="81" y="212"/>
                      <a:pt x="81" y="212"/>
                    </a:cubicBezTo>
                    <a:cubicBezTo>
                      <a:pt x="80" y="211"/>
                      <a:pt x="79" y="210"/>
                      <a:pt x="78" y="209"/>
                    </a:cubicBezTo>
                    <a:cubicBezTo>
                      <a:pt x="74" y="205"/>
                      <a:pt x="72" y="199"/>
                      <a:pt x="71" y="192"/>
                    </a:cubicBezTo>
                    <a:close/>
                    <a:moveTo>
                      <a:pt x="124" y="96"/>
                    </a:moveTo>
                    <a:cubicBezTo>
                      <a:pt x="136" y="96"/>
                      <a:pt x="146" y="86"/>
                      <a:pt x="146" y="74"/>
                    </a:cubicBezTo>
                    <a:cubicBezTo>
                      <a:pt x="146" y="61"/>
                      <a:pt x="135" y="52"/>
                      <a:pt x="123" y="52"/>
                    </a:cubicBezTo>
                    <a:cubicBezTo>
                      <a:pt x="111" y="52"/>
                      <a:pt x="101" y="62"/>
                      <a:pt x="102" y="74"/>
                    </a:cubicBezTo>
                    <a:cubicBezTo>
                      <a:pt x="102" y="87"/>
                      <a:pt x="112" y="96"/>
                      <a:pt x="124" y="96"/>
                    </a:cubicBezTo>
                    <a:close/>
                    <a:moveTo>
                      <a:pt x="174" y="128"/>
                    </a:moveTo>
                    <a:cubicBezTo>
                      <a:pt x="174" y="118"/>
                      <a:pt x="168" y="105"/>
                      <a:pt x="153" y="103"/>
                    </a:cubicBezTo>
                    <a:cubicBezTo>
                      <a:pt x="151" y="103"/>
                      <a:pt x="150" y="103"/>
                      <a:pt x="148" y="103"/>
                    </a:cubicBezTo>
                    <a:cubicBezTo>
                      <a:pt x="124" y="103"/>
                      <a:pt x="124" y="103"/>
                      <a:pt x="124" y="103"/>
                    </a:cubicBezTo>
                    <a:cubicBezTo>
                      <a:pt x="100" y="104"/>
                      <a:pt x="100" y="104"/>
                      <a:pt x="100" y="104"/>
                    </a:cubicBezTo>
                    <a:cubicBezTo>
                      <a:pt x="100" y="104"/>
                      <a:pt x="100" y="104"/>
                      <a:pt x="99" y="104"/>
                    </a:cubicBezTo>
                    <a:cubicBezTo>
                      <a:pt x="82" y="105"/>
                      <a:pt x="75" y="119"/>
                      <a:pt x="75" y="130"/>
                    </a:cubicBezTo>
                    <a:cubicBezTo>
                      <a:pt x="77" y="192"/>
                      <a:pt x="77" y="192"/>
                      <a:pt x="77" y="192"/>
                    </a:cubicBezTo>
                    <a:cubicBezTo>
                      <a:pt x="77" y="198"/>
                      <a:pt x="79" y="202"/>
                      <a:pt x="82" y="205"/>
                    </a:cubicBezTo>
                    <a:cubicBezTo>
                      <a:pt x="87" y="210"/>
                      <a:pt x="94" y="210"/>
                      <a:pt x="94" y="210"/>
                    </a:cubicBezTo>
                    <a:cubicBezTo>
                      <a:pt x="96" y="228"/>
                      <a:pt x="96" y="228"/>
                      <a:pt x="96" y="228"/>
                    </a:cubicBezTo>
                    <a:cubicBezTo>
                      <a:pt x="158" y="226"/>
                      <a:pt x="158" y="226"/>
                      <a:pt x="158" y="226"/>
                    </a:cubicBezTo>
                    <a:cubicBezTo>
                      <a:pt x="159" y="209"/>
                      <a:pt x="159" y="209"/>
                      <a:pt x="159" y="209"/>
                    </a:cubicBezTo>
                    <a:cubicBezTo>
                      <a:pt x="159" y="209"/>
                      <a:pt x="171" y="208"/>
                      <a:pt x="175" y="197"/>
                    </a:cubicBezTo>
                    <a:cubicBezTo>
                      <a:pt x="175" y="195"/>
                      <a:pt x="176" y="193"/>
                      <a:pt x="176" y="190"/>
                    </a:cubicBezTo>
                    <a:lnTo>
                      <a:pt x="174" y="128"/>
                    </a:lnTo>
                    <a:close/>
                  </a:path>
                </a:pathLst>
              </a:custGeom>
              <a:solidFill>
                <a:schemeClr val="bg1"/>
              </a:solidFill>
              <a:ln>
                <a:noFill/>
              </a:ln>
            </p:spPr>
            <p:txBody>
              <a:bodyPr vert="horz" wrap="square" lIns="67232" tIns="33616" rIns="67232" bIns="33616" numCol="1" anchor="t" anchorCtr="0" compatLnSpc="1">
                <a:prstTxWarp prst="textNoShape">
                  <a:avLst/>
                </a:prstTxWarp>
              </a:bodyPr>
              <a:lstStyle/>
              <a:p>
                <a:pPr marL="0" marR="0" lvl="0" indent="0" algn="l" defTabSz="672131" rtl="0" eaLnBrk="1" fontAlgn="auto" latinLnBrk="0" hangingPunct="1">
                  <a:lnSpc>
                    <a:spcPct val="100000"/>
                  </a:lnSpc>
                  <a:spcBef>
                    <a:spcPts val="0"/>
                  </a:spcBef>
                  <a:spcAft>
                    <a:spcPts val="0"/>
                  </a:spcAft>
                  <a:buClrTx/>
                  <a:buSzTx/>
                  <a:buFontTx/>
                  <a:buNone/>
                  <a:tabLst/>
                  <a:defRPr/>
                </a:pPr>
                <a:endParaRPr kumimoji="0" lang="en-US" sz="1250" b="0" i="0" u="none" strike="noStrike" kern="1200" cap="none" spc="0" normalizeH="0" baseline="0" noProof="0">
                  <a:ln>
                    <a:noFill/>
                  </a:ln>
                  <a:solidFill>
                    <a:srgbClr val="000000"/>
                  </a:solidFill>
                  <a:effectLst/>
                  <a:uLnTx/>
                  <a:uFillTx/>
                  <a:latin typeface="Segoe UI"/>
                  <a:ea typeface="+mn-ea"/>
                  <a:cs typeface="+mn-cs"/>
                </a:endParaRPr>
              </a:p>
            </p:txBody>
          </p:sp>
          <p:sp>
            <p:nvSpPr>
              <p:cNvPr id="48" name="TextBox 47"/>
              <p:cNvSpPr txBox="1"/>
              <p:nvPr/>
            </p:nvSpPr>
            <p:spPr>
              <a:xfrm>
                <a:off x="5781888" y="5270160"/>
                <a:ext cx="1220566" cy="641386"/>
              </a:xfrm>
              <a:prstGeom prst="rect">
                <a:avLst/>
              </a:prstGeom>
              <a:noFill/>
            </p:spPr>
            <p:txBody>
              <a:bodyPr wrap="none" lIns="134464" tIns="107571" rIns="134464" bIns="107571" rtlCol="0">
                <a:spAutoFit/>
              </a:bodyPr>
              <a:lstStyle/>
              <a:p>
                <a:pPr marL="0" marR="0" lvl="0" indent="0" algn="l" defTabSz="685775" rtl="0" eaLnBrk="1" fontAlgn="auto" latinLnBrk="0" hangingPunct="1">
                  <a:lnSpc>
                    <a:spcPct val="90000"/>
                  </a:lnSpc>
                  <a:spcBef>
                    <a:spcPts val="0"/>
                  </a:spcBef>
                  <a:spcAft>
                    <a:spcPts val="441"/>
                  </a:spcAft>
                  <a:buClrTx/>
                  <a:buSzTx/>
                  <a:buFontTx/>
                  <a:buNone/>
                  <a:tabLst/>
                  <a:defRPr/>
                </a:pPr>
                <a:r>
                  <a:rPr kumimoji="0" lang="en-US" sz="102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Groups</a:t>
                </a:r>
              </a:p>
            </p:txBody>
          </p:sp>
          <p:pic>
            <p:nvPicPr>
              <p:cNvPr id="49" name="Picture 20"/>
              <p:cNvPicPr>
                <a:picLocks noChangeAspect="1"/>
              </p:cNvPicPr>
              <p:nvPr/>
            </p:nvPicPr>
            <p:blipFill>
              <a:blip r:embed="rId3">
                <a:lum bright="100000"/>
                <a:extLst>
                  <a:ext uri="{28A0092B-C50C-407E-A947-70E740481C1C}">
                    <a14:useLocalDpi xmlns:a14="http://schemas.microsoft.com/office/drawing/2010/main" val="0"/>
                  </a:ext>
                </a:extLst>
              </a:blip>
              <a:srcRect/>
              <a:stretch>
                <a:fillRect/>
              </a:stretch>
            </p:blipFill>
            <p:spPr bwMode="auto">
              <a:xfrm>
                <a:off x="6032298" y="5846712"/>
                <a:ext cx="732856" cy="616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TextBox 49"/>
              <p:cNvSpPr txBox="1"/>
              <p:nvPr/>
            </p:nvSpPr>
            <p:spPr>
              <a:xfrm>
                <a:off x="5334606" y="6316861"/>
                <a:ext cx="2239575" cy="641386"/>
              </a:xfrm>
              <a:prstGeom prst="rect">
                <a:avLst/>
              </a:prstGeom>
              <a:noFill/>
            </p:spPr>
            <p:txBody>
              <a:bodyPr wrap="none" lIns="134464" tIns="107571" rIns="134464" bIns="107571" rtlCol="0">
                <a:spAutoFit/>
              </a:bodyPr>
              <a:lstStyle/>
              <a:p>
                <a:pPr marL="0" marR="0" lvl="0" indent="0" algn="l" defTabSz="685775" rtl="0" eaLnBrk="1" fontAlgn="auto" latinLnBrk="0" hangingPunct="1">
                  <a:lnSpc>
                    <a:spcPct val="90000"/>
                  </a:lnSpc>
                  <a:spcBef>
                    <a:spcPts val="0"/>
                  </a:spcBef>
                  <a:spcAft>
                    <a:spcPts val="441"/>
                  </a:spcAft>
                  <a:buClrTx/>
                  <a:buSzTx/>
                  <a:buFontTx/>
                  <a:buNone/>
                  <a:tabLst/>
                  <a:defRPr/>
                </a:pPr>
                <a:r>
                  <a:rPr kumimoji="0" lang="en-US" sz="1029"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Service Principals</a:t>
                </a:r>
              </a:p>
            </p:txBody>
          </p:sp>
        </p:grpSp>
        <p:pic>
          <p:nvPicPr>
            <p:cNvPr id="85" name="Picture 84">
              <a:extLst>
                <a:ext uri="{FF2B5EF4-FFF2-40B4-BE49-F238E27FC236}">
                  <a16:creationId xmlns:a16="http://schemas.microsoft.com/office/drawing/2014/main" id="{8E71AEBA-33B8-44AA-94AC-EF6203E45E3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54480" y="1028715"/>
              <a:ext cx="806639" cy="806639"/>
            </a:xfrm>
            <a:prstGeom prst="rect">
              <a:avLst/>
            </a:prstGeom>
          </p:spPr>
        </p:pic>
        <p:sp>
          <p:nvSpPr>
            <p:cNvPr id="86" name="TextBox 85">
              <a:extLst>
                <a:ext uri="{FF2B5EF4-FFF2-40B4-BE49-F238E27FC236}">
                  <a16:creationId xmlns:a16="http://schemas.microsoft.com/office/drawing/2014/main" id="{31DE218D-A9D8-428E-9463-2541CA72F48F}"/>
                </a:ext>
              </a:extLst>
            </p:cNvPr>
            <p:cNvSpPr txBox="1"/>
            <p:nvPr/>
          </p:nvSpPr>
          <p:spPr bwMode="auto">
            <a:xfrm>
              <a:off x="3987965" y="1944609"/>
              <a:ext cx="2630695" cy="861774"/>
            </a:xfrm>
            <a:prstGeom prst="rect">
              <a:avLst/>
            </a:prstGeom>
            <a:noFill/>
            <a:ln w="9525">
              <a:noFill/>
              <a:miter lim="800000"/>
              <a:headEnd/>
              <a:tailEnd/>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Azure AD Tenet</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contoso.com </a:t>
              </a:r>
            </a:p>
          </p:txBody>
        </p:sp>
      </p:grpSp>
      <p:grpSp>
        <p:nvGrpSpPr>
          <p:cNvPr id="15" name="Group 14">
            <a:extLst>
              <a:ext uri="{FF2B5EF4-FFF2-40B4-BE49-F238E27FC236}">
                <a16:creationId xmlns:a16="http://schemas.microsoft.com/office/drawing/2014/main" id="{05B0D12B-C83B-4BA6-A3E9-F1D8F1363B84}"/>
              </a:ext>
            </a:extLst>
          </p:cNvPr>
          <p:cNvGrpSpPr/>
          <p:nvPr/>
        </p:nvGrpSpPr>
        <p:grpSpPr>
          <a:xfrm>
            <a:off x="6340455" y="796090"/>
            <a:ext cx="2597503" cy="3694640"/>
            <a:chOff x="8453940" y="1061454"/>
            <a:chExt cx="3463337" cy="4926186"/>
          </a:xfrm>
        </p:grpSpPr>
        <p:sp>
          <p:nvSpPr>
            <p:cNvPr id="51" name="Rounded Rectangle 50"/>
            <p:cNvSpPr/>
            <p:nvPr/>
          </p:nvSpPr>
          <p:spPr bwMode="auto">
            <a:xfrm>
              <a:off x="8453940" y="2691736"/>
              <a:ext cx="3463337" cy="3256924"/>
            </a:xfrm>
            <a:prstGeom prst="roundRect">
              <a:avLst/>
            </a:prstGeom>
            <a:solidFill>
              <a:schemeClr val="accent1"/>
            </a:solidFill>
            <a:ln>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52" name="TextBox 51"/>
            <p:cNvSpPr txBox="1"/>
            <p:nvPr/>
          </p:nvSpPr>
          <p:spPr>
            <a:xfrm>
              <a:off x="9249901" y="2684922"/>
              <a:ext cx="2091434" cy="538956"/>
            </a:xfrm>
            <a:prstGeom prst="rect">
              <a:avLst/>
            </a:prstGeom>
            <a:noFill/>
          </p:spPr>
          <p:txBody>
            <a:bodyPr wrap="none" lIns="134464" tIns="107571" rIns="134464" bIns="107571" rtlCol="0">
              <a:spAutoFit/>
            </a:bodyPr>
            <a:lstStyle/>
            <a:p>
              <a:pPr marL="0" marR="0" lvl="0" indent="0" algn="ctr" defTabSz="685775" rtl="0" eaLnBrk="1" fontAlgn="auto" latinLnBrk="0" hangingPunct="1">
                <a:lnSpc>
                  <a:spcPct val="90000"/>
                </a:lnSpc>
                <a:spcBef>
                  <a:spcPts val="0"/>
                </a:spcBef>
                <a:spcAft>
                  <a:spcPts val="147"/>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Segoe UI"/>
                  <a:ea typeface="+mn-ea"/>
                  <a:cs typeface="+mn-cs"/>
                </a:rPr>
                <a:t>Azure Resources </a:t>
              </a:r>
            </a:p>
          </p:txBody>
        </p:sp>
        <p:grpSp>
          <p:nvGrpSpPr>
            <p:cNvPr id="53" name="Group 52"/>
            <p:cNvGrpSpPr/>
            <p:nvPr/>
          </p:nvGrpSpPr>
          <p:grpSpPr>
            <a:xfrm>
              <a:off x="8666536" y="3055062"/>
              <a:ext cx="2740059" cy="2279127"/>
              <a:chOff x="7998579" y="-231500"/>
              <a:chExt cx="1726175" cy="1618378"/>
            </a:xfrm>
          </p:grpSpPr>
          <p:sp>
            <p:nvSpPr>
              <p:cNvPr id="54" name="Oval 53"/>
              <p:cNvSpPr/>
              <p:nvPr/>
            </p:nvSpPr>
            <p:spPr bwMode="auto">
              <a:xfrm>
                <a:off x="7998579" y="223616"/>
                <a:ext cx="658520" cy="658521"/>
              </a:xfrm>
              <a:prstGeom prst="ellipse">
                <a:avLst/>
              </a:prstGeom>
              <a:solidFill>
                <a:schemeClr val="accent6">
                  <a:lumMod val="90000"/>
                </a:schemeClr>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F5F5F"/>
                  </a:solidFill>
                  <a:effectLst/>
                  <a:uLnTx/>
                  <a:uFillTx/>
                  <a:latin typeface="Segoe UI"/>
                  <a:ea typeface="Segoe UI" pitchFamily="34" charset="0"/>
                  <a:cs typeface="Segoe UI" pitchFamily="34" charset="0"/>
                </a:endParaRPr>
              </a:p>
            </p:txBody>
          </p:sp>
          <p:cxnSp>
            <p:nvCxnSpPr>
              <p:cNvPr id="55" name="Straight Connector 54"/>
              <p:cNvCxnSpPr>
                <a:stCxn id="54" idx="6"/>
                <a:endCxn id="70" idx="3"/>
              </p:cNvCxnSpPr>
              <p:nvPr/>
            </p:nvCxnSpPr>
            <p:spPr>
              <a:xfrm flipV="1">
                <a:off x="8657099" y="205323"/>
                <a:ext cx="322524" cy="34755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54" idx="6"/>
                <a:endCxn id="72" idx="1"/>
              </p:cNvCxnSpPr>
              <p:nvPr/>
            </p:nvCxnSpPr>
            <p:spPr>
              <a:xfrm>
                <a:off x="8657099" y="552877"/>
                <a:ext cx="319632" cy="373702"/>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54" idx="6"/>
                <a:endCxn id="71" idx="2"/>
              </p:cNvCxnSpPr>
              <p:nvPr/>
            </p:nvCxnSpPr>
            <p:spPr>
              <a:xfrm flipV="1">
                <a:off x="8657099" y="546202"/>
                <a:ext cx="279708" cy="6675"/>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endCxn id="64" idx="2"/>
              </p:cNvCxnSpPr>
              <p:nvPr/>
            </p:nvCxnSpPr>
            <p:spPr>
              <a:xfrm flipV="1">
                <a:off x="9236260" y="-117200"/>
                <a:ext cx="259894" cy="218965"/>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70" idx="6"/>
                <a:endCxn id="65" idx="2"/>
              </p:cNvCxnSpPr>
              <p:nvPr/>
            </p:nvCxnSpPr>
            <p:spPr>
              <a:xfrm>
                <a:off x="9228947" y="102050"/>
                <a:ext cx="263790" cy="87128"/>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71" idx="6"/>
                <a:endCxn id="66" idx="2"/>
              </p:cNvCxnSpPr>
              <p:nvPr/>
            </p:nvCxnSpPr>
            <p:spPr>
              <a:xfrm flipV="1">
                <a:off x="9228908" y="441661"/>
                <a:ext cx="263829" cy="104541"/>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71" idx="6"/>
                <a:endCxn id="67" idx="2"/>
              </p:cNvCxnSpPr>
              <p:nvPr/>
            </p:nvCxnSpPr>
            <p:spPr>
              <a:xfrm>
                <a:off x="9228908" y="546202"/>
                <a:ext cx="255801" cy="164424"/>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72" idx="6"/>
                <a:endCxn id="69" idx="1"/>
              </p:cNvCxnSpPr>
              <p:nvPr/>
            </p:nvCxnSpPr>
            <p:spPr>
              <a:xfrm>
                <a:off x="9226054" y="1029853"/>
                <a:ext cx="298968" cy="161903"/>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72" idx="6"/>
                <a:endCxn id="68" idx="2"/>
              </p:cNvCxnSpPr>
              <p:nvPr/>
            </p:nvCxnSpPr>
            <p:spPr>
              <a:xfrm flipV="1">
                <a:off x="9226054" y="968724"/>
                <a:ext cx="266683" cy="6112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Oval 63"/>
              <p:cNvSpPr/>
              <p:nvPr/>
            </p:nvSpPr>
            <p:spPr bwMode="auto">
              <a:xfrm>
                <a:off x="9496154" y="-231500"/>
                <a:ext cx="228600" cy="228600"/>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65" name="Oval 64"/>
              <p:cNvSpPr/>
              <p:nvPr/>
            </p:nvSpPr>
            <p:spPr bwMode="auto">
              <a:xfrm>
                <a:off x="9492737" y="74878"/>
                <a:ext cx="228600" cy="228600"/>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66" name="Oval 65"/>
              <p:cNvSpPr/>
              <p:nvPr/>
            </p:nvSpPr>
            <p:spPr bwMode="auto">
              <a:xfrm>
                <a:off x="9492737" y="327361"/>
                <a:ext cx="228600" cy="228600"/>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67" name="Oval 66"/>
              <p:cNvSpPr/>
              <p:nvPr/>
            </p:nvSpPr>
            <p:spPr bwMode="auto">
              <a:xfrm>
                <a:off x="9484709" y="596326"/>
                <a:ext cx="228600" cy="228600"/>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68" name="Oval 67"/>
              <p:cNvSpPr/>
              <p:nvPr/>
            </p:nvSpPr>
            <p:spPr bwMode="auto">
              <a:xfrm>
                <a:off x="9492737" y="854424"/>
                <a:ext cx="228600" cy="228600"/>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69" name="Oval 68"/>
              <p:cNvSpPr/>
              <p:nvPr/>
            </p:nvSpPr>
            <p:spPr bwMode="auto">
              <a:xfrm>
                <a:off x="9491544" y="1158278"/>
                <a:ext cx="228600" cy="228600"/>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70" name="Oval 69"/>
              <p:cNvSpPr/>
              <p:nvPr/>
            </p:nvSpPr>
            <p:spPr bwMode="auto">
              <a:xfrm>
                <a:off x="8936846" y="-44001"/>
                <a:ext cx="292101" cy="292101"/>
              </a:xfrm>
              <a:prstGeom prst="ellipse">
                <a:avLst/>
              </a:prstGeom>
              <a:solidFill>
                <a:schemeClr val="accent6">
                  <a:lumMod val="9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5F5F5F"/>
                  </a:solidFill>
                  <a:effectLst/>
                  <a:uLnTx/>
                  <a:uFillTx/>
                  <a:latin typeface="Segoe UI"/>
                  <a:ea typeface="Segoe UI" pitchFamily="34" charset="0"/>
                  <a:cs typeface="Segoe UI" pitchFamily="34" charset="0"/>
                </a:endParaRPr>
              </a:p>
            </p:txBody>
          </p:sp>
          <p:sp>
            <p:nvSpPr>
              <p:cNvPr id="71" name="Oval 70"/>
              <p:cNvSpPr/>
              <p:nvPr/>
            </p:nvSpPr>
            <p:spPr bwMode="auto">
              <a:xfrm>
                <a:off x="8936807" y="400151"/>
                <a:ext cx="292101" cy="292101"/>
              </a:xfrm>
              <a:prstGeom prst="ellipse">
                <a:avLst/>
              </a:prstGeom>
              <a:solidFill>
                <a:schemeClr val="accent6">
                  <a:lumMod val="9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sp>
            <p:nvSpPr>
              <p:cNvPr id="72" name="Oval 71"/>
              <p:cNvSpPr/>
              <p:nvPr/>
            </p:nvSpPr>
            <p:spPr bwMode="auto">
              <a:xfrm>
                <a:off x="8933953" y="883802"/>
                <a:ext cx="292101" cy="292101"/>
              </a:xfrm>
              <a:prstGeom prst="ellipse">
                <a:avLst/>
              </a:prstGeom>
              <a:solidFill>
                <a:schemeClr val="accent6">
                  <a:lumMod val="9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577" rtl="0" eaLnBrk="1" fontAlgn="auto" latinLnBrk="0" hangingPunct="1">
                  <a:lnSpc>
                    <a:spcPct val="9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F5F5F"/>
                  </a:solidFill>
                  <a:effectLst/>
                  <a:uLnTx/>
                  <a:uFillTx/>
                  <a:latin typeface="Segoe UI"/>
                  <a:ea typeface="Segoe UI" pitchFamily="34" charset="0"/>
                  <a:cs typeface="Segoe UI" pitchFamily="34" charset="0"/>
                </a:endParaRPr>
              </a:p>
            </p:txBody>
          </p:sp>
        </p:grpSp>
        <p:sp>
          <p:nvSpPr>
            <p:cNvPr id="74" name="TextBox 73"/>
            <p:cNvSpPr txBox="1"/>
            <p:nvPr/>
          </p:nvSpPr>
          <p:spPr>
            <a:xfrm>
              <a:off x="9024977" y="1702902"/>
              <a:ext cx="2180946" cy="1022849"/>
            </a:xfrm>
            <a:prstGeom prst="rect">
              <a:avLst/>
            </a:prstGeom>
            <a:noFill/>
          </p:spPr>
          <p:txBody>
            <a:bodyPr wrap="none" lIns="134464" tIns="107571" rIns="134464" bIns="107571" rtlCol="0">
              <a:spAutoFit/>
            </a:bodyPr>
            <a:lstStyle/>
            <a:p>
              <a:pPr marL="0" marR="0" lvl="0" indent="0" algn="ctr" defTabSz="685775" rtl="0" eaLnBrk="1" fontAlgn="auto" latinLnBrk="0" hangingPunct="1">
                <a:lnSpc>
                  <a:spcPct val="90000"/>
                </a:lnSpc>
                <a:spcBef>
                  <a:spcPts val="0"/>
                </a:spcBef>
                <a:spcAft>
                  <a:spcPts val="441"/>
                </a:spcAft>
                <a:buClrTx/>
                <a:buSzTx/>
                <a:buFontTx/>
                <a:buNone/>
                <a:tabLst/>
                <a:defRPr/>
              </a:pPr>
              <a:r>
                <a:rPr kumimoji="0" lang="en-US" sz="1800" b="0" i="0" u="none" strike="noStrike" kern="1200" cap="none" spc="0" normalizeH="0" baseline="0" noProof="0" dirty="0">
                  <a:ln>
                    <a:noFill/>
                  </a:ln>
                  <a:solidFill>
                    <a:srgbClr val="5F5F5F"/>
                  </a:solidFill>
                  <a:effectLst/>
                  <a:uLnTx/>
                  <a:uFillTx/>
                  <a:latin typeface="Segoe UI"/>
                  <a:ea typeface="+mn-ea"/>
                  <a:cs typeface="+mn-cs"/>
                </a:rPr>
                <a:t>Azure </a:t>
              </a:r>
            </a:p>
            <a:p>
              <a:pPr marL="0" marR="0" lvl="0" indent="0" algn="ctr" defTabSz="685775" rtl="0" eaLnBrk="1" fontAlgn="auto" latinLnBrk="0" hangingPunct="1">
                <a:lnSpc>
                  <a:spcPct val="90000"/>
                </a:lnSpc>
                <a:spcBef>
                  <a:spcPts val="0"/>
                </a:spcBef>
                <a:spcAft>
                  <a:spcPts val="441"/>
                </a:spcAft>
                <a:buClrTx/>
                <a:buSzTx/>
                <a:buFontTx/>
                <a:buNone/>
                <a:tabLst/>
                <a:defRPr/>
              </a:pPr>
              <a:r>
                <a:rPr kumimoji="0" lang="en-US" sz="1800" b="0" i="0" u="none" strike="noStrike" kern="1200" cap="none" spc="0" normalizeH="0" baseline="0" noProof="0" dirty="0">
                  <a:ln>
                    <a:noFill/>
                  </a:ln>
                  <a:solidFill>
                    <a:srgbClr val="5F5F5F"/>
                  </a:solidFill>
                  <a:effectLst/>
                  <a:uLnTx/>
                  <a:uFillTx/>
                  <a:latin typeface="Segoe UI"/>
                  <a:ea typeface="+mn-ea"/>
                  <a:cs typeface="+mn-cs"/>
                </a:rPr>
                <a:t>Subscriptions</a:t>
              </a:r>
            </a:p>
          </p:txBody>
        </p:sp>
        <p:cxnSp>
          <p:nvCxnSpPr>
            <p:cNvPr id="77" name="Straight Connector 76"/>
            <p:cNvCxnSpPr/>
            <p:nvPr/>
          </p:nvCxnSpPr>
          <p:spPr bwMode="auto">
            <a:xfrm>
              <a:off x="10797077" y="3135221"/>
              <a:ext cx="37362" cy="2465752"/>
            </a:xfrm>
            <a:prstGeom prst="line">
              <a:avLst/>
            </a:prstGeom>
            <a:ln>
              <a:solidFill>
                <a:schemeClr val="tx2"/>
              </a:solidFill>
              <a:prstDash val="dash"/>
              <a:headEnd type="none" w="med" len="med"/>
              <a:tailEnd type="none" w="med" len="med"/>
            </a:ln>
          </p:spPr>
          <p:style>
            <a:lnRef idx="2">
              <a:schemeClr val="accent6"/>
            </a:lnRef>
            <a:fillRef idx="0">
              <a:schemeClr val="accent6"/>
            </a:fillRef>
            <a:effectRef idx="1">
              <a:schemeClr val="accent6"/>
            </a:effectRef>
            <a:fontRef idx="minor">
              <a:schemeClr val="tx1"/>
            </a:fontRef>
          </p:style>
        </p:cxnSp>
        <p:cxnSp>
          <p:nvCxnSpPr>
            <p:cNvPr id="78" name="Straight Connector 77"/>
            <p:cNvCxnSpPr/>
            <p:nvPr/>
          </p:nvCxnSpPr>
          <p:spPr bwMode="auto">
            <a:xfrm>
              <a:off x="9883035" y="3135221"/>
              <a:ext cx="32748" cy="2478282"/>
            </a:xfrm>
            <a:prstGeom prst="line">
              <a:avLst/>
            </a:prstGeom>
            <a:ln>
              <a:solidFill>
                <a:schemeClr val="tx2"/>
              </a:solidFill>
              <a:prstDash val="dash"/>
              <a:headEnd type="none" w="med" len="med"/>
              <a:tailEnd type="none" w="med" len="med"/>
            </a:ln>
          </p:spPr>
          <p:style>
            <a:lnRef idx="2">
              <a:schemeClr val="accent6"/>
            </a:lnRef>
            <a:fillRef idx="0">
              <a:schemeClr val="accent6"/>
            </a:fillRef>
            <a:effectRef idx="1">
              <a:schemeClr val="accent6"/>
            </a:effectRef>
            <a:fontRef idx="minor">
              <a:schemeClr val="tx1"/>
            </a:fontRef>
          </p:style>
        </p:cxnSp>
        <p:sp>
          <p:nvSpPr>
            <p:cNvPr id="79" name="TextBox 78"/>
            <p:cNvSpPr txBox="1"/>
            <p:nvPr/>
          </p:nvSpPr>
          <p:spPr>
            <a:xfrm>
              <a:off x="8641985" y="5287524"/>
              <a:ext cx="1345249" cy="483556"/>
            </a:xfrm>
            <a:prstGeom prst="rect">
              <a:avLst/>
            </a:prstGeom>
            <a:noFill/>
          </p:spPr>
          <p:txBody>
            <a:bodyPr wrap="none" lIns="134464" tIns="107571" rIns="134464" bIns="107571" rtlCol="0">
              <a:spAutoFit/>
            </a:bodyPr>
            <a:lstStyle/>
            <a:p>
              <a:pPr marL="0" marR="0" lvl="0" indent="0" algn="ctr" defTabSz="685775" rtl="0" eaLnBrk="1" fontAlgn="auto" latinLnBrk="0" hangingPunct="1">
                <a:lnSpc>
                  <a:spcPct val="90000"/>
                </a:lnSpc>
                <a:spcBef>
                  <a:spcPts val="0"/>
                </a:spcBef>
                <a:spcAft>
                  <a:spcPts val="147"/>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mn-ea"/>
                  <a:cs typeface="+mn-cs"/>
                </a:rPr>
                <a:t>Subscription</a:t>
              </a:r>
            </a:p>
          </p:txBody>
        </p:sp>
        <p:sp>
          <p:nvSpPr>
            <p:cNvPr id="80" name="TextBox 79"/>
            <p:cNvSpPr txBox="1"/>
            <p:nvPr/>
          </p:nvSpPr>
          <p:spPr>
            <a:xfrm>
              <a:off x="9819985" y="5293085"/>
              <a:ext cx="1167340" cy="694555"/>
            </a:xfrm>
            <a:prstGeom prst="rect">
              <a:avLst/>
            </a:prstGeom>
            <a:noFill/>
          </p:spPr>
          <p:txBody>
            <a:bodyPr wrap="square" lIns="134464" tIns="107571" rIns="134464" bIns="107571" rtlCol="0">
              <a:spAutoFit/>
            </a:bodyPr>
            <a:lstStyle/>
            <a:p>
              <a:pPr marL="0" marR="0" lvl="0" indent="0" algn="ctr" defTabSz="685775" rtl="0" eaLnBrk="1" fontAlgn="auto" latinLnBrk="0" hangingPunct="1">
                <a:lnSpc>
                  <a:spcPct val="90000"/>
                </a:lnSpc>
                <a:spcBef>
                  <a:spcPts val="0"/>
                </a:spcBef>
                <a:spcAft>
                  <a:spcPts val="147"/>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mn-ea"/>
                  <a:cs typeface="+mn-cs"/>
                </a:rPr>
                <a:t>Resource </a:t>
              </a:r>
            </a:p>
            <a:p>
              <a:pPr marL="0" marR="0" lvl="0" indent="0" algn="ctr" defTabSz="685775" rtl="0" eaLnBrk="1" fontAlgn="auto" latinLnBrk="0" hangingPunct="1">
                <a:lnSpc>
                  <a:spcPct val="90000"/>
                </a:lnSpc>
                <a:spcBef>
                  <a:spcPts val="0"/>
                </a:spcBef>
                <a:spcAft>
                  <a:spcPts val="147"/>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mn-ea"/>
                  <a:cs typeface="+mn-cs"/>
                </a:rPr>
                <a:t>Groups</a:t>
              </a:r>
            </a:p>
          </p:txBody>
        </p:sp>
        <p:sp>
          <p:nvSpPr>
            <p:cNvPr id="81" name="TextBox 80"/>
            <p:cNvSpPr txBox="1"/>
            <p:nvPr/>
          </p:nvSpPr>
          <p:spPr>
            <a:xfrm>
              <a:off x="10704213" y="5287523"/>
              <a:ext cx="1167340" cy="483556"/>
            </a:xfrm>
            <a:prstGeom prst="rect">
              <a:avLst/>
            </a:prstGeom>
            <a:noFill/>
          </p:spPr>
          <p:txBody>
            <a:bodyPr wrap="square" lIns="134464" tIns="107571" rIns="134464" bIns="107571" rtlCol="0">
              <a:spAutoFit/>
            </a:bodyPr>
            <a:lstStyle/>
            <a:p>
              <a:pPr marL="0" marR="0" lvl="0" indent="0" algn="ctr" defTabSz="685775" rtl="0" eaLnBrk="1" fontAlgn="auto" latinLnBrk="0" hangingPunct="1">
                <a:lnSpc>
                  <a:spcPct val="90000"/>
                </a:lnSpc>
                <a:spcBef>
                  <a:spcPts val="0"/>
                </a:spcBef>
                <a:spcAft>
                  <a:spcPts val="147"/>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Segoe UI"/>
                  <a:ea typeface="+mn-ea"/>
                  <a:cs typeface="+mn-cs"/>
                </a:rPr>
                <a:t>Resources</a:t>
              </a:r>
            </a:p>
          </p:txBody>
        </p:sp>
        <p:pic>
          <p:nvPicPr>
            <p:cNvPr id="7" name="Graphic 6">
              <a:extLst>
                <a:ext uri="{FF2B5EF4-FFF2-40B4-BE49-F238E27FC236}">
                  <a16:creationId xmlns:a16="http://schemas.microsoft.com/office/drawing/2014/main" id="{87FF08D4-67C6-4FE4-81FF-3AC56DED9BF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57306" y="1061454"/>
              <a:ext cx="662526" cy="662526"/>
            </a:xfrm>
            <a:prstGeom prst="rect">
              <a:avLst/>
            </a:prstGeom>
          </p:spPr>
        </p:pic>
      </p:grpSp>
      <p:pic>
        <p:nvPicPr>
          <p:cNvPr id="11" name="Picture 10">
            <a:extLst>
              <a:ext uri="{FF2B5EF4-FFF2-40B4-BE49-F238E27FC236}">
                <a16:creationId xmlns:a16="http://schemas.microsoft.com/office/drawing/2014/main" id="{9FCFA667-50CF-4152-AF92-01E2EE7275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88750" y="2665843"/>
            <a:ext cx="585218" cy="585218"/>
          </a:xfrm>
          <a:prstGeom prst="rect">
            <a:avLst/>
          </a:prstGeom>
        </p:spPr>
      </p:pic>
      <p:sp>
        <p:nvSpPr>
          <p:cNvPr id="88" name="TextBox 87">
            <a:extLst>
              <a:ext uri="{FF2B5EF4-FFF2-40B4-BE49-F238E27FC236}">
                <a16:creationId xmlns:a16="http://schemas.microsoft.com/office/drawing/2014/main" id="{B342B22F-155A-4638-9419-6D157423E391}"/>
              </a:ext>
            </a:extLst>
          </p:cNvPr>
          <p:cNvSpPr txBox="1"/>
          <p:nvPr/>
        </p:nvSpPr>
        <p:spPr>
          <a:xfrm>
            <a:off x="1834427" y="3216144"/>
            <a:ext cx="1333314" cy="415498"/>
          </a:xfrm>
          <a:prstGeom prst="rect">
            <a:avLst/>
          </a:prstGeom>
          <a:noFill/>
        </p:spPr>
        <p:txBody>
          <a:bodyPr wrap="none" lIns="137160" tIns="109728" rIns="137160" bIns="109728" rtlCol="0">
            <a:spAutoFit/>
          </a:bodyPr>
          <a:lstStyle/>
          <a:p>
            <a:pPr marL="0" marR="0" lvl="0" indent="0" algn="l" defTabSz="699557" rtl="0" eaLnBrk="1" fontAlgn="auto" latinLnBrk="0" hangingPunct="1">
              <a:lnSpc>
                <a:spcPct val="90000"/>
              </a:lnSpc>
              <a:spcBef>
                <a:spcPts val="0"/>
              </a:spcBef>
              <a:spcAft>
                <a:spcPts val="150"/>
              </a:spcAft>
              <a:buClrTx/>
              <a:buSzTx/>
              <a:buFontTx/>
              <a:buNone/>
              <a:tabLst/>
              <a:defRPr/>
            </a:pPr>
            <a:r>
              <a:rPr kumimoji="0" lang="en-US" sz="1400" b="0" i="0" u="none" strike="noStrike" kern="1200" cap="none" spc="0" normalizeH="0" baseline="0" noProof="0" dirty="0">
                <a:ln>
                  <a:noFill/>
                </a:ln>
                <a:solidFill>
                  <a:srgbClr val="5F5F5F"/>
                </a:solidFill>
                <a:effectLst/>
                <a:uLnTx/>
                <a:uFillTx/>
                <a:latin typeface="Segoe UI"/>
                <a:ea typeface="+mn-ea"/>
                <a:cs typeface="+mn-cs"/>
              </a:rPr>
              <a:t>Synchronized</a:t>
            </a:r>
          </a:p>
        </p:txBody>
      </p:sp>
      <p:grpSp>
        <p:nvGrpSpPr>
          <p:cNvPr id="3" name="Group 2">
            <a:extLst>
              <a:ext uri="{FF2B5EF4-FFF2-40B4-BE49-F238E27FC236}">
                <a16:creationId xmlns:a16="http://schemas.microsoft.com/office/drawing/2014/main" id="{6BE8A68D-85A8-45CE-A6E9-919FE2A3AF6F}"/>
              </a:ext>
            </a:extLst>
          </p:cNvPr>
          <p:cNvGrpSpPr/>
          <p:nvPr/>
        </p:nvGrpSpPr>
        <p:grpSpPr>
          <a:xfrm>
            <a:off x="197991" y="805801"/>
            <a:ext cx="1973021" cy="3270583"/>
            <a:chOff x="197991" y="805801"/>
            <a:chExt cx="1973021" cy="3270583"/>
          </a:xfrm>
        </p:grpSpPr>
        <p:grpSp>
          <p:nvGrpSpPr>
            <p:cNvPr id="12" name="Group 11">
              <a:extLst>
                <a:ext uri="{FF2B5EF4-FFF2-40B4-BE49-F238E27FC236}">
                  <a16:creationId xmlns:a16="http://schemas.microsoft.com/office/drawing/2014/main" id="{8E74A9DE-7906-4483-8BBB-11E60E428DB9}"/>
                </a:ext>
              </a:extLst>
            </p:cNvPr>
            <p:cNvGrpSpPr/>
            <p:nvPr/>
          </p:nvGrpSpPr>
          <p:grpSpPr>
            <a:xfrm>
              <a:off x="197991" y="1541154"/>
              <a:ext cx="1973021" cy="2535230"/>
              <a:chOff x="330052" y="1807298"/>
              <a:chExt cx="2630694" cy="3380306"/>
            </a:xfrm>
          </p:grpSpPr>
          <p:sp>
            <p:nvSpPr>
              <p:cNvPr id="83" name="Freeform 5">
                <a:extLst>
                  <a:ext uri="{FF2B5EF4-FFF2-40B4-BE49-F238E27FC236}">
                    <a16:creationId xmlns:a16="http://schemas.microsoft.com/office/drawing/2014/main" id="{253EB8DA-37C5-4F19-969F-E6349D00BD0E}"/>
                  </a:ext>
                </a:extLst>
              </p:cNvPr>
              <p:cNvSpPr>
                <a:spLocks noEditPoints="1"/>
              </p:cNvSpPr>
              <p:nvPr/>
            </p:nvSpPr>
            <p:spPr bwMode="black">
              <a:xfrm>
                <a:off x="617130" y="3513315"/>
                <a:ext cx="1725151" cy="1674289"/>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lumMod val="75000"/>
                </a:schemeClr>
              </a:solidFill>
              <a:ln>
                <a:noFill/>
              </a:ln>
            </p:spPr>
            <p:txBody>
              <a:bodyPr lIns="68561" tIns="34280" rIns="68561" bIns="34280"/>
              <a:lstStyle/>
              <a:p>
                <a:pPr marL="0" marR="0" lvl="0" indent="0" algn="l" defTabSz="699182" rtl="0" eaLnBrk="0" fontAlgn="base" latinLnBrk="0" hangingPunct="0">
                  <a:lnSpc>
                    <a:spcPct val="100000"/>
                  </a:lnSpc>
                  <a:spcBef>
                    <a:spcPct val="0"/>
                  </a:spcBef>
                  <a:spcAft>
                    <a:spcPct val="0"/>
                  </a:spcAft>
                  <a:buClrTx/>
                  <a:buSzTx/>
                  <a:buFontTx/>
                  <a:buNone/>
                  <a:tabLst/>
                  <a:defRPr/>
                </a:pPr>
                <a:endParaRPr kumimoji="0" lang="en-US" sz="1324" b="0" i="0" u="none" strike="noStrike" kern="0" cap="none" spc="0" normalizeH="0" baseline="0" noProof="0" dirty="0">
                  <a:ln>
                    <a:noFill/>
                  </a:ln>
                  <a:solidFill>
                    <a:srgbClr val="505050"/>
                  </a:solidFill>
                  <a:effectLst/>
                  <a:uLnTx/>
                  <a:uFillTx/>
                  <a:latin typeface="Arial" pitchFamily="34" charset="0"/>
                  <a:ea typeface="+mn-ea"/>
                  <a:cs typeface="+mn-cs"/>
                </a:endParaRPr>
              </a:p>
            </p:txBody>
          </p:sp>
          <p:sp>
            <p:nvSpPr>
              <p:cNvPr id="87" name="TextBox 86">
                <a:extLst>
                  <a:ext uri="{FF2B5EF4-FFF2-40B4-BE49-F238E27FC236}">
                    <a16:creationId xmlns:a16="http://schemas.microsoft.com/office/drawing/2014/main" id="{6ED41C3D-3609-4866-8A40-15876FF34F34}"/>
                  </a:ext>
                </a:extLst>
              </p:cNvPr>
              <p:cNvSpPr txBox="1"/>
              <p:nvPr/>
            </p:nvSpPr>
            <p:spPr bwMode="auto">
              <a:xfrm>
                <a:off x="330052" y="1807298"/>
                <a:ext cx="2630694" cy="861774"/>
              </a:xfrm>
              <a:prstGeom prst="rect">
                <a:avLst/>
              </a:prstGeom>
              <a:noFill/>
              <a:ln w="9525">
                <a:noFill/>
                <a:miter lim="800000"/>
                <a:headEnd/>
                <a:tailEnd/>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Active Directory</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A1A1A">
                        <a:lumMod val="65000"/>
                        <a:lumOff val="35000"/>
                      </a:srgbClr>
                    </a:solidFill>
                    <a:effectLst/>
                    <a:uLnTx/>
                    <a:uFillTx/>
                    <a:latin typeface="Segoe UI" panose="020B0502040204020203" pitchFamily="34" charset="0"/>
                    <a:ea typeface="+mn-ea"/>
                    <a:cs typeface="Segoe UI" panose="020B0502040204020203" pitchFamily="34" charset="0"/>
                  </a:rPr>
                  <a:t>CONTOSO</a:t>
                </a:r>
              </a:p>
            </p:txBody>
          </p:sp>
        </p:grpSp>
        <p:pic>
          <p:nvPicPr>
            <p:cNvPr id="73" name="Picture 72">
              <a:extLst>
                <a:ext uri="{FF2B5EF4-FFF2-40B4-BE49-F238E27FC236}">
                  <a16:creationId xmlns:a16="http://schemas.microsoft.com/office/drawing/2014/main" id="{877A0BF1-4DC2-4EE6-84FC-BE8136660F1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91537" y="805801"/>
              <a:ext cx="985927" cy="652657"/>
            </a:xfrm>
            <a:prstGeom prst="rect">
              <a:avLst/>
            </a:prstGeom>
          </p:spPr>
        </p:pic>
      </p:grpSp>
    </p:spTree>
    <p:extLst>
      <p:ext uri="{BB962C8B-B14F-4D97-AF65-F5344CB8AC3E}">
        <p14:creationId xmlns:p14="http://schemas.microsoft.com/office/powerpoint/2010/main" val="33346489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down)">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down)">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45"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2000"/>
                                        <p:tgtEl>
                                          <p:spTgt spid="11"/>
                                        </p:tgtEl>
                                      </p:cBhvr>
                                    </p:animEffect>
                                    <p:anim calcmode="lin" valueType="num">
                                      <p:cBhvr>
                                        <p:cTn id="23" dur="2000" fill="hold"/>
                                        <p:tgtEl>
                                          <p:spTgt spid="11"/>
                                        </p:tgtEl>
                                        <p:attrNameLst>
                                          <p:attrName>ppt_w</p:attrName>
                                        </p:attrNameLst>
                                      </p:cBhvr>
                                      <p:tavLst>
                                        <p:tav tm="0" fmla="#ppt_w*sin(2.5*pi*$)">
                                          <p:val>
                                            <p:fltVal val="0"/>
                                          </p:val>
                                        </p:tav>
                                        <p:tav tm="100000">
                                          <p:val>
                                            <p:fltVal val="1"/>
                                          </p:val>
                                        </p:tav>
                                      </p:tavLst>
                                    </p:anim>
                                    <p:anim calcmode="lin" valueType="num">
                                      <p:cBhvr>
                                        <p:cTn id="24" dur="2000" fill="hold"/>
                                        <p:tgtEl>
                                          <p:spTgt spid="11"/>
                                        </p:tgtEl>
                                        <p:attrNameLst>
                                          <p:attrName>ppt_h</p:attrName>
                                        </p:attrNameLst>
                                      </p:cBhvr>
                                      <p:tavLst>
                                        <p:tav tm="0">
                                          <p:val>
                                            <p:strVal val="#ppt_h"/>
                                          </p:val>
                                        </p:tav>
                                        <p:tav tm="100000">
                                          <p:val>
                                            <p:strVal val="#ppt_h"/>
                                          </p:val>
                                        </p:tav>
                                      </p:tavLst>
                                    </p:anim>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88"/>
                                        </p:tgtEl>
                                        <p:attrNameLst>
                                          <p:attrName>style.visibility</p:attrName>
                                        </p:attrNameLst>
                                      </p:cBhvr>
                                      <p:to>
                                        <p:strVal val="visible"/>
                                      </p:to>
                                    </p:set>
                                    <p:animEffect transition="in" filter="fade">
                                      <p:cBhvr>
                                        <p:cTn id="28" dur="500"/>
                                        <p:tgtEl>
                                          <p:spTgt spid="88"/>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2"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wipe(right)">
                                      <p:cBhvr>
                                        <p:cTn id="3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628651" y="542684"/>
            <a:ext cx="3446303" cy="1234126"/>
          </a:xfrm>
        </p:spPr>
        <p:txBody>
          <a:bodyPr vert="horz" wrap="square" lIns="68580" tIns="34290" rIns="68580" bIns="34290" rtlCol="0" anchor="ctr">
            <a:normAutofit/>
          </a:bodyPr>
          <a:lstStyle/>
          <a:p>
            <a:pPr defTabSz="685800">
              <a:lnSpc>
                <a:spcPct val="90000"/>
              </a:lnSpc>
            </a:pPr>
            <a:r>
              <a:rPr lang="en-US" sz="3300" dirty="0">
                <a:solidFill>
                  <a:schemeClr val="tx1"/>
                </a:solidFill>
                <a:ea typeface="+mj-ea"/>
                <a:cs typeface="+mj-cs"/>
              </a:rPr>
              <a:t>Azure AD Objects</a:t>
            </a:r>
          </a:p>
        </p:txBody>
      </p:sp>
      <p:sp>
        <p:nvSpPr>
          <p:cNvPr id="3" name="Text Placeholder 2">
            <a:extLst>
              <a:ext uri="{FF2B5EF4-FFF2-40B4-BE49-F238E27FC236}">
                <a16:creationId xmlns:a16="http://schemas.microsoft.com/office/drawing/2014/main" id="{29FA23E7-56CC-4234-A79B-4833FD53B2B0}"/>
              </a:ext>
            </a:extLst>
          </p:cNvPr>
          <p:cNvSpPr>
            <a:spLocks noGrp="1"/>
          </p:cNvSpPr>
          <p:nvPr>
            <p:ph type="body" sz="quarter" idx="10"/>
          </p:nvPr>
        </p:nvSpPr>
        <p:spPr>
          <a:xfrm>
            <a:off x="243682" y="1504950"/>
            <a:ext cx="3915443" cy="2962948"/>
          </a:xfrm>
        </p:spPr>
        <p:txBody>
          <a:bodyPr vert="horz" wrap="square" lIns="68580" tIns="34290" rIns="68580" bIns="34290" rtlCol="0">
            <a:normAutofit/>
          </a:bodyPr>
          <a:lstStyle/>
          <a:p>
            <a:pPr indent="-171450" defTabSz="685800">
              <a:lnSpc>
                <a:spcPct val="90000"/>
              </a:lnSpc>
              <a:buFont typeface="Arial" panose="020B0604020202020204" pitchFamily="34" charset="0"/>
              <a:buChar char="•"/>
            </a:pPr>
            <a:r>
              <a:rPr lang="en-US" sz="1350" dirty="0">
                <a:solidFill>
                  <a:schemeClr val="tx1"/>
                </a:solidFill>
                <a:latin typeface="+mn-lt"/>
                <a:cs typeface="+mn-cs"/>
              </a:rPr>
              <a:t>Users</a:t>
            </a:r>
          </a:p>
          <a:p>
            <a:pPr marL="514350" lvl="1" indent="-171450" defTabSz="685800">
              <a:lnSpc>
                <a:spcPct val="90000"/>
              </a:lnSpc>
              <a:buFont typeface="Arial" panose="020B0604020202020204" pitchFamily="34" charset="0"/>
              <a:buChar char="•"/>
            </a:pPr>
            <a:r>
              <a:rPr lang="en-US" sz="1350" dirty="0">
                <a:solidFill>
                  <a:schemeClr val="tx1"/>
                </a:solidFill>
              </a:rPr>
              <a:t>On-Premises, Cloud, External</a:t>
            </a:r>
          </a:p>
          <a:p>
            <a:pPr indent="-171450" defTabSz="685800">
              <a:lnSpc>
                <a:spcPct val="90000"/>
              </a:lnSpc>
              <a:buFont typeface="Arial" panose="020B0604020202020204" pitchFamily="34" charset="0"/>
              <a:buChar char="•"/>
            </a:pPr>
            <a:r>
              <a:rPr lang="en-US" sz="1350" dirty="0">
                <a:solidFill>
                  <a:schemeClr val="tx1"/>
                </a:solidFill>
                <a:latin typeface="+mn-lt"/>
                <a:cs typeface="+mn-cs"/>
              </a:rPr>
              <a:t>Groups</a:t>
            </a:r>
          </a:p>
          <a:p>
            <a:pPr marL="514350" lvl="1" indent="-171450" defTabSz="685800">
              <a:lnSpc>
                <a:spcPct val="90000"/>
              </a:lnSpc>
              <a:buFont typeface="Arial" panose="020B0604020202020204" pitchFamily="34" charset="0"/>
              <a:buChar char="•"/>
            </a:pPr>
            <a:r>
              <a:rPr lang="en-US" sz="1350" dirty="0">
                <a:solidFill>
                  <a:schemeClr val="tx1"/>
                </a:solidFill>
              </a:rPr>
              <a:t>Assigned to Azure AD security groups</a:t>
            </a:r>
          </a:p>
          <a:p>
            <a:pPr marL="514350" lvl="1" indent="-171450" defTabSz="685800">
              <a:lnSpc>
                <a:spcPct val="90000"/>
              </a:lnSpc>
              <a:buFont typeface="Arial" panose="020B0604020202020204" pitchFamily="34" charset="0"/>
              <a:buChar char="•"/>
            </a:pPr>
            <a:r>
              <a:rPr lang="en-US" sz="1350" dirty="0">
                <a:solidFill>
                  <a:schemeClr val="tx1"/>
                </a:solidFill>
              </a:rPr>
              <a:t>Best practice: manage access through groups, adding roles, and assigning users</a:t>
            </a:r>
          </a:p>
          <a:p>
            <a:pPr indent="-171450" defTabSz="685800">
              <a:lnSpc>
                <a:spcPct val="90000"/>
              </a:lnSpc>
              <a:buFont typeface="Arial" panose="020B0604020202020204" pitchFamily="34" charset="0"/>
              <a:buChar char="•"/>
            </a:pPr>
            <a:r>
              <a:rPr lang="en-US" sz="1350" dirty="0">
                <a:solidFill>
                  <a:schemeClr val="tx1"/>
                </a:solidFill>
              </a:rPr>
              <a:t>Service Principals</a:t>
            </a:r>
          </a:p>
          <a:p>
            <a:pPr marL="514350" lvl="1" indent="-171450" defTabSz="685800">
              <a:lnSpc>
                <a:spcPct val="90000"/>
              </a:lnSpc>
              <a:buFont typeface="Arial" panose="020B0604020202020204" pitchFamily="34" charset="0"/>
              <a:buChar char="•"/>
            </a:pPr>
            <a:r>
              <a:rPr lang="en-US" sz="1350" dirty="0">
                <a:solidFill>
                  <a:schemeClr val="tx1"/>
                </a:solidFill>
              </a:rPr>
              <a:t>Service identities represented as service principals in the directory</a:t>
            </a:r>
          </a:p>
          <a:p>
            <a:pPr indent="-171450" defTabSz="685800">
              <a:lnSpc>
                <a:spcPct val="90000"/>
              </a:lnSpc>
              <a:buFont typeface="Arial" panose="020B0604020202020204" pitchFamily="34" charset="0"/>
              <a:buChar char="•"/>
            </a:pPr>
            <a:r>
              <a:rPr lang="en-US" sz="1350" dirty="0">
                <a:solidFill>
                  <a:schemeClr val="tx1"/>
                </a:solidFill>
                <a:latin typeface="+mn-lt"/>
                <a:cs typeface="+mn-cs"/>
              </a:rPr>
              <a:t>Managed Identity</a:t>
            </a:r>
          </a:p>
          <a:p>
            <a:pPr marL="514350" lvl="1" indent="-171450" defTabSz="685800">
              <a:lnSpc>
                <a:spcPct val="90000"/>
              </a:lnSpc>
              <a:buFont typeface="Arial" panose="020B0604020202020204" pitchFamily="34" charset="0"/>
              <a:buChar char="•"/>
            </a:pPr>
            <a:r>
              <a:rPr lang="en-US" sz="1350" dirty="0">
                <a:solidFill>
                  <a:schemeClr val="tx1"/>
                </a:solidFill>
              </a:rPr>
              <a:t>Azure Resources can authenticate to gain access to other resources</a:t>
            </a:r>
            <a:endParaRPr lang="en-US" sz="1350" dirty="0">
              <a:solidFill>
                <a:schemeClr val="tx1"/>
              </a:solidFill>
              <a:latin typeface="+mn-lt"/>
              <a:cs typeface="+mn-cs"/>
            </a:endParaRPr>
          </a:p>
          <a:p>
            <a:pPr marL="342900" indent="-171450" defTabSz="685800">
              <a:lnSpc>
                <a:spcPct val="90000"/>
              </a:lnSpc>
              <a:buFont typeface="Arial" panose="020B0604020202020204" pitchFamily="34" charset="0"/>
              <a:buChar char="•"/>
            </a:pPr>
            <a:endParaRPr lang="en-US" sz="1350" dirty="0">
              <a:solidFill>
                <a:schemeClr val="tx1"/>
              </a:solidFill>
              <a:latin typeface="+mn-lt"/>
              <a:cs typeface="+mn-cs"/>
            </a:endParaRPr>
          </a:p>
          <a:p>
            <a:pPr indent="-171450" defTabSz="685800">
              <a:lnSpc>
                <a:spcPct val="90000"/>
              </a:lnSpc>
              <a:buFont typeface="Arial" panose="020B0604020202020204" pitchFamily="34" charset="0"/>
              <a:buChar char="•"/>
            </a:pPr>
            <a:endParaRPr lang="en-US" sz="1350" dirty="0">
              <a:solidFill>
                <a:schemeClr val="tx1"/>
              </a:solidFill>
              <a:latin typeface="+mn-lt"/>
              <a:cs typeface="+mn-cs"/>
            </a:endParaRPr>
          </a:p>
        </p:txBody>
      </p:sp>
      <p:sp>
        <p:nvSpPr>
          <p:cNvPr id="22" name="Rectangle 21">
            <a:extLst>
              <a:ext uri="{FF2B5EF4-FFF2-40B4-BE49-F238E27FC236}">
                <a16:creationId xmlns:a16="http://schemas.microsoft.com/office/drawing/2014/main" id="{003713C1-2FB2-413B-BF91-3AE41726FB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68243" y="2606040"/>
            <a:ext cx="4575686" cy="253746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90795B4D-5022-4A7F-A01D-8D880B7CD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99689" y="0"/>
            <a:ext cx="4644311" cy="5143500"/>
          </a:xfrm>
          <a:prstGeom prst="rect">
            <a:avLst/>
          </a:prstGeom>
          <a:solidFill>
            <a:schemeClr val="tx1">
              <a:lumMod val="85000"/>
              <a:lumOff val="1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AFD19018-DE7C-4796-ADF2-AD2EB0FC0D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72000" y="0"/>
            <a:ext cx="2251711" cy="253746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Graphic 15">
            <a:extLst>
              <a:ext uri="{FF2B5EF4-FFF2-40B4-BE49-F238E27FC236}">
                <a16:creationId xmlns:a16="http://schemas.microsoft.com/office/drawing/2014/main" id="{76BBEC61-B3FD-4608-A0C9-B71B1AF201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21453" y="241300"/>
            <a:ext cx="1561694" cy="2054861"/>
          </a:xfrm>
          <a:prstGeom prst="rect">
            <a:avLst/>
          </a:prstGeom>
        </p:spPr>
      </p:pic>
      <p:sp>
        <p:nvSpPr>
          <p:cNvPr id="28" name="Rectangle 27">
            <a:extLst>
              <a:ext uri="{FF2B5EF4-FFF2-40B4-BE49-F238E27FC236}">
                <a16:creationId xmlns:a16="http://schemas.microsoft.com/office/drawing/2014/main" id="{B1A0A2C2-4F85-44AF-8708-8DCA4B550C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92218" y="0"/>
            <a:ext cx="2251711" cy="253746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a:extLst>
              <a:ext uri="{FF2B5EF4-FFF2-40B4-BE49-F238E27FC236}">
                <a16:creationId xmlns:a16="http://schemas.microsoft.com/office/drawing/2014/main" id="{713716D7-339E-48F0-9836-C806E983EC9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27082" y="382112"/>
            <a:ext cx="1773238" cy="1773238"/>
          </a:xfrm>
          <a:prstGeom prst="rect">
            <a:avLst/>
          </a:prstGeom>
        </p:spPr>
      </p:pic>
      <p:pic>
        <p:nvPicPr>
          <p:cNvPr id="10" name="Graphic 9">
            <a:extLst>
              <a:ext uri="{FF2B5EF4-FFF2-40B4-BE49-F238E27FC236}">
                <a16:creationId xmlns:a16="http://schemas.microsoft.com/office/drawing/2014/main" id="{83A175CE-CDC1-4A7D-9840-1A577214D0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98038" y="2847339"/>
            <a:ext cx="1919924" cy="1919924"/>
          </a:xfrm>
          <a:prstGeom prst="rect">
            <a:avLst/>
          </a:prstGeom>
        </p:spPr>
      </p:pic>
    </p:spTree>
    <p:extLst>
      <p:ext uri="{BB962C8B-B14F-4D97-AF65-F5344CB8AC3E}">
        <p14:creationId xmlns:p14="http://schemas.microsoft.com/office/powerpoint/2010/main" val="3459371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01836-1DC7-462C-A0C1-FE9A0B5EB712}"/>
              </a:ext>
            </a:extLst>
          </p:cNvPr>
          <p:cNvSpPr>
            <a:spLocks noGrp="1"/>
          </p:cNvSpPr>
          <p:nvPr>
            <p:ph type="title"/>
          </p:nvPr>
        </p:nvSpPr>
        <p:spPr/>
        <p:txBody>
          <a:bodyPr/>
          <a:lstStyle/>
          <a:p>
            <a:r>
              <a:rPr lang="en-US" dirty="0"/>
              <a:t>RBAC in AKS</a:t>
            </a:r>
          </a:p>
        </p:txBody>
      </p:sp>
      <p:sp>
        <p:nvSpPr>
          <p:cNvPr id="3" name="Text Placeholder 2">
            <a:extLst>
              <a:ext uri="{FF2B5EF4-FFF2-40B4-BE49-F238E27FC236}">
                <a16:creationId xmlns:a16="http://schemas.microsoft.com/office/drawing/2014/main" id="{015E1E5A-7465-46E0-B7C3-9ECBF28D1357}"/>
              </a:ext>
            </a:extLst>
          </p:cNvPr>
          <p:cNvSpPr>
            <a:spLocks noGrp="1"/>
          </p:cNvSpPr>
          <p:nvPr>
            <p:ph type="body" idx="1"/>
          </p:nvPr>
        </p:nvSpPr>
        <p:spPr>
          <a:xfrm>
            <a:off x="178242" y="895350"/>
            <a:ext cx="9041958" cy="3200400"/>
          </a:xfrm>
        </p:spPr>
        <p:txBody>
          <a:bodyPr/>
          <a:lstStyle/>
          <a:p>
            <a:r>
              <a:rPr lang="en-US" b="0" dirty="0"/>
              <a:t>AKS clusters deployed with Azure AD integration</a:t>
            </a:r>
          </a:p>
          <a:p>
            <a:r>
              <a:rPr lang="en-US" b="0" dirty="0"/>
              <a:t>Using Azure AD centralizes the identity management component </a:t>
            </a:r>
          </a:p>
          <a:p>
            <a:r>
              <a:rPr lang="en-US" b="0" dirty="0"/>
              <a:t>Any change in user account or group status is automatically updated in access to the AKS cluster</a:t>
            </a:r>
            <a:endParaRPr lang="en-US" dirty="0"/>
          </a:p>
        </p:txBody>
      </p:sp>
      <p:pic>
        <p:nvPicPr>
          <p:cNvPr id="5" name="Picture 4">
            <a:extLst>
              <a:ext uri="{FF2B5EF4-FFF2-40B4-BE49-F238E27FC236}">
                <a16:creationId xmlns:a16="http://schemas.microsoft.com/office/drawing/2014/main" id="{96DF3626-EF3E-40DE-8413-DC03D23D6A0D}"/>
              </a:ext>
            </a:extLst>
          </p:cNvPr>
          <p:cNvPicPr>
            <a:picLocks noChangeAspect="1"/>
          </p:cNvPicPr>
          <p:nvPr/>
        </p:nvPicPr>
        <p:blipFill>
          <a:blip r:embed="rId2"/>
          <a:stretch>
            <a:fillRect/>
          </a:stretch>
        </p:blipFill>
        <p:spPr>
          <a:xfrm>
            <a:off x="3200400" y="2114550"/>
            <a:ext cx="5715000" cy="2669942"/>
          </a:xfrm>
          <a:prstGeom prst="rect">
            <a:avLst/>
          </a:prstGeom>
        </p:spPr>
      </p:pic>
    </p:spTree>
    <p:extLst>
      <p:ext uri="{BB962C8B-B14F-4D97-AF65-F5344CB8AC3E}">
        <p14:creationId xmlns:p14="http://schemas.microsoft.com/office/powerpoint/2010/main" val="397327357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3416F6-87A9-435C-947A-D76BB5DC28AD}"/>
              </a:ext>
            </a:extLst>
          </p:cNvPr>
          <p:cNvSpPr>
            <a:spLocks noGrp="1"/>
          </p:cNvSpPr>
          <p:nvPr>
            <p:ph type="title"/>
          </p:nvPr>
        </p:nvSpPr>
        <p:spPr/>
        <p:txBody>
          <a:bodyPr/>
          <a:lstStyle/>
          <a:p>
            <a:r>
              <a:rPr lang="en-US" dirty="0"/>
              <a:t>Governance</a:t>
            </a:r>
          </a:p>
        </p:txBody>
      </p:sp>
      <p:pic>
        <p:nvPicPr>
          <p:cNvPr id="7" name="Picture 6" descr="A close up of a logo&#10;&#10;Description generated with high confidence">
            <a:extLst>
              <a:ext uri="{FF2B5EF4-FFF2-40B4-BE49-F238E27FC236}">
                <a16:creationId xmlns:a16="http://schemas.microsoft.com/office/drawing/2014/main" id="{550AE708-41F9-4FCC-AFA5-9521BB3ABB06}"/>
              </a:ext>
            </a:extLst>
          </p:cNvPr>
          <p:cNvPicPr>
            <a:picLocks noChangeAspect="1"/>
          </p:cNvPicPr>
          <p:nvPr/>
        </p:nvPicPr>
        <p:blipFill>
          <a:blip r:embed="rId2"/>
          <a:stretch>
            <a:fillRect/>
          </a:stretch>
        </p:blipFill>
        <p:spPr>
          <a:xfrm>
            <a:off x="5562600" y="971550"/>
            <a:ext cx="2156267" cy="2156267"/>
          </a:xfrm>
          <a:prstGeom prst="rect">
            <a:avLst/>
          </a:prstGeom>
        </p:spPr>
      </p:pic>
    </p:spTree>
    <p:extLst>
      <p:ext uri="{BB962C8B-B14F-4D97-AF65-F5344CB8AC3E}">
        <p14:creationId xmlns:p14="http://schemas.microsoft.com/office/powerpoint/2010/main" val="3527810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50" fill="hold"/>
                                        <p:tgtEl>
                                          <p:spTgt spid="7"/>
                                        </p:tgtEl>
                                        <p:attrNameLst>
                                          <p:attrName>ppt_x</p:attrName>
                                        </p:attrNameLst>
                                      </p:cBhvr>
                                      <p:tavLst>
                                        <p:tav tm="0">
                                          <p:val>
                                            <p:strVal val="1+#ppt_w/2"/>
                                          </p:val>
                                        </p:tav>
                                        <p:tav tm="100000">
                                          <p:val>
                                            <p:strVal val="#ppt_x"/>
                                          </p:val>
                                        </p:tav>
                                      </p:tavLst>
                                    </p:anim>
                                    <p:anim calcmode="lin" valueType="num">
                                      <p:cBhvr additive="base">
                                        <p:cTn id="8"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43" y="0"/>
            <a:ext cx="9141714"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5" eaLnBrk="1" fontAlgn="auto" hangingPunct="1">
              <a:spcBef>
                <a:spcPts val="0"/>
              </a:spcBef>
              <a:spcAft>
                <a:spcPts val="0"/>
              </a:spcAft>
            </a:pPr>
            <a:endParaRPr lang="en-US" sz="1324">
              <a:solidFill>
                <a:srgbClr val="FFFFFF"/>
              </a:solidFill>
              <a:latin typeface="Segoe UI"/>
            </a:endParaRPr>
          </a:p>
        </p:txBody>
      </p:sp>
      <p:sp>
        <p:nvSpPr>
          <p:cNvPr id="24" name="Rectangle 23">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7953" y="0"/>
            <a:ext cx="4606047" cy="51435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5" eaLnBrk="1" fontAlgn="auto" hangingPunct="1">
              <a:spcBef>
                <a:spcPts val="0"/>
              </a:spcBef>
              <a:spcAft>
                <a:spcPts val="0"/>
              </a:spcAft>
            </a:pPr>
            <a:endParaRPr lang="en-US" sz="1324">
              <a:solidFill>
                <a:srgbClr val="FFFFFF"/>
              </a:solidFill>
              <a:latin typeface="Segoe UI"/>
            </a:endParaRPr>
          </a:p>
        </p:txBody>
      </p:sp>
      <p:sp>
        <p:nvSpPr>
          <p:cNvPr id="26" name="Freeform: Shape 25">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7953" y="0"/>
            <a:ext cx="3239282" cy="51435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775" eaLnBrk="1" fontAlgn="auto" hangingPunct="1">
              <a:spcBef>
                <a:spcPts val="0"/>
              </a:spcBef>
              <a:spcAft>
                <a:spcPts val="0"/>
              </a:spcAft>
            </a:pPr>
            <a:endParaRPr lang="en-US" sz="1324">
              <a:solidFill>
                <a:srgbClr val="FFFFFF"/>
              </a:solidFill>
              <a:latin typeface="Segoe UI"/>
            </a:endParaRPr>
          </a:p>
        </p:txBody>
      </p:sp>
      <p:sp>
        <p:nvSpPr>
          <p:cNvPr id="17" name="Title 16"/>
          <p:cNvSpPr>
            <a:spLocks noGrp="1"/>
          </p:cNvSpPr>
          <p:nvPr>
            <p:ph type="title"/>
          </p:nvPr>
        </p:nvSpPr>
        <p:spPr>
          <a:xfrm>
            <a:off x="4794448" y="480198"/>
            <a:ext cx="3915950" cy="1008731"/>
          </a:xfrm>
        </p:spPr>
        <p:txBody>
          <a:bodyPr vert="horz" wrap="square" lIns="68580" tIns="34290" rIns="68580" bIns="34290" rtlCol="0" anchor="ctr">
            <a:normAutofit/>
          </a:bodyPr>
          <a:lstStyle/>
          <a:p>
            <a:pPr defTabSz="685800">
              <a:lnSpc>
                <a:spcPct val="90000"/>
              </a:lnSpc>
            </a:pPr>
            <a:r>
              <a:rPr lang="en-US" sz="3000" dirty="0">
                <a:solidFill>
                  <a:schemeClr val="tx1"/>
                </a:solidFill>
                <a:ea typeface="+mj-ea"/>
                <a:cs typeface="+mj-cs"/>
              </a:rPr>
              <a:t>Azure Subscriptions</a:t>
            </a:r>
          </a:p>
        </p:txBody>
      </p:sp>
      <p:pic>
        <p:nvPicPr>
          <p:cNvPr id="3" name="Graphic 2">
            <a:extLst>
              <a:ext uri="{FF2B5EF4-FFF2-40B4-BE49-F238E27FC236}">
                <a16:creationId xmlns:a16="http://schemas.microsoft.com/office/drawing/2014/main" id="{7C9827BE-BA12-43AF-AE30-9C9540806A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3474" y="590930"/>
            <a:ext cx="3845052" cy="3845052"/>
          </a:xfrm>
          <a:prstGeom prst="rect">
            <a:avLst/>
          </a:prstGeom>
        </p:spPr>
      </p:pic>
      <p:sp>
        <p:nvSpPr>
          <p:cNvPr id="6" name="Text Placeholder 5"/>
          <p:cNvSpPr>
            <a:spLocks noGrp="1"/>
          </p:cNvSpPr>
          <p:nvPr>
            <p:ph type="body" sz="quarter" idx="10"/>
          </p:nvPr>
        </p:nvSpPr>
        <p:spPr>
          <a:xfrm>
            <a:off x="4793927" y="1591322"/>
            <a:ext cx="3926618" cy="3255616"/>
          </a:xfrm>
        </p:spPr>
        <p:txBody>
          <a:bodyPr vert="horz" wrap="square" lIns="68580" tIns="34290" rIns="68580" bIns="34290" rtlCol="0">
            <a:normAutofit/>
          </a:bodyPr>
          <a:lstStyle/>
          <a:p>
            <a:pPr defTabSz="685800">
              <a:lnSpc>
                <a:spcPct val="90000"/>
              </a:lnSpc>
              <a:buFont typeface="Arial" panose="020B0604020202020204" pitchFamily="34" charset="0"/>
              <a:buChar char="•"/>
            </a:pPr>
            <a:r>
              <a:rPr lang="en-US" dirty="0">
                <a:solidFill>
                  <a:schemeClr val="tx1"/>
                </a:solidFill>
                <a:latin typeface="+mn-lt"/>
                <a:cs typeface="+mn-cs"/>
              </a:rPr>
              <a:t>A subscription is a logical unit of Azure services used for access management and billing administration</a:t>
            </a:r>
          </a:p>
          <a:p>
            <a:pPr defTabSz="685800">
              <a:lnSpc>
                <a:spcPct val="90000"/>
              </a:lnSpc>
              <a:buFont typeface="Arial" panose="020B0604020202020204" pitchFamily="34" charset="0"/>
              <a:buChar char="•"/>
            </a:pPr>
            <a:r>
              <a:rPr lang="en-US" dirty="0">
                <a:solidFill>
                  <a:schemeClr val="tx1"/>
                </a:solidFill>
                <a:latin typeface="+mn-lt"/>
                <a:cs typeface="+mn-cs"/>
              </a:rPr>
              <a:t>Companies can have an unlimited number of subscriptions</a:t>
            </a:r>
          </a:p>
          <a:p>
            <a:pPr defTabSz="685800">
              <a:lnSpc>
                <a:spcPct val="90000"/>
              </a:lnSpc>
              <a:buFont typeface="Arial" panose="020B0604020202020204" pitchFamily="34" charset="0"/>
              <a:buChar char="•"/>
            </a:pPr>
            <a:r>
              <a:rPr lang="en-US" dirty="0">
                <a:solidFill>
                  <a:schemeClr val="tx1"/>
                </a:solidFill>
                <a:latin typeface="+mn-lt"/>
                <a:cs typeface="+mn-cs"/>
              </a:rPr>
              <a:t>Subscriptions help you organize access to cloud service resources</a:t>
            </a:r>
          </a:p>
        </p:txBody>
      </p:sp>
    </p:spTree>
    <p:extLst>
      <p:ext uri="{BB962C8B-B14F-4D97-AF65-F5344CB8AC3E}">
        <p14:creationId xmlns:p14="http://schemas.microsoft.com/office/powerpoint/2010/main" val="15569312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1135719" y="385209"/>
            <a:ext cx="7420600" cy="773412"/>
          </a:xfrm>
        </p:spPr>
        <p:txBody>
          <a:bodyPr vert="horz" wrap="square" lIns="68580" tIns="34290" rIns="68580" bIns="34290" rtlCol="0" anchor="b">
            <a:normAutofit/>
          </a:bodyPr>
          <a:lstStyle/>
          <a:p>
            <a:pPr defTabSz="685800">
              <a:lnSpc>
                <a:spcPct val="90000"/>
              </a:lnSpc>
            </a:pPr>
            <a:r>
              <a:rPr lang="en-US" sz="3300">
                <a:solidFill>
                  <a:schemeClr val="tx1"/>
                </a:solidFill>
                <a:ea typeface="+mj-ea"/>
                <a:cs typeface="+mj-cs"/>
              </a:rPr>
              <a:t>Management Groups</a:t>
            </a:r>
          </a:p>
        </p:txBody>
      </p:sp>
      <p:pic>
        <p:nvPicPr>
          <p:cNvPr id="2" name="Picture 4" descr="Example of a management group hierarchy tree">
            <a:extLst>
              <a:ext uri="{FF2B5EF4-FFF2-40B4-BE49-F238E27FC236}">
                <a16:creationId xmlns:a16="http://schemas.microsoft.com/office/drawing/2014/main" id="{87FF691F-B794-4447-BBB4-6C02609CA01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363371" y="1941814"/>
            <a:ext cx="3346735" cy="2066609"/>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Shape 33">
            <a:extLst>
              <a:ext uri="{FF2B5EF4-FFF2-40B4-BE49-F238E27FC236}">
                <a16:creationId xmlns:a16="http://schemas.microsoft.com/office/drawing/2014/main" id="{C607803A-4E99-444E-94F7-8785CDDF58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flipH="1" flipV="1">
            <a:off x="585116" y="1413034"/>
            <a:ext cx="2456751" cy="2139981"/>
          </a:xfrm>
          <a:custGeom>
            <a:avLst/>
            <a:gdLst>
              <a:gd name="connsiteX0" fmla="*/ 3275668 w 3275668"/>
              <a:gd name="connsiteY0" fmla="*/ 2853308 h 2853308"/>
              <a:gd name="connsiteX1" fmla="*/ 655 w 3275668"/>
              <a:gd name="connsiteY1" fmla="*/ 2853308 h 2853308"/>
              <a:gd name="connsiteX2" fmla="*/ 0 w 3275668"/>
              <a:gd name="connsiteY2" fmla="*/ 2467565 h 2853308"/>
              <a:gd name="connsiteX3" fmla="*/ 2869894 w 3275668"/>
              <a:gd name="connsiteY3" fmla="*/ 2468888 h 2853308"/>
              <a:gd name="connsiteX4" fmla="*/ 2869894 w 3275668"/>
              <a:gd name="connsiteY4" fmla="*/ 0 h 2853308"/>
              <a:gd name="connsiteX5" fmla="*/ 3275668 w 3275668"/>
              <a:gd name="connsiteY5" fmla="*/ 0 h 285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5668" h="2853308">
                <a:moveTo>
                  <a:pt x="3275668" y="2853308"/>
                </a:moveTo>
                <a:lnTo>
                  <a:pt x="655" y="2853308"/>
                </a:lnTo>
                <a:cubicBezTo>
                  <a:pt x="-655" y="2720171"/>
                  <a:pt x="1310" y="2600702"/>
                  <a:pt x="0" y="2467565"/>
                </a:cubicBezTo>
                <a:lnTo>
                  <a:pt x="2869894" y="2468888"/>
                </a:lnTo>
                <a:lnTo>
                  <a:pt x="2869894" y="0"/>
                </a:lnTo>
                <a:lnTo>
                  <a:pt x="3275668" y="0"/>
                </a:lnTo>
                <a:close/>
              </a:path>
            </a:pathLst>
          </a:custGeom>
          <a:solidFill>
            <a:srgbClr val="4C4C4C"/>
          </a:solidFill>
          <a:ln w="0">
            <a:noFill/>
            <a:prstDash val="solid"/>
            <a:round/>
            <a:headEnd/>
            <a:tailEnd/>
          </a:ln>
        </p:spPr>
      </p:sp>
      <p:sp>
        <p:nvSpPr>
          <p:cNvPr id="36" name="Freeform: Shape 35">
            <a:extLst>
              <a:ext uri="{FF2B5EF4-FFF2-40B4-BE49-F238E27FC236}">
                <a16:creationId xmlns:a16="http://schemas.microsoft.com/office/drawing/2014/main" id="{2989BE6A-C309-418E-8ADD-1616A98057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041867" y="2416897"/>
            <a:ext cx="2432214" cy="2121117"/>
          </a:xfrm>
          <a:custGeom>
            <a:avLst/>
            <a:gdLst>
              <a:gd name="connsiteX0" fmla="*/ 2837178 w 3242952"/>
              <a:gd name="connsiteY0" fmla="*/ 0 h 2828156"/>
              <a:gd name="connsiteX1" fmla="*/ 3242952 w 3242952"/>
              <a:gd name="connsiteY1" fmla="*/ 0 h 2828156"/>
              <a:gd name="connsiteX2" fmla="*/ 3242952 w 3242952"/>
              <a:gd name="connsiteY2" fmla="*/ 2828156 h 2828156"/>
              <a:gd name="connsiteX3" fmla="*/ 0 w 3242952"/>
              <a:gd name="connsiteY3" fmla="*/ 2828156 h 2828156"/>
              <a:gd name="connsiteX4" fmla="*/ 0 w 3242952"/>
              <a:gd name="connsiteY4" fmla="*/ 2442859 h 2828156"/>
              <a:gd name="connsiteX5" fmla="*/ 2837178 w 3242952"/>
              <a:gd name="connsiteY5" fmla="*/ 2443295 h 282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2952" h="2828156">
                <a:moveTo>
                  <a:pt x="2837178" y="0"/>
                </a:moveTo>
                <a:lnTo>
                  <a:pt x="3242952" y="0"/>
                </a:lnTo>
                <a:lnTo>
                  <a:pt x="3242952" y="2828156"/>
                </a:lnTo>
                <a:lnTo>
                  <a:pt x="0" y="2828156"/>
                </a:lnTo>
                <a:lnTo>
                  <a:pt x="0" y="2442859"/>
                </a:lnTo>
                <a:lnTo>
                  <a:pt x="2837178" y="2443295"/>
                </a:lnTo>
                <a:close/>
              </a:path>
            </a:pathLst>
          </a:custGeom>
          <a:solidFill>
            <a:srgbClr val="4C4C4C"/>
          </a:solidFill>
          <a:ln w="0">
            <a:noFill/>
            <a:prstDash val="solid"/>
            <a:round/>
            <a:headEnd/>
            <a:tailEnd/>
          </a:ln>
        </p:spPr>
        <p:txBody>
          <a:bodyPr wrap="square">
            <a:noAutofit/>
          </a:bodyPr>
          <a:lstStyle/>
          <a:p>
            <a:pPr defTabSz="685800" eaLnBrk="1" fontAlgn="auto" hangingPunct="1">
              <a:spcBef>
                <a:spcPts val="0"/>
              </a:spcBef>
              <a:spcAft>
                <a:spcPts val="0"/>
              </a:spcAft>
              <a:defRPr/>
            </a:pPr>
            <a:endParaRPr lang="en-US" sz="1350">
              <a:solidFill>
                <a:prstClr val="black"/>
              </a:solidFill>
              <a:latin typeface="Calibri" panose="020F0502020204030204"/>
            </a:endParaRPr>
          </a:p>
        </p:txBody>
      </p:sp>
      <p:sp>
        <p:nvSpPr>
          <p:cNvPr id="6" name="Text Placeholder 5"/>
          <p:cNvSpPr>
            <a:spLocks noGrp="1"/>
          </p:cNvSpPr>
          <p:nvPr>
            <p:ph type="body" sz="quarter" idx="10"/>
          </p:nvPr>
        </p:nvSpPr>
        <p:spPr>
          <a:xfrm>
            <a:off x="5836030" y="1000898"/>
            <a:ext cx="3014498" cy="3757393"/>
          </a:xfrm>
        </p:spPr>
        <p:txBody>
          <a:bodyPr vert="horz" wrap="square" lIns="68580" tIns="34290" rIns="68580" bIns="34290" rtlCol="0" anchor="ctr">
            <a:normAutofit lnSpcReduction="10000"/>
          </a:bodyPr>
          <a:lstStyle/>
          <a:p>
            <a:pPr defTabSz="685800">
              <a:lnSpc>
                <a:spcPct val="90000"/>
              </a:lnSpc>
              <a:buFont typeface="Arial" panose="020B0604020202020204" pitchFamily="34" charset="0"/>
              <a:buChar char="•"/>
            </a:pPr>
            <a:r>
              <a:rPr lang="en-US" sz="1800" dirty="0">
                <a:solidFill>
                  <a:schemeClr val="tx1"/>
                </a:solidFill>
                <a:latin typeface="+mn-lt"/>
                <a:cs typeface="+mn-cs"/>
              </a:rPr>
              <a:t>Provides a level of scope above subscriptions</a:t>
            </a:r>
          </a:p>
          <a:p>
            <a:pPr defTabSz="685800">
              <a:lnSpc>
                <a:spcPct val="90000"/>
              </a:lnSpc>
              <a:buFont typeface="Arial" panose="020B0604020202020204" pitchFamily="34" charset="0"/>
              <a:buChar char="•"/>
            </a:pPr>
            <a:r>
              <a:rPr lang="en-US" sz="1800" dirty="0">
                <a:solidFill>
                  <a:schemeClr val="tx1"/>
                </a:solidFill>
                <a:latin typeface="+mn-lt"/>
                <a:cs typeface="+mn-cs"/>
              </a:rPr>
              <a:t>Organizational alignment for your Azure subscriptions through</a:t>
            </a:r>
            <a:br>
              <a:rPr lang="en-US" sz="1800" dirty="0">
                <a:solidFill>
                  <a:schemeClr val="tx1"/>
                </a:solidFill>
                <a:latin typeface="+mn-lt"/>
                <a:cs typeface="+mn-cs"/>
              </a:rPr>
            </a:br>
            <a:r>
              <a:rPr lang="en-US" sz="1800" dirty="0">
                <a:solidFill>
                  <a:schemeClr val="tx1"/>
                </a:solidFill>
                <a:latin typeface="+mn-lt"/>
                <a:cs typeface="+mn-cs"/>
              </a:rPr>
              <a:t>custom hierarchies and grouping</a:t>
            </a:r>
          </a:p>
          <a:p>
            <a:pPr defTabSz="685800">
              <a:lnSpc>
                <a:spcPct val="90000"/>
              </a:lnSpc>
              <a:buFont typeface="Arial" panose="020B0604020202020204" pitchFamily="34" charset="0"/>
              <a:buChar char="•"/>
            </a:pPr>
            <a:r>
              <a:rPr lang="en-US" sz="1800" dirty="0">
                <a:solidFill>
                  <a:schemeClr val="tx1"/>
                </a:solidFill>
                <a:latin typeface="+mn-lt"/>
                <a:cs typeface="+mn-cs"/>
              </a:rPr>
              <a:t>Targeting of policies and spend budgets across subscriptions and inheritance down the hierarchies</a:t>
            </a:r>
          </a:p>
          <a:p>
            <a:pPr defTabSz="685800">
              <a:lnSpc>
                <a:spcPct val="90000"/>
              </a:lnSpc>
              <a:buFont typeface="Arial" panose="020B0604020202020204" pitchFamily="34" charset="0"/>
              <a:buChar char="•"/>
            </a:pPr>
            <a:r>
              <a:rPr lang="en-US" sz="1800" dirty="0">
                <a:solidFill>
                  <a:schemeClr val="tx1"/>
                </a:solidFill>
                <a:latin typeface="+mn-lt"/>
                <a:cs typeface="+mn-cs"/>
              </a:rPr>
              <a:t>Compliance and cost reporting by organization (business/teams)</a:t>
            </a:r>
          </a:p>
        </p:txBody>
      </p:sp>
    </p:spTree>
    <p:extLst>
      <p:ext uri="{BB962C8B-B14F-4D97-AF65-F5344CB8AC3E}">
        <p14:creationId xmlns:p14="http://schemas.microsoft.com/office/powerpoint/2010/main" val="320376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43" y="0"/>
            <a:ext cx="9141714"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5" eaLnBrk="1" fontAlgn="auto" hangingPunct="1">
              <a:spcBef>
                <a:spcPts val="0"/>
              </a:spcBef>
              <a:spcAft>
                <a:spcPts val="0"/>
              </a:spcAft>
            </a:pPr>
            <a:endParaRPr lang="en-US" sz="1324">
              <a:solidFill>
                <a:srgbClr val="FFFFFF"/>
              </a:solidFill>
              <a:latin typeface="Segoe UI"/>
            </a:endParaRPr>
          </a:p>
        </p:txBody>
      </p:sp>
      <p:sp>
        <p:nvSpPr>
          <p:cNvPr id="12" name="Rectangle 11">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7953" y="0"/>
            <a:ext cx="4606047" cy="51435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5" eaLnBrk="1" fontAlgn="auto" hangingPunct="1">
              <a:spcBef>
                <a:spcPts val="0"/>
              </a:spcBef>
              <a:spcAft>
                <a:spcPts val="0"/>
              </a:spcAft>
            </a:pPr>
            <a:endParaRPr lang="en-US" sz="1324">
              <a:solidFill>
                <a:srgbClr val="FFFFFF"/>
              </a:solidFill>
              <a:latin typeface="Segoe UI"/>
            </a:endParaRPr>
          </a:p>
        </p:txBody>
      </p:sp>
      <p:sp>
        <p:nvSpPr>
          <p:cNvPr id="14" name="Freeform: Shape 13">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7953" y="0"/>
            <a:ext cx="3239282" cy="51435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775" eaLnBrk="1" fontAlgn="auto" hangingPunct="1">
              <a:spcBef>
                <a:spcPts val="0"/>
              </a:spcBef>
              <a:spcAft>
                <a:spcPts val="0"/>
              </a:spcAft>
            </a:pPr>
            <a:endParaRPr lang="en-US" sz="1324">
              <a:solidFill>
                <a:srgbClr val="FFFFFF"/>
              </a:solidFill>
              <a:latin typeface="Segoe UI"/>
            </a:endParaRPr>
          </a:p>
        </p:txBody>
      </p:sp>
      <p:sp>
        <p:nvSpPr>
          <p:cNvPr id="2" name="Title 1">
            <a:extLst>
              <a:ext uri="{FF2B5EF4-FFF2-40B4-BE49-F238E27FC236}">
                <a16:creationId xmlns:a16="http://schemas.microsoft.com/office/drawing/2014/main" id="{30FEA00C-3ECA-488F-9396-A7FE5430213C}"/>
              </a:ext>
            </a:extLst>
          </p:cNvPr>
          <p:cNvSpPr>
            <a:spLocks noGrp="1"/>
          </p:cNvSpPr>
          <p:nvPr>
            <p:ph type="title"/>
          </p:nvPr>
        </p:nvSpPr>
        <p:spPr>
          <a:xfrm>
            <a:off x="4794448" y="480198"/>
            <a:ext cx="3915950" cy="1008731"/>
          </a:xfrm>
        </p:spPr>
        <p:txBody>
          <a:bodyPr vert="horz" wrap="square" lIns="68580" tIns="34290" rIns="68580" bIns="34290" rtlCol="0" anchor="ctr">
            <a:normAutofit/>
          </a:bodyPr>
          <a:lstStyle/>
          <a:p>
            <a:pPr defTabSz="685800">
              <a:lnSpc>
                <a:spcPct val="90000"/>
              </a:lnSpc>
            </a:pPr>
            <a:r>
              <a:rPr lang="en-US" sz="3000">
                <a:solidFill>
                  <a:schemeClr val="tx1"/>
                </a:solidFill>
                <a:ea typeface="+mj-ea"/>
                <a:cs typeface="+mj-cs"/>
              </a:rPr>
              <a:t>Azure Policy</a:t>
            </a:r>
          </a:p>
        </p:txBody>
      </p:sp>
      <p:pic>
        <p:nvPicPr>
          <p:cNvPr id="5" name="Graphic 4">
            <a:extLst>
              <a:ext uri="{FF2B5EF4-FFF2-40B4-BE49-F238E27FC236}">
                <a16:creationId xmlns:a16="http://schemas.microsoft.com/office/drawing/2014/main" id="{EF2F17A3-5078-47A5-957E-CA80958889F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3474" y="590930"/>
            <a:ext cx="3845052" cy="3845052"/>
          </a:xfrm>
          <a:prstGeom prst="rect">
            <a:avLst/>
          </a:prstGeom>
        </p:spPr>
      </p:pic>
      <p:sp>
        <p:nvSpPr>
          <p:cNvPr id="3" name="Text Placeholder 2">
            <a:extLst>
              <a:ext uri="{FF2B5EF4-FFF2-40B4-BE49-F238E27FC236}">
                <a16:creationId xmlns:a16="http://schemas.microsoft.com/office/drawing/2014/main" id="{0B55F57C-F04D-4C5A-BC85-55AED91836BE}"/>
              </a:ext>
            </a:extLst>
          </p:cNvPr>
          <p:cNvSpPr>
            <a:spLocks noGrp="1"/>
          </p:cNvSpPr>
          <p:nvPr>
            <p:ph type="body" sz="quarter" idx="10"/>
          </p:nvPr>
        </p:nvSpPr>
        <p:spPr>
          <a:xfrm>
            <a:off x="4785598" y="1387725"/>
            <a:ext cx="4110758" cy="3445022"/>
          </a:xfrm>
        </p:spPr>
        <p:txBody>
          <a:bodyPr vert="horz" wrap="square" lIns="68580" tIns="34290" rIns="68580" bIns="34290" rtlCol="0">
            <a:normAutofit lnSpcReduction="10000"/>
          </a:bodyPr>
          <a:lstStyle/>
          <a:p>
            <a:pPr defTabSz="685800">
              <a:lnSpc>
                <a:spcPct val="90000"/>
              </a:lnSpc>
              <a:buFont typeface="Arial" panose="020B0604020202020204" pitchFamily="34" charset="0"/>
              <a:buChar char="•"/>
            </a:pPr>
            <a:r>
              <a:rPr lang="en-US" sz="2400" dirty="0">
                <a:solidFill>
                  <a:schemeClr val="tx1"/>
                </a:solidFill>
                <a:latin typeface="+mn-lt"/>
                <a:cs typeface="+mn-cs"/>
              </a:rPr>
              <a:t>Define what actions are allowed</a:t>
            </a:r>
          </a:p>
          <a:p>
            <a:pPr defTabSz="685800">
              <a:lnSpc>
                <a:spcPct val="90000"/>
              </a:lnSpc>
              <a:buFont typeface="Arial" panose="020B0604020202020204" pitchFamily="34" charset="0"/>
              <a:buChar char="•"/>
            </a:pPr>
            <a:r>
              <a:rPr lang="en-US" sz="2400" dirty="0">
                <a:solidFill>
                  <a:schemeClr val="tx1"/>
                </a:solidFill>
                <a:latin typeface="+mn-lt"/>
                <a:cs typeface="+mn-cs"/>
              </a:rPr>
              <a:t>Policies are described via Policy Definitions</a:t>
            </a:r>
          </a:p>
          <a:p>
            <a:pPr defTabSz="685800">
              <a:lnSpc>
                <a:spcPct val="90000"/>
              </a:lnSpc>
              <a:buFont typeface="Arial" panose="020B0604020202020204" pitchFamily="34" charset="0"/>
              <a:buChar char="•"/>
            </a:pPr>
            <a:r>
              <a:rPr lang="en-US" sz="2400" dirty="0">
                <a:solidFill>
                  <a:schemeClr val="tx1"/>
                </a:solidFill>
                <a:latin typeface="+mn-lt"/>
                <a:cs typeface="+mn-cs"/>
              </a:rPr>
              <a:t>Policies are applied via Policy Assignments</a:t>
            </a:r>
          </a:p>
          <a:p>
            <a:pPr defTabSz="685800">
              <a:lnSpc>
                <a:spcPct val="90000"/>
              </a:lnSpc>
              <a:buFont typeface="Arial" panose="020B0604020202020204" pitchFamily="34" charset="0"/>
              <a:buChar char="•"/>
            </a:pPr>
            <a:r>
              <a:rPr lang="en-US" sz="2400" dirty="0">
                <a:solidFill>
                  <a:schemeClr val="tx1"/>
                </a:solidFill>
                <a:latin typeface="+mn-lt"/>
                <a:cs typeface="+mn-cs"/>
              </a:rPr>
              <a:t>Scoped at:</a:t>
            </a:r>
          </a:p>
          <a:p>
            <a:pPr lvl="1" defTabSz="685800">
              <a:lnSpc>
                <a:spcPct val="90000"/>
              </a:lnSpc>
              <a:buFont typeface="Arial" panose="020B0604020202020204" pitchFamily="34" charset="0"/>
              <a:buChar char="•"/>
            </a:pPr>
            <a:r>
              <a:rPr lang="en-US" sz="1950" dirty="0">
                <a:solidFill>
                  <a:schemeClr val="tx1"/>
                </a:solidFill>
              </a:rPr>
              <a:t>Subscription</a:t>
            </a:r>
          </a:p>
          <a:p>
            <a:pPr lvl="1" defTabSz="685800">
              <a:lnSpc>
                <a:spcPct val="90000"/>
              </a:lnSpc>
              <a:buFont typeface="Arial" panose="020B0604020202020204" pitchFamily="34" charset="0"/>
              <a:buChar char="•"/>
            </a:pPr>
            <a:r>
              <a:rPr lang="en-US" sz="1950" dirty="0">
                <a:solidFill>
                  <a:schemeClr val="tx1"/>
                </a:solidFill>
              </a:rPr>
              <a:t>Resource Group</a:t>
            </a:r>
          </a:p>
          <a:p>
            <a:pPr lvl="1" defTabSz="685800">
              <a:lnSpc>
                <a:spcPct val="90000"/>
              </a:lnSpc>
              <a:buFont typeface="Arial" panose="020B0604020202020204" pitchFamily="34" charset="0"/>
              <a:buChar char="•"/>
            </a:pPr>
            <a:r>
              <a:rPr lang="en-US" sz="1950" dirty="0">
                <a:solidFill>
                  <a:schemeClr val="tx1"/>
                </a:solidFill>
              </a:rPr>
              <a:t>Resource </a:t>
            </a:r>
          </a:p>
          <a:p>
            <a:pPr defTabSz="685800">
              <a:lnSpc>
                <a:spcPct val="90000"/>
              </a:lnSpc>
              <a:buFont typeface="Arial" panose="020B0604020202020204" pitchFamily="34" charset="0"/>
              <a:buChar char="•"/>
            </a:pPr>
            <a:endParaRPr lang="en-US" sz="1500" dirty="0">
              <a:solidFill>
                <a:schemeClr val="tx1"/>
              </a:solidFill>
              <a:latin typeface="+mn-lt"/>
              <a:cs typeface="+mn-cs"/>
            </a:endParaRPr>
          </a:p>
        </p:txBody>
      </p:sp>
    </p:spTree>
    <p:extLst>
      <p:ext uri="{BB962C8B-B14F-4D97-AF65-F5344CB8AC3E}">
        <p14:creationId xmlns:p14="http://schemas.microsoft.com/office/powerpoint/2010/main" val="158672113"/>
      </p:ext>
    </p:extLst>
  </p:cSld>
  <p:clrMapOvr>
    <a:overrideClrMapping bg1="dk1" tx1="lt1" bg2="dk2" tx2="lt2" accent1="accent1" accent2="accent2" accent3="accent3" accent4="accent4" accent5="accent5" accent6="accent6" hlink="hlink" folHlink="folHlink"/>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1F90A60-CD7B-46E1-8D99-15C9B0F36FAF}"/>
              </a:ext>
            </a:extLst>
          </p:cNvPr>
          <p:cNvSpPr>
            <a:spLocks noGrp="1"/>
          </p:cNvSpPr>
          <p:nvPr>
            <p:ph type="title"/>
          </p:nvPr>
        </p:nvSpPr>
        <p:spPr/>
        <p:txBody>
          <a:bodyPr/>
          <a:lstStyle/>
          <a:p>
            <a:r>
              <a:rPr lang="en-US" dirty="0"/>
              <a:t>Azure Blueprints</a:t>
            </a:r>
          </a:p>
        </p:txBody>
      </p:sp>
      <p:grpSp>
        <p:nvGrpSpPr>
          <p:cNvPr id="121" name="Group 120">
            <a:extLst>
              <a:ext uri="{FF2B5EF4-FFF2-40B4-BE49-F238E27FC236}">
                <a16:creationId xmlns:a16="http://schemas.microsoft.com/office/drawing/2014/main" id="{F895F3C8-779F-4363-8F69-30B1497E8E40}"/>
              </a:ext>
            </a:extLst>
          </p:cNvPr>
          <p:cNvGrpSpPr/>
          <p:nvPr/>
        </p:nvGrpSpPr>
        <p:grpSpPr>
          <a:xfrm>
            <a:off x="1327569" y="1137279"/>
            <a:ext cx="4194008" cy="2457607"/>
            <a:chOff x="1770091" y="705210"/>
            <a:chExt cx="5592011" cy="3276809"/>
          </a:xfrm>
        </p:grpSpPr>
        <p:grpSp>
          <p:nvGrpSpPr>
            <p:cNvPr id="122" name="Group 121">
              <a:extLst>
                <a:ext uri="{FF2B5EF4-FFF2-40B4-BE49-F238E27FC236}">
                  <a16:creationId xmlns:a16="http://schemas.microsoft.com/office/drawing/2014/main" id="{69B85A81-A7B3-4EB6-9A39-82A91E16C462}"/>
                </a:ext>
              </a:extLst>
            </p:cNvPr>
            <p:cNvGrpSpPr/>
            <p:nvPr/>
          </p:nvGrpSpPr>
          <p:grpSpPr>
            <a:xfrm>
              <a:off x="1770091" y="947192"/>
              <a:ext cx="5592011" cy="3034827"/>
              <a:chOff x="1770091" y="1116752"/>
              <a:chExt cx="5592011" cy="3034827"/>
            </a:xfrm>
          </p:grpSpPr>
          <p:grpSp>
            <p:nvGrpSpPr>
              <p:cNvPr id="124" name="Group 123">
                <a:extLst>
                  <a:ext uri="{FF2B5EF4-FFF2-40B4-BE49-F238E27FC236}">
                    <a16:creationId xmlns:a16="http://schemas.microsoft.com/office/drawing/2014/main" id="{B3E84E00-AEAC-4B8C-B582-91E90481DCD0}"/>
                  </a:ext>
                </a:extLst>
              </p:cNvPr>
              <p:cNvGrpSpPr/>
              <p:nvPr/>
            </p:nvGrpSpPr>
            <p:grpSpPr>
              <a:xfrm>
                <a:off x="1770091" y="1116752"/>
                <a:ext cx="5592011" cy="3034827"/>
                <a:chOff x="1770091" y="1116752"/>
                <a:chExt cx="5592011" cy="3034827"/>
              </a:xfrm>
            </p:grpSpPr>
            <p:cxnSp>
              <p:nvCxnSpPr>
                <p:cNvPr id="126" name="Straight Connector 125">
                  <a:extLst>
                    <a:ext uri="{FF2B5EF4-FFF2-40B4-BE49-F238E27FC236}">
                      <a16:creationId xmlns:a16="http://schemas.microsoft.com/office/drawing/2014/main" id="{995FB5D1-33EA-465C-A142-BB5CF0A6C606}"/>
                    </a:ext>
                  </a:extLst>
                </p:cNvPr>
                <p:cNvCxnSpPr>
                  <a:cxnSpLocks/>
                </p:cNvCxnSpPr>
                <p:nvPr/>
              </p:nvCxnSpPr>
              <p:spPr>
                <a:xfrm>
                  <a:off x="1850923" y="2649362"/>
                  <a:ext cx="1616767" cy="0"/>
                </a:xfrm>
                <a:prstGeom prst="line">
                  <a:avLst/>
                </a:prstGeom>
                <a:ln w="25400" cap="rnd">
                  <a:solidFill>
                    <a:schemeClr val="bg2">
                      <a:lumMod val="75000"/>
                    </a:schemeClr>
                  </a:solidFill>
                  <a:prstDash val="sysDash"/>
                  <a:headEnd type="none"/>
                  <a:tailEnd type="arrow" w="lg" len="med"/>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B78718A2-A93C-4158-8294-A237F7F68924}"/>
                    </a:ext>
                  </a:extLst>
                </p:cNvPr>
                <p:cNvGrpSpPr/>
                <p:nvPr/>
              </p:nvGrpSpPr>
              <p:grpSpPr>
                <a:xfrm>
                  <a:off x="3670663" y="1116752"/>
                  <a:ext cx="3691439" cy="3034827"/>
                  <a:chOff x="2382450" y="2261652"/>
                  <a:chExt cx="3691439" cy="3034827"/>
                </a:xfrm>
              </p:grpSpPr>
              <p:grpSp>
                <p:nvGrpSpPr>
                  <p:cNvPr id="133" name="Group 132">
                    <a:extLst>
                      <a:ext uri="{FF2B5EF4-FFF2-40B4-BE49-F238E27FC236}">
                        <a16:creationId xmlns:a16="http://schemas.microsoft.com/office/drawing/2014/main" id="{665258B3-308E-40F8-9EE5-CEE98E9FED2A}"/>
                      </a:ext>
                    </a:extLst>
                  </p:cNvPr>
                  <p:cNvGrpSpPr/>
                  <p:nvPr/>
                </p:nvGrpSpPr>
                <p:grpSpPr>
                  <a:xfrm>
                    <a:off x="2848758" y="2364768"/>
                    <a:ext cx="2789399" cy="2116627"/>
                    <a:chOff x="1076234" y="2250976"/>
                    <a:chExt cx="2789399" cy="2116627"/>
                  </a:xfrm>
                </p:grpSpPr>
                <p:grpSp>
                  <p:nvGrpSpPr>
                    <p:cNvPr id="135" name="Group 134">
                      <a:extLst>
                        <a:ext uri="{FF2B5EF4-FFF2-40B4-BE49-F238E27FC236}">
                          <a16:creationId xmlns:a16="http://schemas.microsoft.com/office/drawing/2014/main" id="{C0C9E804-D573-448F-895E-5FCAF0BB6E60}"/>
                        </a:ext>
                      </a:extLst>
                    </p:cNvPr>
                    <p:cNvGrpSpPr/>
                    <p:nvPr/>
                  </p:nvGrpSpPr>
                  <p:grpSpPr>
                    <a:xfrm>
                      <a:off x="1076234" y="2250976"/>
                      <a:ext cx="2789399" cy="643724"/>
                      <a:chOff x="1926275" y="1402830"/>
                      <a:chExt cx="2789399" cy="643724"/>
                    </a:xfrm>
                  </p:grpSpPr>
                  <p:sp>
                    <p:nvSpPr>
                      <p:cNvPr id="142" name="Rectangle 141">
                        <a:extLst>
                          <a:ext uri="{FF2B5EF4-FFF2-40B4-BE49-F238E27FC236}">
                            <a16:creationId xmlns:a16="http://schemas.microsoft.com/office/drawing/2014/main" id="{35985594-23BC-465E-A53B-1453857698AE}"/>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31821" tIns="105457" rIns="131821" bIns="105457" numCol="1" spcCol="0" rtlCol="0" fromWordArt="0" anchor="ctr" anchorCtr="0" forceAA="0" compatLnSpc="1">
                        <a:prstTxWarp prst="textNoShape">
                          <a:avLst/>
                        </a:prstTxWarp>
                        <a:noAutofit/>
                      </a:bodyPr>
                      <a:lstStyle/>
                      <a:p>
                        <a:pPr algn="ctr" defTabSz="672071" eaLnBrk="1" hangingPunct="1">
                          <a:lnSpc>
                            <a:spcPct val="90000"/>
                          </a:lnSpc>
                          <a:defRPr/>
                        </a:pPr>
                        <a:endParaRPr lang="en-US" sz="1200">
                          <a:solidFill>
                            <a:srgbClr val="353535"/>
                          </a:solidFill>
                          <a:latin typeface="Segoe UI Semibold" panose="020B0702040204020203" pitchFamily="34" charset="0"/>
                          <a:cs typeface="Segoe UI Semibold" panose="020B0702040204020203" pitchFamily="34" charset="0"/>
                        </a:endParaRPr>
                      </a:p>
                    </p:txBody>
                  </p:sp>
                  <p:sp>
                    <p:nvSpPr>
                      <p:cNvPr id="143" name="Rectangle 142">
                        <a:extLst>
                          <a:ext uri="{FF2B5EF4-FFF2-40B4-BE49-F238E27FC236}">
                            <a16:creationId xmlns:a16="http://schemas.microsoft.com/office/drawing/2014/main" id="{2D73A162-A073-43B6-ACF5-BD08609DA0C7}"/>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31821" tIns="105457" rIns="131821" bIns="105457" numCol="1" spcCol="0" rtlCol="0" fromWordArt="0" anchor="ctr" anchorCtr="0" forceAA="0" compatLnSpc="1">
                        <a:prstTxWarp prst="textNoShape">
                          <a:avLst/>
                        </a:prstTxWarp>
                        <a:noAutofit/>
                      </a:bodyPr>
                      <a:lstStyle/>
                      <a:p>
                        <a:pPr algn="ctr" defTabSz="672071" eaLnBrk="1" hangingPunct="1">
                          <a:lnSpc>
                            <a:spcPct val="90000"/>
                          </a:lnSpc>
                          <a:defRPr/>
                        </a:pPr>
                        <a:r>
                          <a:rPr lang="en-US" sz="1200">
                            <a:solidFill>
                              <a:srgbClr val="353535"/>
                            </a:solidFill>
                            <a:latin typeface="Segoe UI Semibold" panose="020B0702040204020203" pitchFamily="34" charset="0"/>
                            <a:cs typeface="Segoe UI Semibold" panose="020B0702040204020203" pitchFamily="34" charset="0"/>
                          </a:rPr>
                          <a:t>ARM Templates</a:t>
                        </a:r>
                      </a:p>
                    </p:txBody>
                  </p:sp>
                </p:grpSp>
                <p:grpSp>
                  <p:nvGrpSpPr>
                    <p:cNvPr id="136" name="Group 135">
                      <a:extLst>
                        <a:ext uri="{FF2B5EF4-FFF2-40B4-BE49-F238E27FC236}">
                          <a16:creationId xmlns:a16="http://schemas.microsoft.com/office/drawing/2014/main" id="{EC062CD1-BFCF-467F-A413-829AE8EAA111}"/>
                        </a:ext>
                      </a:extLst>
                    </p:cNvPr>
                    <p:cNvGrpSpPr/>
                    <p:nvPr/>
                  </p:nvGrpSpPr>
                  <p:grpSpPr>
                    <a:xfrm>
                      <a:off x="1076234" y="2997815"/>
                      <a:ext cx="2789399" cy="643724"/>
                      <a:chOff x="1926275" y="1402830"/>
                      <a:chExt cx="2789399" cy="643724"/>
                    </a:xfrm>
                  </p:grpSpPr>
                  <p:sp>
                    <p:nvSpPr>
                      <p:cNvPr id="140" name="Rectangle 139">
                        <a:extLst>
                          <a:ext uri="{FF2B5EF4-FFF2-40B4-BE49-F238E27FC236}">
                            <a16:creationId xmlns:a16="http://schemas.microsoft.com/office/drawing/2014/main" id="{A504C140-86CE-4F41-A872-49A71455F1A3}"/>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31821" tIns="105457" rIns="131821" bIns="105457" numCol="1" spcCol="0" rtlCol="0" fromWordArt="0" anchor="ctr" anchorCtr="0" forceAA="0" compatLnSpc="1">
                        <a:prstTxWarp prst="textNoShape">
                          <a:avLst/>
                        </a:prstTxWarp>
                        <a:noAutofit/>
                      </a:bodyPr>
                      <a:lstStyle/>
                      <a:p>
                        <a:pPr algn="ctr" defTabSz="672071" eaLnBrk="1" hangingPunct="1">
                          <a:lnSpc>
                            <a:spcPct val="90000"/>
                          </a:lnSpc>
                          <a:defRPr/>
                        </a:pPr>
                        <a:endParaRPr lang="en-US" sz="1200">
                          <a:solidFill>
                            <a:srgbClr val="353535"/>
                          </a:solidFill>
                          <a:latin typeface="Segoe UI Semibold" panose="020B0702040204020203" pitchFamily="34" charset="0"/>
                          <a:cs typeface="Segoe UI Semibold" panose="020B0702040204020203" pitchFamily="34" charset="0"/>
                        </a:endParaRPr>
                      </a:p>
                    </p:txBody>
                  </p:sp>
                  <p:sp>
                    <p:nvSpPr>
                      <p:cNvPr id="141" name="Rectangle 140">
                        <a:extLst>
                          <a:ext uri="{FF2B5EF4-FFF2-40B4-BE49-F238E27FC236}">
                            <a16:creationId xmlns:a16="http://schemas.microsoft.com/office/drawing/2014/main" id="{71E6963D-3A8B-4436-AAC4-DE0E1C86A73C}"/>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31821" tIns="105457" rIns="131821" bIns="105457" numCol="1" spcCol="0" rtlCol="0" fromWordArt="0" anchor="ctr" anchorCtr="0" forceAA="0" compatLnSpc="1">
                        <a:prstTxWarp prst="textNoShape">
                          <a:avLst/>
                        </a:prstTxWarp>
                        <a:noAutofit/>
                      </a:bodyPr>
                      <a:lstStyle/>
                      <a:p>
                        <a:pPr algn="ctr" defTabSz="672071" eaLnBrk="1" hangingPunct="1">
                          <a:lnSpc>
                            <a:spcPct val="90000"/>
                          </a:lnSpc>
                          <a:defRPr/>
                        </a:pPr>
                        <a:r>
                          <a:rPr lang="en-US" sz="1200">
                            <a:solidFill>
                              <a:srgbClr val="353535"/>
                            </a:solidFill>
                            <a:latin typeface="Segoe UI Semibold" panose="020B0702040204020203" pitchFamily="34" charset="0"/>
                            <a:cs typeface="Segoe UI Semibold" panose="020B0702040204020203" pitchFamily="34" charset="0"/>
                          </a:rPr>
                          <a:t>Policy Definitions</a:t>
                        </a:r>
                      </a:p>
                    </p:txBody>
                  </p:sp>
                </p:grpSp>
                <p:grpSp>
                  <p:nvGrpSpPr>
                    <p:cNvPr id="137" name="Group 136">
                      <a:extLst>
                        <a:ext uri="{FF2B5EF4-FFF2-40B4-BE49-F238E27FC236}">
                          <a16:creationId xmlns:a16="http://schemas.microsoft.com/office/drawing/2014/main" id="{0C47E9A8-3ECA-4B2E-9DF2-6431B805F8EB}"/>
                        </a:ext>
                      </a:extLst>
                    </p:cNvPr>
                    <p:cNvGrpSpPr/>
                    <p:nvPr/>
                  </p:nvGrpSpPr>
                  <p:grpSpPr>
                    <a:xfrm>
                      <a:off x="1076234" y="3723879"/>
                      <a:ext cx="2789399" cy="643724"/>
                      <a:chOff x="1926275" y="1402830"/>
                      <a:chExt cx="2789399" cy="643724"/>
                    </a:xfrm>
                  </p:grpSpPr>
                  <p:sp>
                    <p:nvSpPr>
                      <p:cNvPr id="138" name="Rectangle 137">
                        <a:extLst>
                          <a:ext uri="{FF2B5EF4-FFF2-40B4-BE49-F238E27FC236}">
                            <a16:creationId xmlns:a16="http://schemas.microsoft.com/office/drawing/2014/main" id="{96417632-E7B7-4416-8870-C0662880C47C}"/>
                          </a:ext>
                        </a:extLst>
                      </p:cNvPr>
                      <p:cNvSpPr/>
                      <p:nvPr/>
                    </p:nvSpPr>
                    <p:spPr bwMode="auto">
                      <a:xfrm rot="5400000">
                        <a:off x="3068882" y="39976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31821" tIns="105457" rIns="131821" bIns="105457" numCol="1" spcCol="0" rtlCol="0" fromWordArt="0" anchor="ctr" anchorCtr="0" forceAA="0" compatLnSpc="1">
                        <a:prstTxWarp prst="textNoShape">
                          <a:avLst/>
                        </a:prstTxWarp>
                        <a:noAutofit/>
                      </a:bodyPr>
                      <a:lstStyle/>
                      <a:p>
                        <a:pPr algn="ctr" defTabSz="672071" eaLnBrk="1" hangingPunct="1">
                          <a:lnSpc>
                            <a:spcPct val="90000"/>
                          </a:lnSpc>
                          <a:defRPr/>
                        </a:pPr>
                        <a:endParaRPr lang="en-US" sz="1200">
                          <a:solidFill>
                            <a:srgbClr val="353535"/>
                          </a:solidFill>
                          <a:latin typeface="Segoe UI Semibold" panose="020B0702040204020203" pitchFamily="34" charset="0"/>
                          <a:cs typeface="Segoe UI Semibold" panose="020B0702040204020203" pitchFamily="34" charset="0"/>
                        </a:endParaRPr>
                      </a:p>
                    </p:txBody>
                  </p:sp>
                  <p:sp>
                    <p:nvSpPr>
                      <p:cNvPr id="139" name="Rectangle 138">
                        <a:extLst>
                          <a:ext uri="{FF2B5EF4-FFF2-40B4-BE49-F238E27FC236}">
                            <a16:creationId xmlns:a16="http://schemas.microsoft.com/office/drawing/2014/main" id="{62F2EFB6-6B4C-4D94-B154-3AD93647F0C9}"/>
                          </a:ext>
                        </a:extLst>
                      </p:cNvPr>
                      <p:cNvSpPr/>
                      <p:nvPr/>
                    </p:nvSpPr>
                    <p:spPr bwMode="auto">
                      <a:xfrm rot="5400000">
                        <a:off x="3008448" y="320657"/>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31821" tIns="105457" rIns="131821" bIns="105457" numCol="1" spcCol="0" rtlCol="0" fromWordArt="0" anchor="ctr" anchorCtr="0" forceAA="0" compatLnSpc="1">
                        <a:prstTxWarp prst="textNoShape">
                          <a:avLst/>
                        </a:prstTxWarp>
                        <a:noAutofit/>
                      </a:bodyPr>
                      <a:lstStyle/>
                      <a:p>
                        <a:pPr algn="ctr" defTabSz="672071">
                          <a:lnSpc>
                            <a:spcPct val="90000"/>
                          </a:lnSpc>
                          <a:defRPr/>
                        </a:pPr>
                        <a:r>
                          <a:rPr lang="en-US" sz="1200">
                            <a:solidFill>
                              <a:srgbClr val="353535"/>
                            </a:solidFill>
                            <a:latin typeface="Segoe UI Semibold" panose="020B0702040204020203" pitchFamily="34" charset="0"/>
                            <a:cs typeface="Segoe UI Semibold" panose="020B0702040204020203" pitchFamily="34" charset="0"/>
                          </a:rPr>
                          <a:t>Role-based access controls</a:t>
                        </a:r>
                      </a:p>
                    </p:txBody>
                  </p:sp>
                </p:grpSp>
              </p:grpSp>
              <p:sp>
                <p:nvSpPr>
                  <p:cNvPr id="134" name="Double Brace 133">
                    <a:extLst>
                      <a:ext uri="{FF2B5EF4-FFF2-40B4-BE49-F238E27FC236}">
                        <a16:creationId xmlns:a16="http://schemas.microsoft.com/office/drawing/2014/main" id="{2035CE73-A7AD-4115-A166-060C23F59694}"/>
                      </a:ext>
                    </a:extLst>
                  </p:cNvPr>
                  <p:cNvSpPr/>
                  <p:nvPr/>
                </p:nvSpPr>
                <p:spPr>
                  <a:xfrm>
                    <a:off x="2382450" y="2261652"/>
                    <a:ext cx="3691439" cy="3034827"/>
                  </a:xfrm>
                  <a:prstGeom prst="bracePair">
                    <a:avLst/>
                  </a:prstGeom>
                  <a:noFill/>
                  <a:ln w="28575" cap="flat" cmpd="sng" algn="ctr">
                    <a:solidFill>
                      <a:srgbClr val="505050"/>
                    </a:solidFill>
                    <a:prstDash val="solid"/>
                  </a:ln>
                  <a:effectLst/>
                </p:spPr>
                <p:txBody>
                  <a:bodyPr rtlCol="0" anchor="ctr"/>
                  <a:lstStyle/>
                  <a:p>
                    <a:pPr algn="ctr" defTabSz="672266" eaLnBrk="1" fontAlgn="auto" hangingPunct="1">
                      <a:spcBef>
                        <a:spcPts val="0"/>
                      </a:spcBef>
                      <a:spcAft>
                        <a:spcPts val="0"/>
                      </a:spcAft>
                      <a:defRPr/>
                    </a:pPr>
                    <a:endParaRPr lang="nb-NO" sz="1500" kern="0">
                      <a:solidFill>
                        <a:srgbClr val="1A1A1A"/>
                      </a:solidFill>
                      <a:latin typeface="Segoe UI"/>
                    </a:endParaRPr>
                  </a:p>
                </p:txBody>
              </p:sp>
            </p:grpSp>
            <p:grpSp>
              <p:nvGrpSpPr>
                <p:cNvPr id="128" name="Group 127">
                  <a:extLst>
                    <a:ext uri="{FF2B5EF4-FFF2-40B4-BE49-F238E27FC236}">
                      <a16:creationId xmlns:a16="http://schemas.microsoft.com/office/drawing/2014/main" id="{D2FCB579-A32C-489D-BFAD-ACC5B34F5407}"/>
                    </a:ext>
                  </a:extLst>
                </p:cNvPr>
                <p:cNvGrpSpPr/>
                <p:nvPr/>
              </p:nvGrpSpPr>
              <p:grpSpPr>
                <a:xfrm>
                  <a:off x="1770091" y="2239464"/>
                  <a:ext cx="1649832" cy="1432756"/>
                  <a:chOff x="1770091" y="2717770"/>
                  <a:chExt cx="1649832" cy="1432756"/>
                </a:xfrm>
              </p:grpSpPr>
              <p:sp>
                <p:nvSpPr>
                  <p:cNvPr id="131" name="Oval 130">
                    <a:extLst>
                      <a:ext uri="{FF2B5EF4-FFF2-40B4-BE49-F238E27FC236}">
                        <a16:creationId xmlns:a16="http://schemas.microsoft.com/office/drawing/2014/main" id="{AE00A09F-AD79-4459-89AE-A764DE5EE0B5}"/>
                      </a:ext>
                    </a:extLst>
                  </p:cNvPr>
                  <p:cNvSpPr/>
                  <p:nvPr/>
                </p:nvSpPr>
                <p:spPr bwMode="auto">
                  <a:xfrm>
                    <a:off x="2417425" y="2717770"/>
                    <a:ext cx="326750" cy="31713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eaLnBrk="1" hangingPunct="1">
                      <a:defRPr/>
                    </a:pPr>
                    <a:r>
                      <a:rPr lang="en-US" sz="1350">
                        <a:gradFill>
                          <a:gsLst>
                            <a:gs pos="0">
                              <a:srgbClr val="FFFFFF"/>
                            </a:gs>
                            <a:gs pos="100000">
                              <a:srgbClr val="FFFFFF"/>
                            </a:gs>
                          </a:gsLst>
                          <a:lin ang="5400000" scaled="0"/>
                        </a:gradFill>
                        <a:latin typeface="Segoe UI Semibold"/>
                        <a:ea typeface="Segoe UI" pitchFamily="34" charset="0"/>
                        <a:cs typeface="Segoe UI" pitchFamily="34" charset="0"/>
                      </a:rPr>
                      <a:t>1</a:t>
                    </a:r>
                  </a:p>
                </p:txBody>
              </p:sp>
              <p:sp>
                <p:nvSpPr>
                  <p:cNvPr id="132" name="TextBox 131">
                    <a:extLst>
                      <a:ext uri="{FF2B5EF4-FFF2-40B4-BE49-F238E27FC236}">
                        <a16:creationId xmlns:a16="http://schemas.microsoft.com/office/drawing/2014/main" id="{EA874A8A-05E6-4B06-9BDA-6F8C89776A3B}"/>
                      </a:ext>
                    </a:extLst>
                  </p:cNvPr>
                  <p:cNvSpPr txBox="1"/>
                  <p:nvPr/>
                </p:nvSpPr>
                <p:spPr>
                  <a:xfrm>
                    <a:off x="1770091" y="3079463"/>
                    <a:ext cx="1649832" cy="1071063"/>
                  </a:xfrm>
                  <a:prstGeom prst="rect">
                    <a:avLst/>
                  </a:prstGeom>
                  <a:noFill/>
                </p:spPr>
                <p:txBody>
                  <a:bodyPr wrap="square" lIns="137160" tIns="109728" rIns="137160" bIns="109728" rtlCol="0">
                    <a:spAutoFit/>
                  </a:bodyPr>
                  <a:lstStyle/>
                  <a:p>
                    <a:pPr algn="ctr" defTabSz="685800" eaLnBrk="1" fontAlgn="auto" hangingPunct="1">
                      <a:lnSpc>
                        <a:spcPct val="90000"/>
                      </a:lnSpc>
                      <a:spcBef>
                        <a:spcPts val="0"/>
                      </a:spcBef>
                      <a:spcAft>
                        <a:spcPts val="450"/>
                      </a:spcAft>
                      <a:defRPr/>
                    </a:pPr>
                    <a:r>
                      <a:rPr lang="en-US" sz="1050">
                        <a:gradFill>
                          <a:gsLst>
                            <a:gs pos="2917">
                              <a:srgbClr val="353535"/>
                            </a:gs>
                            <a:gs pos="30000">
                              <a:srgbClr val="353535"/>
                            </a:gs>
                          </a:gsLst>
                          <a:lin ang="5400000" scaled="0"/>
                        </a:gradFill>
                        <a:latin typeface="Segoe UI Semilight"/>
                      </a:rPr>
                      <a:t>Create a Blueprint definition and add artifacts</a:t>
                    </a:r>
                  </a:p>
                </p:txBody>
              </p:sp>
            </p:grpSp>
            <p:sp>
              <p:nvSpPr>
                <p:cNvPr id="129" name="Rectangle 128">
                  <a:extLst>
                    <a:ext uri="{FF2B5EF4-FFF2-40B4-BE49-F238E27FC236}">
                      <a16:creationId xmlns:a16="http://schemas.microsoft.com/office/drawing/2014/main" id="{F1BF3CDF-BF1A-4C17-BCD7-C922A03C9502}"/>
                    </a:ext>
                  </a:extLst>
                </p:cNvPr>
                <p:cNvSpPr/>
                <p:nvPr/>
              </p:nvSpPr>
              <p:spPr bwMode="auto">
                <a:xfrm rot="5400000">
                  <a:off x="5279578" y="2412531"/>
                  <a:ext cx="564620" cy="2728965"/>
                </a:xfrm>
                <a:prstGeom prst="rect">
                  <a:avLst/>
                </a:prstGeom>
                <a:solidFill>
                  <a:schemeClr val="bg1">
                    <a:lumMod val="8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31821" tIns="105457" rIns="131821" bIns="105457" numCol="1" spcCol="0" rtlCol="0" fromWordArt="0" anchor="ctr" anchorCtr="0" forceAA="0" compatLnSpc="1">
                  <a:prstTxWarp prst="textNoShape">
                    <a:avLst/>
                  </a:prstTxWarp>
                  <a:noAutofit/>
                </a:bodyPr>
                <a:lstStyle/>
                <a:p>
                  <a:pPr algn="ctr" defTabSz="672071" eaLnBrk="1" hangingPunct="1">
                    <a:lnSpc>
                      <a:spcPct val="90000"/>
                    </a:lnSpc>
                    <a:defRPr/>
                  </a:pPr>
                  <a:endParaRPr lang="en-US" sz="1200">
                    <a:solidFill>
                      <a:srgbClr val="353535"/>
                    </a:solidFill>
                    <a:latin typeface="Segoe UI Semibold" panose="020B0702040204020203" pitchFamily="34" charset="0"/>
                    <a:cs typeface="Segoe UI Semibold" panose="020B0702040204020203" pitchFamily="34" charset="0"/>
                  </a:endParaRPr>
                </a:p>
              </p:txBody>
            </p:sp>
            <p:sp>
              <p:nvSpPr>
                <p:cNvPr id="130" name="Rectangle 129">
                  <a:extLst>
                    <a:ext uri="{FF2B5EF4-FFF2-40B4-BE49-F238E27FC236}">
                      <a16:creationId xmlns:a16="http://schemas.microsoft.com/office/drawing/2014/main" id="{39F81F54-3D4F-4316-BC79-B5DE732618F6}"/>
                    </a:ext>
                  </a:extLst>
                </p:cNvPr>
                <p:cNvSpPr/>
                <p:nvPr/>
              </p:nvSpPr>
              <p:spPr bwMode="auto">
                <a:xfrm rot="5400000">
                  <a:off x="5219144" y="2333427"/>
                  <a:ext cx="564620" cy="2728965"/>
                </a:xfrm>
                <a:prstGeom prst="rect">
                  <a:avLst/>
                </a:prstGeom>
                <a:solidFill>
                  <a:schemeClr val="bg1">
                    <a:lumMod val="95000"/>
                  </a:schemeClr>
                </a:solid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31821" tIns="105457" rIns="131821" bIns="105457" numCol="1" spcCol="0" rtlCol="0" fromWordArt="0" anchor="ctr" anchorCtr="0" forceAA="0" compatLnSpc="1">
                  <a:prstTxWarp prst="textNoShape">
                    <a:avLst/>
                  </a:prstTxWarp>
                  <a:noAutofit/>
                </a:bodyPr>
                <a:lstStyle/>
                <a:p>
                  <a:pPr algn="ctr" defTabSz="672071" eaLnBrk="1" hangingPunct="1">
                    <a:lnSpc>
                      <a:spcPct val="90000"/>
                    </a:lnSpc>
                    <a:defRPr/>
                  </a:pPr>
                  <a:r>
                    <a:rPr lang="en-US" sz="1200">
                      <a:solidFill>
                        <a:srgbClr val="353535"/>
                      </a:solidFill>
                      <a:latin typeface="Segoe UI Semibold" panose="020B0702040204020203" pitchFamily="34" charset="0"/>
                      <a:cs typeface="Segoe UI Semibold" panose="020B0702040204020203" pitchFamily="34" charset="0"/>
                    </a:rPr>
                    <a:t>Custom Scripts*</a:t>
                  </a:r>
                </a:p>
              </p:txBody>
            </p:sp>
          </p:grpSp>
          <p:sp>
            <p:nvSpPr>
              <p:cNvPr id="125" name="TextBox 124">
                <a:extLst>
                  <a:ext uri="{FF2B5EF4-FFF2-40B4-BE49-F238E27FC236}">
                    <a16:creationId xmlns:a16="http://schemas.microsoft.com/office/drawing/2014/main" id="{D63FD495-DC1D-489E-975B-B895400B601F}"/>
                  </a:ext>
                </a:extLst>
              </p:cNvPr>
              <p:cNvSpPr txBox="1"/>
              <p:nvPr/>
            </p:nvSpPr>
            <p:spPr>
              <a:xfrm>
                <a:off x="6156782" y="3839122"/>
                <a:ext cx="1158624" cy="138500"/>
              </a:xfrm>
              <a:prstGeom prst="rect">
                <a:avLst/>
              </a:prstGeom>
              <a:noFill/>
            </p:spPr>
            <p:txBody>
              <a:bodyPr wrap="square" lIns="0" tIns="0" rIns="0" bIns="0" rtlCol="0">
                <a:spAutoFit/>
              </a:bodyPr>
              <a:lstStyle/>
              <a:p>
                <a:pPr defTabSz="685800" eaLnBrk="1" fontAlgn="auto" hangingPunct="1">
                  <a:spcBef>
                    <a:spcPts val="0"/>
                  </a:spcBef>
                  <a:spcAft>
                    <a:spcPts val="0"/>
                  </a:spcAft>
                  <a:defRPr/>
                </a:pPr>
                <a:r>
                  <a:rPr lang="en-US" sz="675" i="1">
                    <a:solidFill>
                      <a:srgbClr val="FFFFFF">
                        <a:lumMod val="50000"/>
                      </a:srgbClr>
                    </a:solidFill>
                    <a:latin typeface="Segoe UI"/>
                  </a:rPr>
                  <a:t>Coming in June</a:t>
                </a:r>
              </a:p>
            </p:txBody>
          </p:sp>
        </p:grpSp>
        <p:sp>
          <p:nvSpPr>
            <p:cNvPr id="123" name="Rectangle 122">
              <a:extLst>
                <a:ext uri="{FF2B5EF4-FFF2-40B4-BE49-F238E27FC236}">
                  <a16:creationId xmlns:a16="http://schemas.microsoft.com/office/drawing/2014/main" id="{A5B02C87-A572-4DB0-8552-F0DB276EF6FB}"/>
                </a:ext>
              </a:extLst>
            </p:cNvPr>
            <p:cNvSpPr/>
            <p:nvPr/>
          </p:nvSpPr>
          <p:spPr bwMode="auto">
            <a:xfrm>
              <a:off x="4832777" y="705210"/>
              <a:ext cx="1649832" cy="2492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85445" eaLnBrk="1" hangingPunct="1">
                <a:lnSpc>
                  <a:spcPct val="90000"/>
                </a:lnSpc>
                <a:defRPr/>
              </a:pPr>
              <a:r>
                <a:rPr lang="en-US" sz="1350" kern="0" dirty="0">
                  <a:solidFill>
                    <a:srgbClr val="002050"/>
                  </a:solidFill>
                  <a:latin typeface="Segoe UI Semibold" panose="020B0702040204020203" pitchFamily="34" charset="0"/>
                  <a:cs typeface="Segoe UI" panose="020B0502040204020203" pitchFamily="34" charset="0"/>
                </a:rPr>
                <a:t>Blueprint</a:t>
              </a:r>
            </a:p>
          </p:txBody>
        </p:sp>
      </p:grpSp>
      <p:sp>
        <p:nvSpPr>
          <p:cNvPr id="144" name="Rectangle 143">
            <a:extLst>
              <a:ext uri="{FF2B5EF4-FFF2-40B4-BE49-F238E27FC236}">
                <a16:creationId xmlns:a16="http://schemas.microsoft.com/office/drawing/2014/main" id="{E1D7F420-4DAD-40F8-85E0-FDE298FD5816}"/>
              </a:ext>
            </a:extLst>
          </p:cNvPr>
          <p:cNvSpPr/>
          <p:nvPr/>
        </p:nvSpPr>
        <p:spPr bwMode="auto">
          <a:xfrm>
            <a:off x="128076" y="2574390"/>
            <a:ext cx="1237374" cy="3739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85445" eaLnBrk="1" hangingPunct="1">
              <a:lnSpc>
                <a:spcPct val="90000"/>
              </a:lnSpc>
              <a:defRPr/>
            </a:pPr>
            <a:r>
              <a:rPr lang="en-US" sz="1350" kern="0">
                <a:solidFill>
                  <a:srgbClr val="002050"/>
                </a:solidFill>
                <a:latin typeface="Segoe UI Semibold" panose="020B0702040204020203" pitchFamily="34" charset="0"/>
                <a:cs typeface="Segoe UI" panose="020B0502040204020203" pitchFamily="34" charset="0"/>
              </a:rPr>
              <a:t>Cloud </a:t>
            </a:r>
          </a:p>
          <a:p>
            <a:pPr algn="ctr" defTabSz="685445" eaLnBrk="1" hangingPunct="1">
              <a:lnSpc>
                <a:spcPct val="90000"/>
              </a:lnSpc>
              <a:defRPr/>
            </a:pPr>
            <a:r>
              <a:rPr lang="en-US" sz="1350" kern="0">
                <a:solidFill>
                  <a:srgbClr val="002050"/>
                </a:solidFill>
                <a:latin typeface="Segoe UI Semibold" panose="020B0702040204020203" pitchFamily="34" charset="0"/>
                <a:cs typeface="Segoe UI" panose="020B0502040204020203" pitchFamily="34" charset="0"/>
              </a:rPr>
              <a:t>Engineer</a:t>
            </a:r>
          </a:p>
        </p:txBody>
      </p:sp>
      <p:sp>
        <p:nvSpPr>
          <p:cNvPr id="145" name="people_4">
            <a:extLst>
              <a:ext uri="{FF2B5EF4-FFF2-40B4-BE49-F238E27FC236}">
                <a16:creationId xmlns:a16="http://schemas.microsoft.com/office/drawing/2014/main" id="{2A33EC66-E71E-4B00-994E-5E46B585819D}"/>
              </a:ext>
            </a:extLst>
          </p:cNvPr>
          <p:cNvSpPr>
            <a:spLocks noChangeAspect="1" noEditPoints="1"/>
          </p:cNvSpPr>
          <p:nvPr/>
        </p:nvSpPr>
        <p:spPr bwMode="auto">
          <a:xfrm>
            <a:off x="580475" y="2143680"/>
            <a:ext cx="317436" cy="35488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23" tIns="33611" rIns="67223" bIns="33611" numCol="1" anchor="t" anchorCtr="0" compatLnSpc="1">
            <a:prstTxWarp prst="textNoShape">
              <a:avLst/>
            </a:prstTxWarp>
          </a:bodyPr>
          <a:lstStyle/>
          <a:p>
            <a:pPr defTabSz="685644" eaLnBrk="1" fontAlgn="auto" hangingPunct="1">
              <a:spcBef>
                <a:spcPts val="0"/>
              </a:spcBef>
              <a:spcAft>
                <a:spcPts val="0"/>
              </a:spcAft>
              <a:defRPr/>
            </a:pPr>
            <a:endParaRPr lang="en-US" sz="1500">
              <a:solidFill>
                <a:srgbClr val="505050"/>
              </a:solidFill>
              <a:latin typeface="Segoe UI Semilight"/>
            </a:endParaRPr>
          </a:p>
        </p:txBody>
      </p:sp>
      <p:grpSp>
        <p:nvGrpSpPr>
          <p:cNvPr id="146" name="Group 145">
            <a:extLst>
              <a:ext uri="{FF2B5EF4-FFF2-40B4-BE49-F238E27FC236}">
                <a16:creationId xmlns:a16="http://schemas.microsoft.com/office/drawing/2014/main" id="{C60D1AB0-BE16-4F87-9A69-1623053703B5}"/>
              </a:ext>
            </a:extLst>
          </p:cNvPr>
          <p:cNvGrpSpPr/>
          <p:nvPr/>
        </p:nvGrpSpPr>
        <p:grpSpPr>
          <a:xfrm>
            <a:off x="5000391" y="1196557"/>
            <a:ext cx="1477087" cy="1705991"/>
            <a:chOff x="6667188" y="953806"/>
            <a:chExt cx="1969449" cy="2274655"/>
          </a:xfrm>
        </p:grpSpPr>
        <p:grpSp>
          <p:nvGrpSpPr>
            <p:cNvPr id="147" name="Group 146">
              <a:extLst>
                <a:ext uri="{FF2B5EF4-FFF2-40B4-BE49-F238E27FC236}">
                  <a16:creationId xmlns:a16="http://schemas.microsoft.com/office/drawing/2014/main" id="{BF4CB352-8D79-4AF1-A896-B1064B551356}"/>
                </a:ext>
              </a:extLst>
            </p:cNvPr>
            <p:cNvGrpSpPr/>
            <p:nvPr/>
          </p:nvGrpSpPr>
          <p:grpSpPr>
            <a:xfrm>
              <a:off x="6986805" y="953806"/>
              <a:ext cx="1649832" cy="1116926"/>
              <a:chOff x="1770091" y="2839701"/>
              <a:chExt cx="1649832" cy="1116926"/>
            </a:xfrm>
          </p:grpSpPr>
          <p:sp>
            <p:nvSpPr>
              <p:cNvPr id="152" name="Oval 151">
                <a:extLst>
                  <a:ext uri="{FF2B5EF4-FFF2-40B4-BE49-F238E27FC236}">
                    <a16:creationId xmlns:a16="http://schemas.microsoft.com/office/drawing/2014/main" id="{9E915D63-FA6E-4DA4-B609-DFB0DF604BB3}"/>
                  </a:ext>
                </a:extLst>
              </p:cNvPr>
              <p:cNvSpPr/>
              <p:nvPr/>
            </p:nvSpPr>
            <p:spPr bwMode="auto">
              <a:xfrm>
                <a:off x="2422414" y="2839701"/>
                <a:ext cx="326750" cy="31713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eaLnBrk="1" hangingPunct="1">
                  <a:defRPr/>
                </a:pPr>
                <a:r>
                  <a:rPr lang="en-US" sz="1350">
                    <a:gradFill>
                      <a:gsLst>
                        <a:gs pos="0">
                          <a:srgbClr val="FFFFFF"/>
                        </a:gs>
                        <a:gs pos="100000">
                          <a:srgbClr val="FFFFFF"/>
                        </a:gs>
                      </a:gsLst>
                      <a:lin ang="5400000" scaled="0"/>
                    </a:gradFill>
                    <a:latin typeface="Segoe UI Semibold"/>
                    <a:ea typeface="Segoe UI" pitchFamily="34" charset="0"/>
                    <a:cs typeface="Segoe UI" pitchFamily="34" charset="0"/>
                  </a:rPr>
                  <a:t>2</a:t>
                </a:r>
              </a:p>
            </p:txBody>
          </p:sp>
          <p:sp>
            <p:nvSpPr>
              <p:cNvPr id="153" name="TextBox 152">
                <a:extLst>
                  <a:ext uri="{FF2B5EF4-FFF2-40B4-BE49-F238E27FC236}">
                    <a16:creationId xmlns:a16="http://schemas.microsoft.com/office/drawing/2014/main" id="{84B51BE6-E808-45B8-A4CF-864A6E283885}"/>
                  </a:ext>
                </a:extLst>
              </p:cNvPr>
              <p:cNvSpPr txBox="1"/>
              <p:nvPr/>
            </p:nvSpPr>
            <p:spPr>
              <a:xfrm>
                <a:off x="1770091" y="3079464"/>
                <a:ext cx="1649832" cy="877163"/>
              </a:xfrm>
              <a:prstGeom prst="rect">
                <a:avLst/>
              </a:prstGeom>
              <a:noFill/>
            </p:spPr>
            <p:txBody>
              <a:bodyPr wrap="square" lIns="137160" tIns="109728" rIns="137160" bIns="109728" rtlCol="0">
                <a:spAutoFit/>
              </a:bodyPr>
              <a:lstStyle/>
              <a:p>
                <a:pPr algn="ctr" defTabSz="685800" eaLnBrk="1" fontAlgn="auto" hangingPunct="1">
                  <a:lnSpc>
                    <a:spcPct val="90000"/>
                  </a:lnSpc>
                  <a:spcBef>
                    <a:spcPts val="0"/>
                  </a:spcBef>
                  <a:spcAft>
                    <a:spcPts val="450"/>
                  </a:spcAft>
                  <a:defRPr/>
                </a:pPr>
                <a:r>
                  <a:rPr lang="en-US" sz="1050">
                    <a:gradFill>
                      <a:gsLst>
                        <a:gs pos="2917">
                          <a:srgbClr val="353535"/>
                        </a:gs>
                        <a:gs pos="30000">
                          <a:srgbClr val="353535"/>
                        </a:gs>
                      </a:gsLst>
                      <a:lin ang="5400000" scaled="0"/>
                    </a:gradFill>
                    <a:latin typeface="Segoe UI Semilight"/>
                  </a:rPr>
                  <a:t>Secure foundational resources</a:t>
                </a:r>
              </a:p>
            </p:txBody>
          </p:sp>
        </p:grpSp>
        <p:grpSp>
          <p:nvGrpSpPr>
            <p:cNvPr id="148" name="Group 147">
              <a:extLst>
                <a:ext uri="{FF2B5EF4-FFF2-40B4-BE49-F238E27FC236}">
                  <a16:creationId xmlns:a16="http://schemas.microsoft.com/office/drawing/2014/main" id="{D2FFD245-D640-4147-AF19-16790761C523}"/>
                </a:ext>
              </a:extLst>
            </p:cNvPr>
            <p:cNvGrpSpPr/>
            <p:nvPr/>
          </p:nvGrpSpPr>
          <p:grpSpPr>
            <a:xfrm>
              <a:off x="6667188" y="1560617"/>
              <a:ext cx="142849" cy="1667844"/>
              <a:chOff x="6667188" y="2038923"/>
              <a:chExt cx="142849" cy="1667844"/>
            </a:xfrm>
          </p:grpSpPr>
          <p:pic>
            <p:nvPicPr>
              <p:cNvPr id="149" name="Picture 148">
                <a:extLst>
                  <a:ext uri="{FF2B5EF4-FFF2-40B4-BE49-F238E27FC236}">
                    <a16:creationId xmlns:a16="http://schemas.microsoft.com/office/drawing/2014/main" id="{E6F7DBC2-D476-427D-9381-A20405078BFC}"/>
                  </a:ext>
                </a:extLst>
              </p:cNvPr>
              <p:cNvPicPr>
                <a:picLocks noChangeAspect="1"/>
              </p:cNvPicPr>
              <p:nvPr/>
            </p:nvPicPr>
            <p:blipFill>
              <a:blip r:embed="rId2">
                <a:duotone>
                  <a:prstClr val="black"/>
                  <a:schemeClr val="bg1">
                    <a:tint val="45000"/>
                    <a:satMod val="400000"/>
                  </a:schemeClr>
                </a:duotone>
              </a:blip>
              <a:stretch>
                <a:fillRect/>
              </a:stretch>
            </p:blipFill>
            <p:spPr>
              <a:xfrm>
                <a:off x="6668104" y="2038923"/>
                <a:ext cx="141933" cy="184202"/>
              </a:xfrm>
              <a:prstGeom prst="rect">
                <a:avLst/>
              </a:prstGeom>
              <a:noFill/>
              <a:ln>
                <a:noFill/>
              </a:ln>
            </p:spPr>
          </p:pic>
          <p:pic>
            <p:nvPicPr>
              <p:cNvPr id="150" name="Picture 149">
                <a:extLst>
                  <a:ext uri="{FF2B5EF4-FFF2-40B4-BE49-F238E27FC236}">
                    <a16:creationId xmlns:a16="http://schemas.microsoft.com/office/drawing/2014/main" id="{FC08BE9F-52BA-4D93-971F-79EFE6B09DD0}"/>
                  </a:ext>
                </a:extLst>
              </p:cNvPr>
              <p:cNvPicPr>
                <a:picLocks noChangeAspect="1"/>
              </p:cNvPicPr>
              <p:nvPr/>
            </p:nvPicPr>
            <p:blipFill>
              <a:blip r:embed="rId2">
                <a:duotone>
                  <a:prstClr val="black"/>
                  <a:schemeClr val="bg1">
                    <a:tint val="45000"/>
                    <a:satMod val="400000"/>
                  </a:schemeClr>
                </a:duotone>
              </a:blip>
              <a:stretch>
                <a:fillRect/>
              </a:stretch>
            </p:blipFill>
            <p:spPr>
              <a:xfrm>
                <a:off x="6668103" y="2794709"/>
                <a:ext cx="141933" cy="184202"/>
              </a:xfrm>
              <a:prstGeom prst="rect">
                <a:avLst/>
              </a:prstGeom>
              <a:noFill/>
              <a:ln>
                <a:noFill/>
              </a:ln>
            </p:spPr>
          </p:pic>
          <p:pic>
            <p:nvPicPr>
              <p:cNvPr id="151" name="Picture 150">
                <a:extLst>
                  <a:ext uri="{FF2B5EF4-FFF2-40B4-BE49-F238E27FC236}">
                    <a16:creationId xmlns:a16="http://schemas.microsoft.com/office/drawing/2014/main" id="{A3D7956D-7603-436B-AEE4-8679803E2612}"/>
                  </a:ext>
                </a:extLst>
              </p:cNvPr>
              <p:cNvPicPr>
                <a:picLocks noChangeAspect="1"/>
              </p:cNvPicPr>
              <p:nvPr/>
            </p:nvPicPr>
            <p:blipFill>
              <a:blip r:embed="rId2">
                <a:duotone>
                  <a:prstClr val="black"/>
                  <a:schemeClr val="bg1">
                    <a:tint val="45000"/>
                    <a:satMod val="400000"/>
                  </a:schemeClr>
                </a:duotone>
              </a:blip>
              <a:stretch>
                <a:fillRect/>
              </a:stretch>
            </p:blipFill>
            <p:spPr>
              <a:xfrm>
                <a:off x="6667188" y="3522565"/>
                <a:ext cx="141933" cy="184202"/>
              </a:xfrm>
              <a:prstGeom prst="rect">
                <a:avLst/>
              </a:prstGeom>
              <a:noFill/>
              <a:ln>
                <a:noFill/>
              </a:ln>
            </p:spPr>
          </p:pic>
        </p:grpSp>
      </p:grpSp>
      <p:grpSp>
        <p:nvGrpSpPr>
          <p:cNvPr id="154" name="Group 153">
            <a:extLst>
              <a:ext uri="{FF2B5EF4-FFF2-40B4-BE49-F238E27FC236}">
                <a16:creationId xmlns:a16="http://schemas.microsoft.com/office/drawing/2014/main" id="{2F9855B7-8E79-4123-AAED-E7261011CE86}"/>
              </a:ext>
            </a:extLst>
          </p:cNvPr>
          <p:cNvGrpSpPr/>
          <p:nvPr/>
        </p:nvGrpSpPr>
        <p:grpSpPr>
          <a:xfrm>
            <a:off x="5709152" y="1646449"/>
            <a:ext cx="3771339" cy="1867330"/>
            <a:chOff x="7612202" y="1553662"/>
            <a:chExt cx="5028452" cy="2489774"/>
          </a:xfrm>
        </p:grpSpPr>
        <p:grpSp>
          <p:nvGrpSpPr>
            <p:cNvPr id="155" name="Group 154">
              <a:extLst>
                <a:ext uri="{FF2B5EF4-FFF2-40B4-BE49-F238E27FC236}">
                  <a16:creationId xmlns:a16="http://schemas.microsoft.com/office/drawing/2014/main" id="{27415B58-2149-4734-B720-2DBB41A99D5A}"/>
                </a:ext>
              </a:extLst>
            </p:cNvPr>
            <p:cNvGrpSpPr/>
            <p:nvPr/>
          </p:nvGrpSpPr>
          <p:grpSpPr>
            <a:xfrm>
              <a:off x="7612202" y="2039464"/>
              <a:ext cx="1860535" cy="1217927"/>
              <a:chOff x="7751443" y="2875334"/>
              <a:chExt cx="1860535" cy="1217927"/>
            </a:xfrm>
          </p:grpSpPr>
          <p:cxnSp>
            <p:nvCxnSpPr>
              <p:cNvPr id="172" name="Straight Arrow Connector 171">
                <a:extLst>
                  <a:ext uri="{FF2B5EF4-FFF2-40B4-BE49-F238E27FC236}">
                    <a16:creationId xmlns:a16="http://schemas.microsoft.com/office/drawing/2014/main" id="{8BD9CB07-C8AD-44F3-BCF6-6CB522824B06}"/>
                  </a:ext>
                </a:extLst>
              </p:cNvPr>
              <p:cNvCxnSpPr>
                <a:cxnSpLocks/>
              </p:cNvCxnSpPr>
              <p:nvPr/>
            </p:nvCxnSpPr>
            <p:spPr>
              <a:xfrm flipV="1">
                <a:off x="7751443" y="2875334"/>
                <a:ext cx="1860535" cy="553666"/>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FE28165D-C1F2-4FB2-82B4-957EB34A3E05}"/>
                  </a:ext>
                </a:extLst>
              </p:cNvPr>
              <p:cNvCxnSpPr>
                <a:cxnSpLocks/>
              </p:cNvCxnSpPr>
              <p:nvPr/>
            </p:nvCxnSpPr>
            <p:spPr>
              <a:xfrm flipV="1">
                <a:off x="7883543" y="3442979"/>
                <a:ext cx="1728435" cy="18945"/>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C2CB2582-F35F-4874-830E-945866D2F610}"/>
                  </a:ext>
                </a:extLst>
              </p:cNvPr>
              <p:cNvCxnSpPr>
                <a:cxnSpLocks/>
              </p:cNvCxnSpPr>
              <p:nvPr/>
            </p:nvCxnSpPr>
            <p:spPr>
              <a:xfrm>
                <a:off x="7751443" y="3487604"/>
                <a:ext cx="1756205" cy="605657"/>
              </a:xfrm>
              <a:prstGeom prst="straightConnector1">
                <a:avLst/>
              </a:prstGeom>
              <a:ln w="28575">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156" name="Group 155">
              <a:extLst>
                <a:ext uri="{FF2B5EF4-FFF2-40B4-BE49-F238E27FC236}">
                  <a16:creationId xmlns:a16="http://schemas.microsoft.com/office/drawing/2014/main" id="{F7C8D546-3232-44C2-8F44-C9010BFB8978}"/>
                </a:ext>
              </a:extLst>
            </p:cNvPr>
            <p:cNvGrpSpPr/>
            <p:nvPr/>
          </p:nvGrpSpPr>
          <p:grpSpPr>
            <a:xfrm>
              <a:off x="9707674" y="1553662"/>
              <a:ext cx="2932980" cy="2306449"/>
              <a:chOff x="8366906" y="2177553"/>
              <a:chExt cx="2932980" cy="2306449"/>
            </a:xfrm>
          </p:grpSpPr>
          <p:grpSp>
            <p:nvGrpSpPr>
              <p:cNvPr id="160" name="Group 159">
                <a:extLst>
                  <a:ext uri="{FF2B5EF4-FFF2-40B4-BE49-F238E27FC236}">
                    <a16:creationId xmlns:a16="http://schemas.microsoft.com/office/drawing/2014/main" id="{087064D8-22B5-433C-998D-D5900DBD8AE1}"/>
                  </a:ext>
                </a:extLst>
              </p:cNvPr>
              <p:cNvGrpSpPr/>
              <p:nvPr/>
            </p:nvGrpSpPr>
            <p:grpSpPr>
              <a:xfrm>
                <a:off x="8366906" y="2177553"/>
                <a:ext cx="2915728" cy="545203"/>
                <a:chOff x="8298253" y="2464988"/>
                <a:chExt cx="2915728" cy="545203"/>
              </a:xfrm>
            </p:grpSpPr>
            <p:pic>
              <p:nvPicPr>
                <p:cNvPr id="170" name="Graphic 169">
                  <a:extLst>
                    <a:ext uri="{FF2B5EF4-FFF2-40B4-BE49-F238E27FC236}">
                      <a16:creationId xmlns:a16="http://schemas.microsoft.com/office/drawing/2014/main" id="{736ECA1C-3D52-4448-A6BB-9287FAF126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171" name="TextBox 170">
                  <a:extLst>
                    <a:ext uri="{FF2B5EF4-FFF2-40B4-BE49-F238E27FC236}">
                      <a16:creationId xmlns:a16="http://schemas.microsoft.com/office/drawing/2014/main" id="{23976B65-F2B4-40AD-931E-1A629A4163B8}"/>
                    </a:ext>
                  </a:extLst>
                </p:cNvPr>
                <p:cNvSpPr txBox="1"/>
                <p:nvPr/>
              </p:nvSpPr>
              <p:spPr>
                <a:xfrm>
                  <a:off x="8649752" y="2465427"/>
                  <a:ext cx="2564229" cy="544764"/>
                </a:xfrm>
                <a:prstGeom prst="rect">
                  <a:avLst/>
                </a:prstGeom>
                <a:noFill/>
              </p:spPr>
              <p:txBody>
                <a:bodyPr wrap="square" lIns="137160" tIns="109728" rIns="137160" bIns="109728" rtlCol="0">
                  <a:spAutoFit/>
                </a:bodyPr>
                <a:lstStyle/>
                <a:p>
                  <a:pPr defTabSz="685800" eaLnBrk="1" fontAlgn="auto" hangingPunct="1">
                    <a:lnSpc>
                      <a:spcPct val="90000"/>
                    </a:lnSpc>
                    <a:spcBef>
                      <a:spcPts val="0"/>
                    </a:spcBef>
                    <a:spcAft>
                      <a:spcPts val="450"/>
                    </a:spcAft>
                    <a:defRPr/>
                  </a:pPr>
                  <a:r>
                    <a:rPr lang="en-US" sz="1350">
                      <a:gradFill>
                        <a:gsLst>
                          <a:gs pos="2917">
                            <a:srgbClr val="353535"/>
                          </a:gs>
                          <a:gs pos="30000">
                            <a:srgbClr val="353535"/>
                          </a:gs>
                        </a:gsLst>
                        <a:lin ang="5400000" scaled="0"/>
                      </a:gradFill>
                      <a:latin typeface="Segoe UI Semilight"/>
                    </a:rPr>
                    <a:t>Subscription A</a:t>
                  </a:r>
                </a:p>
              </p:txBody>
            </p:sp>
          </p:grpSp>
          <p:grpSp>
            <p:nvGrpSpPr>
              <p:cNvPr id="161" name="Group 160">
                <a:extLst>
                  <a:ext uri="{FF2B5EF4-FFF2-40B4-BE49-F238E27FC236}">
                    <a16:creationId xmlns:a16="http://schemas.microsoft.com/office/drawing/2014/main" id="{17B34B66-CCD0-4635-B9C6-FAFE5E7B7D03}"/>
                  </a:ext>
                </a:extLst>
              </p:cNvPr>
              <p:cNvGrpSpPr/>
              <p:nvPr/>
            </p:nvGrpSpPr>
            <p:grpSpPr>
              <a:xfrm>
                <a:off x="8366906" y="2692011"/>
                <a:ext cx="2915728" cy="545203"/>
                <a:chOff x="8298253" y="2464988"/>
                <a:chExt cx="2915728" cy="545203"/>
              </a:xfrm>
            </p:grpSpPr>
            <p:pic>
              <p:nvPicPr>
                <p:cNvPr id="168" name="Graphic 167">
                  <a:extLst>
                    <a:ext uri="{FF2B5EF4-FFF2-40B4-BE49-F238E27FC236}">
                      <a16:creationId xmlns:a16="http://schemas.microsoft.com/office/drawing/2014/main" id="{C5BEA26D-09A4-4728-9AF1-26F6CBA586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169" name="TextBox 168">
                  <a:extLst>
                    <a:ext uri="{FF2B5EF4-FFF2-40B4-BE49-F238E27FC236}">
                      <a16:creationId xmlns:a16="http://schemas.microsoft.com/office/drawing/2014/main" id="{F53C74D3-3B09-4122-A3D9-FB82E408E279}"/>
                    </a:ext>
                  </a:extLst>
                </p:cNvPr>
                <p:cNvSpPr txBox="1"/>
                <p:nvPr/>
              </p:nvSpPr>
              <p:spPr>
                <a:xfrm>
                  <a:off x="8649752" y="2465427"/>
                  <a:ext cx="2564229" cy="544764"/>
                </a:xfrm>
                <a:prstGeom prst="rect">
                  <a:avLst/>
                </a:prstGeom>
                <a:noFill/>
              </p:spPr>
              <p:txBody>
                <a:bodyPr wrap="square" lIns="137160" tIns="109728" rIns="137160" bIns="109728" rtlCol="0">
                  <a:spAutoFit/>
                </a:bodyPr>
                <a:lstStyle/>
                <a:p>
                  <a:pPr defTabSz="685800" eaLnBrk="1" fontAlgn="auto" hangingPunct="1">
                    <a:lnSpc>
                      <a:spcPct val="90000"/>
                    </a:lnSpc>
                    <a:spcBef>
                      <a:spcPts val="0"/>
                    </a:spcBef>
                    <a:spcAft>
                      <a:spcPts val="450"/>
                    </a:spcAft>
                    <a:defRPr/>
                  </a:pPr>
                  <a:r>
                    <a:rPr lang="en-US" sz="1350">
                      <a:gradFill>
                        <a:gsLst>
                          <a:gs pos="2917">
                            <a:srgbClr val="353535"/>
                          </a:gs>
                          <a:gs pos="30000">
                            <a:srgbClr val="353535"/>
                          </a:gs>
                        </a:gsLst>
                        <a:lin ang="5400000" scaled="0"/>
                      </a:gradFill>
                      <a:latin typeface="Segoe UI Semilight"/>
                    </a:rPr>
                    <a:t>Subscription B</a:t>
                  </a:r>
                </a:p>
              </p:txBody>
            </p:sp>
          </p:grpSp>
          <p:grpSp>
            <p:nvGrpSpPr>
              <p:cNvPr id="162" name="Group 161">
                <a:extLst>
                  <a:ext uri="{FF2B5EF4-FFF2-40B4-BE49-F238E27FC236}">
                    <a16:creationId xmlns:a16="http://schemas.microsoft.com/office/drawing/2014/main" id="{167B908A-7760-44DD-8C72-DF0B244948D9}"/>
                  </a:ext>
                </a:extLst>
              </p:cNvPr>
              <p:cNvGrpSpPr/>
              <p:nvPr/>
            </p:nvGrpSpPr>
            <p:grpSpPr>
              <a:xfrm>
                <a:off x="8366906" y="3233942"/>
                <a:ext cx="2915728" cy="545203"/>
                <a:chOff x="8298253" y="2464988"/>
                <a:chExt cx="2915728" cy="545203"/>
              </a:xfrm>
            </p:grpSpPr>
            <p:pic>
              <p:nvPicPr>
                <p:cNvPr id="166" name="Graphic 165">
                  <a:extLst>
                    <a:ext uri="{FF2B5EF4-FFF2-40B4-BE49-F238E27FC236}">
                      <a16:creationId xmlns:a16="http://schemas.microsoft.com/office/drawing/2014/main" id="{BC60502A-A50D-45CB-8786-E2B47A57C5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167" name="TextBox 166">
                  <a:extLst>
                    <a:ext uri="{FF2B5EF4-FFF2-40B4-BE49-F238E27FC236}">
                      <a16:creationId xmlns:a16="http://schemas.microsoft.com/office/drawing/2014/main" id="{7F327763-79DA-4A5F-B27F-66B8E34C3280}"/>
                    </a:ext>
                  </a:extLst>
                </p:cNvPr>
                <p:cNvSpPr txBox="1"/>
                <p:nvPr/>
              </p:nvSpPr>
              <p:spPr>
                <a:xfrm>
                  <a:off x="8649752" y="2465427"/>
                  <a:ext cx="2564229" cy="544764"/>
                </a:xfrm>
                <a:prstGeom prst="rect">
                  <a:avLst/>
                </a:prstGeom>
                <a:noFill/>
              </p:spPr>
              <p:txBody>
                <a:bodyPr wrap="square" lIns="137160" tIns="109728" rIns="137160" bIns="109728" rtlCol="0">
                  <a:spAutoFit/>
                </a:bodyPr>
                <a:lstStyle/>
                <a:p>
                  <a:pPr defTabSz="685800" eaLnBrk="1" fontAlgn="auto" hangingPunct="1">
                    <a:lnSpc>
                      <a:spcPct val="90000"/>
                    </a:lnSpc>
                    <a:spcBef>
                      <a:spcPts val="0"/>
                    </a:spcBef>
                    <a:spcAft>
                      <a:spcPts val="450"/>
                    </a:spcAft>
                    <a:defRPr/>
                  </a:pPr>
                  <a:r>
                    <a:rPr lang="en-US" sz="1350">
                      <a:gradFill>
                        <a:gsLst>
                          <a:gs pos="2917">
                            <a:srgbClr val="353535"/>
                          </a:gs>
                          <a:gs pos="30000">
                            <a:srgbClr val="353535"/>
                          </a:gs>
                        </a:gsLst>
                        <a:lin ang="5400000" scaled="0"/>
                      </a:gradFill>
                      <a:latin typeface="Segoe UI Semilight"/>
                    </a:rPr>
                    <a:t>Subscription C</a:t>
                  </a:r>
                </a:p>
              </p:txBody>
            </p:sp>
          </p:grpSp>
          <p:grpSp>
            <p:nvGrpSpPr>
              <p:cNvPr id="163" name="Group 162">
                <a:extLst>
                  <a:ext uri="{FF2B5EF4-FFF2-40B4-BE49-F238E27FC236}">
                    <a16:creationId xmlns:a16="http://schemas.microsoft.com/office/drawing/2014/main" id="{C334F676-087F-43B7-A62F-2CCDF3E45DAE}"/>
                  </a:ext>
                </a:extLst>
              </p:cNvPr>
              <p:cNvGrpSpPr/>
              <p:nvPr/>
            </p:nvGrpSpPr>
            <p:grpSpPr>
              <a:xfrm>
                <a:off x="8366906" y="3775873"/>
                <a:ext cx="2932980" cy="708129"/>
                <a:chOff x="8298253" y="2464988"/>
                <a:chExt cx="2932980" cy="708129"/>
              </a:xfrm>
            </p:grpSpPr>
            <p:pic>
              <p:nvPicPr>
                <p:cNvPr id="164" name="Graphic 163">
                  <a:extLst>
                    <a:ext uri="{FF2B5EF4-FFF2-40B4-BE49-F238E27FC236}">
                      <a16:creationId xmlns:a16="http://schemas.microsoft.com/office/drawing/2014/main" id="{3C559994-D161-4A65-9C06-C4709B708E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8253" y="2464988"/>
                  <a:ext cx="541931" cy="541931"/>
                </a:xfrm>
                <a:prstGeom prst="rect">
                  <a:avLst/>
                </a:prstGeom>
              </p:spPr>
            </p:pic>
            <p:sp>
              <p:nvSpPr>
                <p:cNvPr id="165" name="TextBox 164">
                  <a:extLst>
                    <a:ext uri="{FF2B5EF4-FFF2-40B4-BE49-F238E27FC236}">
                      <a16:creationId xmlns:a16="http://schemas.microsoft.com/office/drawing/2014/main" id="{A027E7A8-4332-4AC1-A91A-956328FAF007}"/>
                    </a:ext>
                  </a:extLst>
                </p:cNvPr>
                <p:cNvSpPr txBox="1"/>
                <p:nvPr/>
              </p:nvSpPr>
              <p:spPr>
                <a:xfrm>
                  <a:off x="8667004" y="2545253"/>
                  <a:ext cx="2564229" cy="627864"/>
                </a:xfrm>
                <a:prstGeom prst="rect">
                  <a:avLst/>
                </a:prstGeom>
                <a:noFill/>
              </p:spPr>
              <p:txBody>
                <a:bodyPr wrap="square" lIns="137160" tIns="109728" rIns="137160" bIns="109728" rtlCol="0">
                  <a:spAutoFit/>
                </a:bodyPr>
                <a:lstStyle/>
                <a:p>
                  <a:pPr defTabSz="685800" eaLnBrk="1" fontAlgn="auto" hangingPunct="1">
                    <a:lnSpc>
                      <a:spcPct val="90000"/>
                    </a:lnSpc>
                    <a:spcBef>
                      <a:spcPts val="0"/>
                    </a:spcBef>
                    <a:spcAft>
                      <a:spcPts val="450"/>
                    </a:spcAft>
                    <a:defRPr/>
                  </a:pPr>
                  <a:r>
                    <a:rPr lang="en-US">
                      <a:gradFill>
                        <a:gsLst>
                          <a:gs pos="2917">
                            <a:srgbClr val="353535"/>
                          </a:gs>
                          <a:gs pos="30000">
                            <a:srgbClr val="353535"/>
                          </a:gs>
                        </a:gsLst>
                        <a:lin ang="5400000" scaled="0"/>
                      </a:gradFill>
                      <a:latin typeface="Segoe UI Semilight"/>
                    </a:rPr>
                    <a:t>…</a:t>
                  </a:r>
                </a:p>
              </p:txBody>
            </p:sp>
          </p:grpSp>
        </p:grpSp>
        <p:grpSp>
          <p:nvGrpSpPr>
            <p:cNvPr id="157" name="Group 156">
              <a:extLst>
                <a:ext uri="{FF2B5EF4-FFF2-40B4-BE49-F238E27FC236}">
                  <a16:creationId xmlns:a16="http://schemas.microsoft.com/office/drawing/2014/main" id="{5A334427-6688-4C79-B035-8B4152A17370}"/>
                </a:ext>
              </a:extLst>
            </p:cNvPr>
            <p:cNvGrpSpPr/>
            <p:nvPr/>
          </p:nvGrpSpPr>
          <p:grpSpPr>
            <a:xfrm>
              <a:off x="7629072" y="3120409"/>
              <a:ext cx="1649832" cy="923027"/>
              <a:chOff x="1770091" y="2839701"/>
              <a:chExt cx="1649832" cy="923027"/>
            </a:xfrm>
          </p:grpSpPr>
          <p:sp>
            <p:nvSpPr>
              <p:cNvPr id="158" name="Oval 157">
                <a:extLst>
                  <a:ext uri="{FF2B5EF4-FFF2-40B4-BE49-F238E27FC236}">
                    <a16:creationId xmlns:a16="http://schemas.microsoft.com/office/drawing/2014/main" id="{4AC5DE30-2221-43E1-9C6B-90A932A39033}"/>
                  </a:ext>
                </a:extLst>
              </p:cNvPr>
              <p:cNvSpPr/>
              <p:nvPr/>
            </p:nvSpPr>
            <p:spPr bwMode="auto">
              <a:xfrm>
                <a:off x="2422414" y="2839701"/>
                <a:ext cx="326750" cy="31713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eaLnBrk="1" hangingPunct="1">
                  <a:defRPr/>
                </a:pPr>
                <a:r>
                  <a:rPr lang="en-US" sz="1350">
                    <a:gradFill>
                      <a:gsLst>
                        <a:gs pos="0">
                          <a:srgbClr val="FFFFFF"/>
                        </a:gs>
                        <a:gs pos="100000">
                          <a:srgbClr val="FFFFFF"/>
                        </a:gs>
                      </a:gsLst>
                      <a:lin ang="5400000" scaled="0"/>
                    </a:gradFill>
                    <a:latin typeface="Segoe UI Semibold"/>
                    <a:ea typeface="Segoe UI" pitchFamily="34" charset="0"/>
                    <a:cs typeface="Segoe UI" pitchFamily="34" charset="0"/>
                  </a:rPr>
                  <a:t>3</a:t>
                </a:r>
              </a:p>
            </p:txBody>
          </p:sp>
          <p:sp>
            <p:nvSpPr>
              <p:cNvPr id="159" name="TextBox 158">
                <a:extLst>
                  <a:ext uri="{FF2B5EF4-FFF2-40B4-BE49-F238E27FC236}">
                    <a16:creationId xmlns:a16="http://schemas.microsoft.com/office/drawing/2014/main" id="{F3026AE0-64D7-4E52-A3D9-F9E9B9488246}"/>
                  </a:ext>
                </a:extLst>
              </p:cNvPr>
              <p:cNvSpPr txBox="1"/>
              <p:nvPr/>
            </p:nvSpPr>
            <p:spPr>
              <a:xfrm>
                <a:off x="1770091" y="3079464"/>
                <a:ext cx="1649832" cy="683264"/>
              </a:xfrm>
              <a:prstGeom prst="rect">
                <a:avLst/>
              </a:prstGeom>
              <a:noFill/>
            </p:spPr>
            <p:txBody>
              <a:bodyPr wrap="square" lIns="137160" tIns="109728" rIns="137160" bIns="109728" rtlCol="0">
                <a:spAutoFit/>
              </a:bodyPr>
              <a:lstStyle/>
              <a:p>
                <a:pPr algn="ctr" defTabSz="685800" eaLnBrk="1" fontAlgn="auto" hangingPunct="1">
                  <a:lnSpc>
                    <a:spcPct val="90000"/>
                  </a:lnSpc>
                  <a:spcBef>
                    <a:spcPts val="0"/>
                  </a:spcBef>
                  <a:spcAft>
                    <a:spcPts val="450"/>
                  </a:spcAft>
                  <a:defRPr/>
                </a:pPr>
                <a:r>
                  <a:rPr lang="en-US" sz="1050">
                    <a:gradFill>
                      <a:gsLst>
                        <a:gs pos="2917">
                          <a:srgbClr val="353535"/>
                        </a:gs>
                        <a:gs pos="30000">
                          <a:srgbClr val="353535"/>
                        </a:gs>
                      </a:gsLst>
                      <a:lin ang="5400000" scaled="0"/>
                    </a:gradFill>
                    <a:latin typeface="Segoe UI Semilight"/>
                  </a:rPr>
                  <a:t>Stamp out environments</a:t>
                </a:r>
              </a:p>
            </p:txBody>
          </p:sp>
        </p:grpSp>
      </p:grpSp>
      <p:grpSp>
        <p:nvGrpSpPr>
          <p:cNvPr id="175" name="Group 174">
            <a:extLst>
              <a:ext uri="{FF2B5EF4-FFF2-40B4-BE49-F238E27FC236}">
                <a16:creationId xmlns:a16="http://schemas.microsoft.com/office/drawing/2014/main" id="{91C5B6ED-D38E-4D05-9507-FB6E1534B405}"/>
              </a:ext>
            </a:extLst>
          </p:cNvPr>
          <p:cNvGrpSpPr/>
          <p:nvPr/>
        </p:nvGrpSpPr>
        <p:grpSpPr>
          <a:xfrm>
            <a:off x="3484295" y="3539956"/>
            <a:ext cx="1374242" cy="657872"/>
            <a:chOff x="2422414" y="2732401"/>
            <a:chExt cx="1832322" cy="877162"/>
          </a:xfrm>
        </p:grpSpPr>
        <p:sp>
          <p:nvSpPr>
            <p:cNvPr id="176" name="Oval 175">
              <a:extLst>
                <a:ext uri="{FF2B5EF4-FFF2-40B4-BE49-F238E27FC236}">
                  <a16:creationId xmlns:a16="http://schemas.microsoft.com/office/drawing/2014/main" id="{F6B83CA0-4535-4D40-82B7-7FC8AD245C7C}"/>
                </a:ext>
              </a:extLst>
            </p:cNvPr>
            <p:cNvSpPr/>
            <p:nvPr/>
          </p:nvSpPr>
          <p:spPr bwMode="auto">
            <a:xfrm>
              <a:off x="2422414" y="2839701"/>
              <a:ext cx="326750" cy="317139"/>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99354" eaLnBrk="1" hangingPunct="1">
                <a:defRPr/>
              </a:pPr>
              <a:r>
                <a:rPr lang="en-US" sz="1350">
                  <a:gradFill>
                    <a:gsLst>
                      <a:gs pos="0">
                        <a:srgbClr val="FFFFFF"/>
                      </a:gs>
                      <a:gs pos="100000">
                        <a:srgbClr val="FFFFFF"/>
                      </a:gs>
                    </a:gsLst>
                    <a:lin ang="5400000" scaled="0"/>
                  </a:gradFill>
                  <a:latin typeface="Segoe UI Semibold"/>
                  <a:ea typeface="Segoe UI" pitchFamily="34" charset="0"/>
                  <a:cs typeface="Segoe UI" pitchFamily="34" charset="0"/>
                </a:rPr>
                <a:t>4</a:t>
              </a:r>
            </a:p>
          </p:txBody>
        </p:sp>
        <p:sp>
          <p:nvSpPr>
            <p:cNvPr id="177" name="TextBox 176">
              <a:extLst>
                <a:ext uri="{FF2B5EF4-FFF2-40B4-BE49-F238E27FC236}">
                  <a16:creationId xmlns:a16="http://schemas.microsoft.com/office/drawing/2014/main" id="{C01C557D-465C-4552-96E5-347B34744A97}"/>
                </a:ext>
              </a:extLst>
            </p:cNvPr>
            <p:cNvSpPr txBox="1"/>
            <p:nvPr/>
          </p:nvSpPr>
          <p:spPr>
            <a:xfrm>
              <a:off x="2604905" y="2732401"/>
              <a:ext cx="1649831" cy="877162"/>
            </a:xfrm>
            <a:prstGeom prst="rect">
              <a:avLst/>
            </a:prstGeom>
            <a:noFill/>
          </p:spPr>
          <p:txBody>
            <a:bodyPr wrap="square" lIns="137160" tIns="109728" rIns="137160" bIns="109728" rtlCol="0">
              <a:spAutoFit/>
            </a:bodyPr>
            <a:lstStyle/>
            <a:p>
              <a:pPr algn="ctr" defTabSz="685800" eaLnBrk="1" fontAlgn="auto" hangingPunct="1">
                <a:lnSpc>
                  <a:spcPct val="90000"/>
                </a:lnSpc>
                <a:spcBef>
                  <a:spcPts val="0"/>
                </a:spcBef>
                <a:spcAft>
                  <a:spcPts val="450"/>
                </a:spcAft>
                <a:defRPr/>
              </a:pPr>
              <a:r>
                <a:rPr lang="en-US" sz="1050">
                  <a:gradFill>
                    <a:gsLst>
                      <a:gs pos="2917">
                        <a:srgbClr val="353535"/>
                      </a:gs>
                      <a:gs pos="30000">
                        <a:srgbClr val="353535"/>
                      </a:gs>
                    </a:gsLst>
                    <a:lin ang="5400000" scaled="0"/>
                  </a:gradFill>
                  <a:latin typeface="Segoe UI Semilight"/>
                </a:rPr>
                <a:t>Version and Update Blueprints</a:t>
              </a:r>
            </a:p>
          </p:txBody>
        </p:sp>
      </p:grpSp>
      <p:pic>
        <p:nvPicPr>
          <p:cNvPr id="178" name="Graphic 177">
            <a:extLst>
              <a:ext uri="{FF2B5EF4-FFF2-40B4-BE49-F238E27FC236}">
                <a16:creationId xmlns:a16="http://schemas.microsoft.com/office/drawing/2014/main" id="{4481215E-9439-4605-A599-53EDA6C3D5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62733" y="1118707"/>
            <a:ext cx="196776" cy="196776"/>
          </a:xfrm>
          <a:prstGeom prst="rect">
            <a:avLst/>
          </a:prstGeom>
        </p:spPr>
      </p:pic>
    </p:spTree>
    <p:extLst>
      <p:ext uri="{BB962C8B-B14F-4D97-AF65-F5344CB8AC3E}">
        <p14:creationId xmlns:p14="http://schemas.microsoft.com/office/powerpoint/2010/main" val="4233057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C8824-9274-43B4-AA81-840D2FA793CE}"/>
              </a:ext>
            </a:extLst>
          </p:cNvPr>
          <p:cNvSpPr>
            <a:spLocks noGrp="1"/>
          </p:cNvSpPr>
          <p:nvPr>
            <p:ph type="title"/>
          </p:nvPr>
        </p:nvSpPr>
        <p:spPr/>
        <p:txBody>
          <a:bodyPr/>
          <a:lstStyle/>
          <a:p>
            <a:endParaRPr lang="en-US" dirty="0"/>
          </a:p>
        </p:txBody>
      </p:sp>
      <p:pic>
        <p:nvPicPr>
          <p:cNvPr id="6" name="Picture 5">
            <a:extLst>
              <a:ext uri="{FF2B5EF4-FFF2-40B4-BE49-F238E27FC236}">
                <a16:creationId xmlns:a16="http://schemas.microsoft.com/office/drawing/2014/main" id="{16A5B109-6193-41B9-A3C6-7570BAB216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0600" y="228600"/>
            <a:ext cx="6172200" cy="4061308"/>
          </a:xfrm>
          <a:prstGeom prst="rect">
            <a:avLst/>
          </a:prstGeom>
        </p:spPr>
      </p:pic>
    </p:spTree>
    <p:extLst>
      <p:ext uri="{BB962C8B-B14F-4D97-AF65-F5344CB8AC3E}">
        <p14:creationId xmlns:p14="http://schemas.microsoft.com/office/powerpoint/2010/main" val="125512435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3416F6-87A9-435C-947A-D76BB5DC28AD}"/>
              </a:ext>
            </a:extLst>
          </p:cNvPr>
          <p:cNvSpPr>
            <a:spLocks noGrp="1"/>
          </p:cNvSpPr>
          <p:nvPr>
            <p:ph type="title"/>
          </p:nvPr>
        </p:nvSpPr>
        <p:spPr/>
        <p:txBody>
          <a:bodyPr/>
          <a:lstStyle/>
          <a:p>
            <a:r>
              <a:rPr lang="en-US" dirty="0"/>
              <a:t>Tools</a:t>
            </a:r>
          </a:p>
        </p:txBody>
      </p:sp>
      <p:pic>
        <p:nvPicPr>
          <p:cNvPr id="6" name="Graphic 5">
            <a:extLst>
              <a:ext uri="{FF2B5EF4-FFF2-40B4-BE49-F238E27FC236}">
                <a16:creationId xmlns:a16="http://schemas.microsoft.com/office/drawing/2014/main" id="{8D500A8A-F162-4982-855E-76478EAABD4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81600" y="819150"/>
            <a:ext cx="2811972" cy="2811972"/>
          </a:xfrm>
          <a:prstGeom prst="rect">
            <a:avLst/>
          </a:prstGeom>
        </p:spPr>
      </p:pic>
    </p:spTree>
    <p:extLst>
      <p:ext uri="{BB962C8B-B14F-4D97-AF65-F5344CB8AC3E}">
        <p14:creationId xmlns:p14="http://schemas.microsoft.com/office/powerpoint/2010/main" val="244307805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1AEE2101-1082-4035-868D-A07F08F15B80}"/>
              </a:ext>
            </a:extLst>
          </p:cNvPr>
          <p:cNvSpPr/>
          <p:nvPr/>
        </p:nvSpPr>
        <p:spPr bwMode="auto">
          <a:xfrm>
            <a:off x="0" y="1425949"/>
            <a:ext cx="9144000" cy="2104994"/>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a:lnSpc>
                <a:spcPct val="90000"/>
              </a:lnSpc>
            </a:pPr>
            <a:endParaRPr lang="en-US" sz="1500" kern="0">
              <a:solidFill>
                <a:schemeClr val="tx2"/>
              </a:solidFill>
              <a:latin typeface="Segoe UI Semibold" panose="020B0702040204020203"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C4D39954-4EB6-4DDE-B936-C61BC2A8194C}"/>
              </a:ext>
            </a:extLst>
          </p:cNvPr>
          <p:cNvSpPr>
            <a:spLocks noGrp="1"/>
          </p:cNvSpPr>
          <p:nvPr>
            <p:ph type="title"/>
          </p:nvPr>
        </p:nvSpPr>
        <p:spPr/>
        <p:txBody>
          <a:bodyPr/>
          <a:lstStyle/>
          <a:p>
            <a:r>
              <a:rPr lang="en-US" dirty="0"/>
              <a:t>Cloud Native Security</a:t>
            </a:r>
          </a:p>
        </p:txBody>
      </p:sp>
      <p:pic>
        <p:nvPicPr>
          <p:cNvPr id="38" name="Graphic 37">
            <a:extLst>
              <a:ext uri="{FF2B5EF4-FFF2-40B4-BE49-F238E27FC236}">
                <a16:creationId xmlns:a16="http://schemas.microsoft.com/office/drawing/2014/main" id="{3EC2E0E1-08D8-4B87-8537-E8550CE67E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33087" y="1520494"/>
            <a:ext cx="1378744" cy="1378744"/>
          </a:xfrm>
          <a:prstGeom prst="rect">
            <a:avLst/>
          </a:prstGeom>
        </p:spPr>
      </p:pic>
      <p:pic>
        <p:nvPicPr>
          <p:cNvPr id="1026" name="Picture 2" descr="https://azurecomcdn.azureedge.net/cvt-c885b55d7639fe0c0a7ce721b229bcc3cc958ea0677cf0d4f9064e4a427c9c6c/images/page/services/azure-sentinel/free-preview.png">
            <a:extLst>
              <a:ext uri="{FF2B5EF4-FFF2-40B4-BE49-F238E27FC236}">
                <a16:creationId xmlns:a16="http://schemas.microsoft.com/office/drawing/2014/main" id="{953A4E90-560C-4CBA-8955-8BBA90C5579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12344" y="1559901"/>
            <a:ext cx="1094339" cy="1378744"/>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8D694B34-9CD5-41EE-8DED-51A7C66D3463}"/>
              </a:ext>
            </a:extLst>
          </p:cNvPr>
          <p:cNvSpPr/>
          <p:nvPr/>
        </p:nvSpPr>
        <p:spPr>
          <a:xfrm>
            <a:off x="5560540" y="3689185"/>
            <a:ext cx="2992609" cy="1408078"/>
          </a:xfrm>
          <a:prstGeom prst="rect">
            <a:avLst/>
          </a:prstGeom>
        </p:spPr>
        <p:txBody>
          <a:bodyPr wrap="square">
            <a:spAutoFit/>
          </a:bodyPr>
          <a:lstStyle/>
          <a:p>
            <a:pPr algn="ctr"/>
            <a:r>
              <a:rPr lang="en-US" sz="1350" b="1" dirty="0">
                <a:solidFill>
                  <a:srgbClr val="323237"/>
                </a:solidFill>
                <a:latin typeface="Segoe UI" panose="020B0502040204020203" pitchFamily="34" charset="0"/>
              </a:rPr>
              <a:t>AI driven Security Information and Event Management (SIEM)</a:t>
            </a:r>
          </a:p>
          <a:p>
            <a:pPr algn="ctr"/>
            <a:endParaRPr lang="en-US" sz="1350" b="1" dirty="0"/>
          </a:p>
          <a:p>
            <a:pPr algn="ctr"/>
            <a:r>
              <a:rPr lang="en-US" sz="1350" b="1" dirty="0"/>
              <a:t>Detect threats early with unique intelligence</a:t>
            </a:r>
          </a:p>
          <a:p>
            <a:pPr algn="ctr"/>
            <a:endParaRPr lang="en-US" b="1" i="0" dirty="0">
              <a:solidFill>
                <a:srgbClr val="323237"/>
              </a:solidFill>
              <a:effectLst/>
              <a:latin typeface="Segoe UI" panose="020B0502040204020203" pitchFamily="34" charset="0"/>
            </a:endParaRPr>
          </a:p>
        </p:txBody>
      </p:sp>
      <p:sp>
        <p:nvSpPr>
          <p:cNvPr id="41" name="Rectangle 40">
            <a:extLst>
              <a:ext uri="{FF2B5EF4-FFF2-40B4-BE49-F238E27FC236}">
                <a16:creationId xmlns:a16="http://schemas.microsoft.com/office/drawing/2014/main" id="{88320470-B156-4D63-82A8-D7F751D99D7A}"/>
              </a:ext>
            </a:extLst>
          </p:cNvPr>
          <p:cNvSpPr/>
          <p:nvPr/>
        </p:nvSpPr>
        <p:spPr>
          <a:xfrm>
            <a:off x="762024" y="3696645"/>
            <a:ext cx="2869151" cy="1338828"/>
          </a:xfrm>
          <a:prstGeom prst="rect">
            <a:avLst/>
          </a:prstGeom>
        </p:spPr>
        <p:txBody>
          <a:bodyPr wrap="square">
            <a:spAutoFit/>
          </a:bodyPr>
          <a:lstStyle/>
          <a:p>
            <a:pPr algn="ctr"/>
            <a:r>
              <a:rPr lang="en-US" sz="1350" b="1" dirty="0"/>
              <a:t>Continuously Assess</a:t>
            </a:r>
          </a:p>
          <a:p>
            <a:pPr algn="ctr"/>
            <a:endParaRPr lang="en-US" sz="1350" b="1" dirty="0"/>
          </a:p>
          <a:p>
            <a:pPr algn="ctr"/>
            <a:r>
              <a:rPr lang="en-US" sz="1350" b="1" dirty="0"/>
              <a:t>Secure</a:t>
            </a:r>
          </a:p>
          <a:p>
            <a:pPr algn="ctr"/>
            <a:endParaRPr lang="en-US" sz="1350" b="1" dirty="0"/>
          </a:p>
          <a:p>
            <a:pPr algn="ctr"/>
            <a:r>
              <a:rPr lang="en-US" sz="1350" b="1" dirty="0"/>
              <a:t>Defend</a:t>
            </a:r>
          </a:p>
          <a:p>
            <a:pPr algn="ctr"/>
            <a:endParaRPr lang="en-US" sz="1350" b="1" dirty="0"/>
          </a:p>
        </p:txBody>
      </p:sp>
      <p:sp>
        <p:nvSpPr>
          <p:cNvPr id="40" name="TextBox 39">
            <a:extLst>
              <a:ext uri="{FF2B5EF4-FFF2-40B4-BE49-F238E27FC236}">
                <a16:creationId xmlns:a16="http://schemas.microsoft.com/office/drawing/2014/main" id="{18533A9C-78DF-40B3-ABF2-41F288CF9E8E}"/>
              </a:ext>
            </a:extLst>
          </p:cNvPr>
          <p:cNvSpPr txBox="1"/>
          <p:nvPr/>
        </p:nvSpPr>
        <p:spPr>
          <a:xfrm>
            <a:off x="200818" y="2959455"/>
            <a:ext cx="4231019" cy="369332"/>
          </a:xfrm>
          <a:prstGeom prst="rect">
            <a:avLst/>
          </a:prstGeom>
          <a:noFill/>
        </p:spPr>
        <p:txBody>
          <a:bodyPr wrap="square" lIns="0" tIns="0" rIns="0" bIns="0" rtlCol="0">
            <a:spAutoFit/>
          </a:bodyPr>
          <a:lstStyle/>
          <a:p>
            <a:pPr algn="ctr"/>
            <a:r>
              <a:rPr lang="en-US" sz="2400" dirty="0">
                <a:gradFill>
                  <a:gsLst>
                    <a:gs pos="2917">
                      <a:schemeClr val="tx1"/>
                    </a:gs>
                    <a:gs pos="30000">
                      <a:schemeClr val="tx1"/>
                    </a:gs>
                  </a:gsLst>
                  <a:lin ang="5400000" scaled="0"/>
                </a:gradFill>
              </a:rPr>
              <a:t>Microsoft Defender for Cloud</a:t>
            </a:r>
          </a:p>
        </p:txBody>
      </p:sp>
      <p:sp>
        <p:nvSpPr>
          <p:cNvPr id="46" name="TextBox 45">
            <a:extLst>
              <a:ext uri="{FF2B5EF4-FFF2-40B4-BE49-F238E27FC236}">
                <a16:creationId xmlns:a16="http://schemas.microsoft.com/office/drawing/2014/main" id="{B8166B5B-D197-43C3-A1F4-E4FEDCAAE2C6}"/>
              </a:ext>
            </a:extLst>
          </p:cNvPr>
          <p:cNvSpPr txBox="1"/>
          <p:nvPr/>
        </p:nvSpPr>
        <p:spPr>
          <a:xfrm>
            <a:off x="5784322" y="2967464"/>
            <a:ext cx="2326160" cy="369332"/>
          </a:xfrm>
          <a:prstGeom prst="rect">
            <a:avLst/>
          </a:prstGeom>
          <a:noFill/>
        </p:spPr>
        <p:txBody>
          <a:bodyPr wrap="square" lIns="0" tIns="0" rIns="0" bIns="0" rtlCol="0">
            <a:spAutoFit/>
          </a:bodyPr>
          <a:lstStyle/>
          <a:p>
            <a:pPr algn="ctr"/>
            <a:r>
              <a:rPr lang="en-US" sz="2400" dirty="0">
                <a:gradFill>
                  <a:gsLst>
                    <a:gs pos="2917">
                      <a:schemeClr val="tx1"/>
                    </a:gs>
                    <a:gs pos="30000">
                      <a:schemeClr val="tx1"/>
                    </a:gs>
                  </a:gsLst>
                  <a:lin ang="5400000" scaled="0"/>
                </a:gradFill>
              </a:rPr>
              <a:t>Sentinel</a:t>
            </a:r>
          </a:p>
        </p:txBody>
      </p:sp>
      <p:sp>
        <p:nvSpPr>
          <p:cNvPr id="49" name="Plus Sign 48">
            <a:extLst>
              <a:ext uri="{FF2B5EF4-FFF2-40B4-BE49-F238E27FC236}">
                <a16:creationId xmlns:a16="http://schemas.microsoft.com/office/drawing/2014/main" id="{F6333CB6-1C6F-4315-9513-FDDD307FE675}"/>
              </a:ext>
            </a:extLst>
          </p:cNvPr>
          <p:cNvSpPr/>
          <p:nvPr/>
        </p:nvSpPr>
        <p:spPr bwMode="auto">
          <a:xfrm>
            <a:off x="4165163" y="1938626"/>
            <a:ext cx="809864" cy="787464"/>
          </a:xfrm>
          <a:prstGeom prst="mathPlus">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699220">
              <a:defRPr/>
            </a:pPr>
            <a:endParaRPr lang="en-US" sz="1200" dirty="0">
              <a:gradFill>
                <a:gsLst>
                  <a:gs pos="40075">
                    <a:srgbClr val="FFFFFF"/>
                  </a:gs>
                  <a:gs pos="30000">
                    <a:srgbClr val="FFFFFF"/>
                  </a:gs>
                </a:gsLst>
                <a:lin ang="5400000" scaled="0"/>
              </a:gradFill>
              <a:latin typeface="Segoe UI"/>
            </a:endParaRPr>
          </a:p>
        </p:txBody>
      </p:sp>
      <p:sp>
        <p:nvSpPr>
          <p:cNvPr id="3" name="Rectangle 2">
            <a:extLst>
              <a:ext uri="{FF2B5EF4-FFF2-40B4-BE49-F238E27FC236}">
                <a16:creationId xmlns:a16="http://schemas.microsoft.com/office/drawing/2014/main" id="{46F18131-5E55-4337-967D-F8FA3DDD4827}"/>
              </a:ext>
            </a:extLst>
          </p:cNvPr>
          <p:cNvSpPr/>
          <p:nvPr/>
        </p:nvSpPr>
        <p:spPr>
          <a:xfrm rot="20137031">
            <a:off x="1026362" y="1723338"/>
            <a:ext cx="2377575" cy="923330"/>
          </a:xfrm>
          <a:prstGeom prst="rect">
            <a:avLst/>
          </a:prstGeom>
          <a:noFill/>
        </p:spPr>
        <p:txBody>
          <a:bodyPr wrap="none" lIns="91440" tIns="45720" rIns="91440" bIns="45720">
            <a:spAutoFit/>
          </a:bodyPr>
          <a:lstStyle/>
          <a:p>
            <a:pPr algn="ctr"/>
            <a:r>
              <a:rPr lang="en-US" sz="5400" dirty="0">
                <a:ln w="0"/>
                <a:effectLst>
                  <a:outerShdw blurRad="38100" dist="19050" dir="2700000" algn="tl" rotWithShape="0">
                    <a:schemeClr val="dk1">
                      <a:alpha val="40000"/>
                    </a:schemeClr>
                  </a:outerShdw>
                </a:effectLst>
              </a:rPr>
              <a:t>Protect</a:t>
            </a:r>
            <a:endParaRPr lang="en-US" sz="5400" b="0" cap="none" spc="0" dirty="0">
              <a:ln w="0"/>
              <a:solidFill>
                <a:schemeClr val="tx1"/>
              </a:solidFill>
              <a:effectLst>
                <a:outerShdw blurRad="38100" dist="19050" dir="2700000" algn="tl" rotWithShape="0">
                  <a:schemeClr val="dk1">
                    <a:alpha val="40000"/>
                  </a:schemeClr>
                </a:outerShdw>
              </a:effectLst>
            </a:endParaRPr>
          </a:p>
        </p:txBody>
      </p:sp>
      <p:sp>
        <p:nvSpPr>
          <p:cNvPr id="13" name="Rectangle 12">
            <a:extLst>
              <a:ext uri="{FF2B5EF4-FFF2-40B4-BE49-F238E27FC236}">
                <a16:creationId xmlns:a16="http://schemas.microsoft.com/office/drawing/2014/main" id="{AF8F98CD-92EF-4B15-8101-F41A7174EA15}"/>
              </a:ext>
            </a:extLst>
          </p:cNvPr>
          <p:cNvSpPr/>
          <p:nvPr/>
        </p:nvSpPr>
        <p:spPr>
          <a:xfrm rot="19774760">
            <a:off x="5495735" y="1680881"/>
            <a:ext cx="2954655" cy="923330"/>
          </a:xfrm>
          <a:prstGeom prst="rect">
            <a:avLst/>
          </a:prstGeom>
          <a:noFill/>
        </p:spPr>
        <p:txBody>
          <a:bodyPr wrap="none" lIns="91440" tIns="45720" rIns="91440" bIns="45720">
            <a:spAutoFit/>
          </a:bodyPr>
          <a:lstStyle/>
          <a:p>
            <a:pPr algn="ctr"/>
            <a:r>
              <a:rPr lang="en-US" sz="5400" dirty="0">
                <a:ln w="0"/>
                <a:effectLst>
                  <a:outerShdw blurRad="38100" dist="19050" dir="2700000" algn="tl" rotWithShape="0">
                    <a:schemeClr val="dk1">
                      <a:alpha val="40000"/>
                    </a:schemeClr>
                  </a:outerShdw>
                </a:effectLst>
              </a:rPr>
              <a:t>Respond</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645800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left)">
                                      <p:cBhvr>
                                        <p:cTn id="7" dur="10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31"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1000" fill="hold"/>
                                        <p:tgtEl>
                                          <p:spTgt spid="3"/>
                                        </p:tgtEl>
                                        <p:attrNameLst>
                                          <p:attrName>ppt_w</p:attrName>
                                        </p:attrNameLst>
                                      </p:cBhvr>
                                      <p:tavLst>
                                        <p:tav tm="0">
                                          <p:val>
                                            <p:fltVal val="0"/>
                                          </p:val>
                                        </p:tav>
                                        <p:tav tm="100000">
                                          <p:val>
                                            <p:strVal val="#ppt_w"/>
                                          </p:val>
                                        </p:tav>
                                      </p:tavLst>
                                    </p:anim>
                                    <p:anim calcmode="lin" valueType="num">
                                      <p:cBhvr>
                                        <p:cTn id="13" dur="1000" fill="hold"/>
                                        <p:tgtEl>
                                          <p:spTgt spid="3"/>
                                        </p:tgtEl>
                                        <p:attrNameLst>
                                          <p:attrName>ppt_h</p:attrName>
                                        </p:attrNameLst>
                                      </p:cBhvr>
                                      <p:tavLst>
                                        <p:tav tm="0">
                                          <p:val>
                                            <p:fltVal val="0"/>
                                          </p:val>
                                        </p:tav>
                                        <p:tav tm="100000">
                                          <p:val>
                                            <p:strVal val="#ppt_h"/>
                                          </p:val>
                                        </p:tav>
                                      </p:tavLst>
                                    </p:anim>
                                    <p:anim calcmode="lin" valueType="num">
                                      <p:cBhvr>
                                        <p:cTn id="14" dur="1000" fill="hold"/>
                                        <p:tgtEl>
                                          <p:spTgt spid="3"/>
                                        </p:tgtEl>
                                        <p:attrNameLst>
                                          <p:attrName>style.rotation</p:attrName>
                                        </p:attrNameLst>
                                      </p:cBhvr>
                                      <p:tavLst>
                                        <p:tav tm="0">
                                          <p:val>
                                            <p:fltVal val="90"/>
                                          </p:val>
                                        </p:tav>
                                        <p:tav tm="100000">
                                          <p:val>
                                            <p:fltVal val="0"/>
                                          </p:val>
                                        </p:tav>
                                      </p:tavLst>
                                    </p:anim>
                                    <p:animEffect transition="in" filter="fade">
                                      <p:cBhvr>
                                        <p:cTn id="15" dur="10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31" presetClass="entr" presetSubtype="0" fill="hold" grpId="0" nodeType="clickEffect">
                                  <p:stCondLst>
                                    <p:cond delay="0"/>
                                  </p:stCondLst>
                                  <p:childTnLst>
                                    <p:set>
                                      <p:cBhvr>
                                        <p:cTn id="19" dur="1" fill="hold">
                                          <p:stCondLst>
                                            <p:cond delay="0"/>
                                          </p:stCondLst>
                                        </p:cTn>
                                        <p:tgtEl>
                                          <p:spTgt spid="13"/>
                                        </p:tgtEl>
                                        <p:attrNameLst>
                                          <p:attrName>style.visibility</p:attrName>
                                        </p:attrNameLst>
                                      </p:cBhvr>
                                      <p:to>
                                        <p:strVal val="visible"/>
                                      </p:to>
                                    </p:set>
                                    <p:anim calcmode="lin" valueType="num">
                                      <p:cBhvr>
                                        <p:cTn id="20" dur="1000" fill="hold"/>
                                        <p:tgtEl>
                                          <p:spTgt spid="13"/>
                                        </p:tgtEl>
                                        <p:attrNameLst>
                                          <p:attrName>ppt_w</p:attrName>
                                        </p:attrNameLst>
                                      </p:cBhvr>
                                      <p:tavLst>
                                        <p:tav tm="0">
                                          <p:val>
                                            <p:fltVal val="0"/>
                                          </p:val>
                                        </p:tav>
                                        <p:tav tm="100000">
                                          <p:val>
                                            <p:strVal val="#ppt_w"/>
                                          </p:val>
                                        </p:tav>
                                      </p:tavLst>
                                    </p:anim>
                                    <p:anim calcmode="lin" valueType="num">
                                      <p:cBhvr>
                                        <p:cTn id="21" dur="1000" fill="hold"/>
                                        <p:tgtEl>
                                          <p:spTgt spid="13"/>
                                        </p:tgtEl>
                                        <p:attrNameLst>
                                          <p:attrName>ppt_h</p:attrName>
                                        </p:attrNameLst>
                                      </p:cBhvr>
                                      <p:tavLst>
                                        <p:tav tm="0">
                                          <p:val>
                                            <p:fltVal val="0"/>
                                          </p:val>
                                        </p:tav>
                                        <p:tav tm="100000">
                                          <p:val>
                                            <p:strVal val="#ppt_h"/>
                                          </p:val>
                                        </p:tav>
                                      </p:tavLst>
                                    </p:anim>
                                    <p:anim calcmode="lin" valueType="num">
                                      <p:cBhvr>
                                        <p:cTn id="22" dur="1000" fill="hold"/>
                                        <p:tgtEl>
                                          <p:spTgt spid="13"/>
                                        </p:tgtEl>
                                        <p:attrNameLst>
                                          <p:attrName>style.rotation</p:attrName>
                                        </p:attrNameLst>
                                      </p:cBhvr>
                                      <p:tavLst>
                                        <p:tav tm="0">
                                          <p:val>
                                            <p:fltVal val="90"/>
                                          </p:val>
                                        </p:tav>
                                        <p:tav tm="100000">
                                          <p:val>
                                            <p:fltVal val="0"/>
                                          </p:val>
                                        </p:tav>
                                      </p:tavLst>
                                    </p:anim>
                                    <p:animEffect transition="in" filter="fade">
                                      <p:cBhvr>
                                        <p:cTn id="23"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3" grpId="0"/>
      <p:bldP spid="1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FB365-80E6-F947-89A1-2BB82FBC8B3D}"/>
              </a:ext>
            </a:extLst>
          </p:cNvPr>
          <p:cNvSpPr>
            <a:spLocks noGrp="1"/>
          </p:cNvSpPr>
          <p:nvPr>
            <p:ph type="title"/>
          </p:nvPr>
        </p:nvSpPr>
        <p:spPr>
          <a:xfrm>
            <a:off x="304800" y="285750"/>
            <a:ext cx="8534400" cy="838200"/>
          </a:xfrm>
        </p:spPr>
        <p:txBody>
          <a:bodyPr/>
          <a:lstStyle/>
          <a:p>
            <a:r>
              <a:rPr lang="en-US" dirty="0"/>
              <a:t>Azure Security Center + Azure Defender</a:t>
            </a:r>
            <a:br>
              <a:rPr lang="en-US" dirty="0"/>
            </a:br>
            <a:r>
              <a:rPr lang="en-US" dirty="0"/>
              <a:t> = Microsoft Defender for Cloud</a:t>
            </a:r>
          </a:p>
        </p:txBody>
      </p:sp>
      <p:sp>
        <p:nvSpPr>
          <p:cNvPr id="3" name="Slide Number Placeholder 2">
            <a:extLst>
              <a:ext uri="{FF2B5EF4-FFF2-40B4-BE49-F238E27FC236}">
                <a16:creationId xmlns:a16="http://schemas.microsoft.com/office/drawing/2014/main" id="{D8E43974-99F8-3E4B-A6FC-02E918F2B5C5}"/>
              </a:ext>
            </a:extLst>
          </p:cNvPr>
          <p:cNvSpPr>
            <a:spLocks noGrp="1"/>
          </p:cNvSpPr>
          <p:nvPr>
            <p:ph type="sldNum" sz="quarter" idx="12"/>
          </p:nvPr>
        </p:nvSpPr>
        <p:spPr/>
        <p:txBody>
          <a:bodyPr/>
          <a:lstStyle/>
          <a:p>
            <a:endParaRPr lang="en-US" dirty="0"/>
          </a:p>
        </p:txBody>
      </p:sp>
      <p:pic>
        <p:nvPicPr>
          <p:cNvPr id="4" name="Picture 3">
            <a:extLst>
              <a:ext uri="{FF2B5EF4-FFF2-40B4-BE49-F238E27FC236}">
                <a16:creationId xmlns:a16="http://schemas.microsoft.com/office/drawing/2014/main" id="{309AC505-2D66-FD43-82D2-8EE84ECB9F7C}"/>
              </a:ext>
            </a:extLst>
          </p:cNvPr>
          <p:cNvPicPr>
            <a:picLocks noChangeAspect="1"/>
          </p:cNvPicPr>
          <p:nvPr/>
        </p:nvPicPr>
        <p:blipFill>
          <a:blip r:embed="rId2"/>
          <a:stretch>
            <a:fillRect/>
          </a:stretch>
        </p:blipFill>
        <p:spPr>
          <a:xfrm>
            <a:off x="0" y="1504950"/>
            <a:ext cx="9144000" cy="2621120"/>
          </a:xfrm>
          <a:prstGeom prst="rect">
            <a:avLst/>
          </a:prstGeom>
        </p:spPr>
      </p:pic>
    </p:spTree>
    <p:extLst>
      <p:ext uri="{BB962C8B-B14F-4D97-AF65-F5344CB8AC3E}">
        <p14:creationId xmlns:p14="http://schemas.microsoft.com/office/powerpoint/2010/main" val="3857422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1D37F-9777-4AC2-B701-65A67F74A26C}"/>
              </a:ext>
            </a:extLst>
          </p:cNvPr>
          <p:cNvSpPr>
            <a:spLocks noGrp="1"/>
          </p:cNvSpPr>
          <p:nvPr>
            <p:ph type="title"/>
          </p:nvPr>
        </p:nvSpPr>
        <p:spPr/>
        <p:txBody>
          <a:bodyPr/>
          <a:lstStyle/>
          <a:p>
            <a:r>
              <a:rPr lang="en-US" dirty="0"/>
              <a:t>Microsoft Defender for Cloud: Continuously Assess</a:t>
            </a:r>
          </a:p>
        </p:txBody>
      </p:sp>
      <p:sp>
        <p:nvSpPr>
          <p:cNvPr id="6" name="Text Placeholder 5">
            <a:extLst>
              <a:ext uri="{FF2B5EF4-FFF2-40B4-BE49-F238E27FC236}">
                <a16:creationId xmlns:a16="http://schemas.microsoft.com/office/drawing/2014/main" id="{8FCD5622-FD70-BD44-980B-0C1E05EC2EFE}"/>
              </a:ext>
            </a:extLst>
          </p:cNvPr>
          <p:cNvSpPr>
            <a:spLocks noGrp="1"/>
          </p:cNvSpPr>
          <p:nvPr>
            <p:ph type="body" idx="1"/>
          </p:nvPr>
        </p:nvSpPr>
        <p:spPr>
          <a:xfrm>
            <a:off x="228600" y="1123950"/>
            <a:ext cx="4191000" cy="3200400"/>
          </a:xfrm>
        </p:spPr>
        <p:txBody>
          <a:bodyPr/>
          <a:lstStyle/>
          <a:p>
            <a:r>
              <a:rPr lang="en-US" dirty="0"/>
              <a:t>Secure score </a:t>
            </a:r>
            <a:r>
              <a:rPr lang="en-US" b="0" dirty="0"/>
              <a:t>continually updated by the AI/ML</a:t>
            </a:r>
          </a:p>
          <a:p>
            <a:r>
              <a:rPr lang="en-US" dirty="0"/>
              <a:t>Vulnerability assessmen</a:t>
            </a:r>
            <a:r>
              <a:rPr lang="en-US" b="0" dirty="0"/>
              <a:t>ts: VMs, SQL, ACR – backed by Qualys (license included with service)</a:t>
            </a:r>
          </a:p>
          <a:p>
            <a:r>
              <a:rPr lang="en-US" dirty="0"/>
              <a:t>Regulatory compliance</a:t>
            </a:r>
          </a:p>
          <a:p>
            <a:r>
              <a:rPr lang="en-US" dirty="0"/>
              <a:t>File integrity monitoring: </a:t>
            </a:r>
            <a:r>
              <a:rPr lang="en-US" b="0" dirty="0"/>
              <a:t>watch hashes of files in VMs and Storage accounts</a:t>
            </a:r>
            <a:endParaRPr lang="en-US" dirty="0"/>
          </a:p>
        </p:txBody>
      </p:sp>
      <p:pic>
        <p:nvPicPr>
          <p:cNvPr id="1026" name="Picture 2" descr="ISO and AICPA certified">
            <a:extLst>
              <a:ext uri="{FF2B5EF4-FFF2-40B4-BE49-F238E27FC236}">
                <a16:creationId xmlns:a16="http://schemas.microsoft.com/office/drawing/2014/main" id="{23B26F44-04BC-4E01-B641-70930CB9E4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4600" y="4081986"/>
            <a:ext cx="1778685" cy="83900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314A63C-E79F-2947-81AB-25CABD4D39DF}"/>
              </a:ext>
            </a:extLst>
          </p:cNvPr>
          <p:cNvPicPr>
            <a:picLocks noChangeAspect="1"/>
          </p:cNvPicPr>
          <p:nvPr/>
        </p:nvPicPr>
        <p:blipFill>
          <a:blip r:embed="rId4"/>
          <a:stretch>
            <a:fillRect/>
          </a:stretch>
        </p:blipFill>
        <p:spPr>
          <a:xfrm>
            <a:off x="4549877" y="1123950"/>
            <a:ext cx="3819331" cy="3568485"/>
          </a:xfrm>
          <a:prstGeom prst="rect">
            <a:avLst/>
          </a:prstGeom>
        </p:spPr>
      </p:pic>
    </p:spTree>
    <p:extLst>
      <p:ext uri="{BB962C8B-B14F-4D97-AF65-F5344CB8AC3E}">
        <p14:creationId xmlns:p14="http://schemas.microsoft.com/office/powerpoint/2010/main" val="101751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A983C-1E7F-4130-8999-CA618F0131BE}"/>
              </a:ext>
            </a:extLst>
          </p:cNvPr>
          <p:cNvSpPr>
            <a:spLocks noGrp="1"/>
          </p:cNvSpPr>
          <p:nvPr>
            <p:ph type="title"/>
          </p:nvPr>
        </p:nvSpPr>
        <p:spPr/>
        <p:txBody>
          <a:bodyPr/>
          <a:lstStyle/>
          <a:p>
            <a:r>
              <a:rPr lang="en-US" dirty="0"/>
              <a:t>Microsoft Defender for Cloud: Secure</a:t>
            </a:r>
          </a:p>
        </p:txBody>
      </p:sp>
      <p:pic>
        <p:nvPicPr>
          <p:cNvPr id="3" name="Graphic 2">
            <a:extLst>
              <a:ext uri="{FF2B5EF4-FFF2-40B4-BE49-F238E27FC236}">
                <a16:creationId xmlns:a16="http://schemas.microsoft.com/office/drawing/2014/main" id="{21AD3D6A-58BE-4519-9B96-A39BA2B630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13299" y="100869"/>
            <a:ext cx="785101" cy="785101"/>
          </a:xfrm>
          <a:prstGeom prst="rect">
            <a:avLst/>
          </a:prstGeom>
        </p:spPr>
      </p:pic>
      <p:pic>
        <p:nvPicPr>
          <p:cNvPr id="13" name="Picture 12">
            <a:extLst>
              <a:ext uri="{FF2B5EF4-FFF2-40B4-BE49-F238E27FC236}">
                <a16:creationId xmlns:a16="http://schemas.microsoft.com/office/drawing/2014/main" id="{F2608BD1-E443-4CB6-9404-63BF0E980FC1}"/>
              </a:ext>
            </a:extLst>
          </p:cNvPr>
          <p:cNvPicPr>
            <a:picLocks noChangeAspect="1"/>
          </p:cNvPicPr>
          <p:nvPr/>
        </p:nvPicPr>
        <p:blipFill>
          <a:blip r:embed="rId5"/>
          <a:stretch>
            <a:fillRect/>
          </a:stretch>
        </p:blipFill>
        <p:spPr>
          <a:xfrm>
            <a:off x="5277395" y="1097197"/>
            <a:ext cx="4083124" cy="4249879"/>
          </a:xfrm>
          <a:prstGeom prst="rect">
            <a:avLst/>
          </a:prstGeom>
          <a:ln>
            <a:solidFill>
              <a:srgbClr val="002050"/>
            </a:solidFill>
          </a:ln>
        </p:spPr>
      </p:pic>
      <p:pic>
        <p:nvPicPr>
          <p:cNvPr id="11" name="Picture 10">
            <a:extLst>
              <a:ext uri="{FF2B5EF4-FFF2-40B4-BE49-F238E27FC236}">
                <a16:creationId xmlns:a16="http://schemas.microsoft.com/office/drawing/2014/main" id="{F0C97E8B-2E7A-416E-8218-23BEAD9C396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657600" y="77891"/>
            <a:ext cx="7267435" cy="6146051"/>
          </a:xfrm>
          <a:prstGeom prst="rect">
            <a:avLst/>
          </a:prstGeom>
        </p:spPr>
      </p:pic>
      <p:sp>
        <p:nvSpPr>
          <p:cNvPr id="14" name="TextBox 13">
            <a:extLst>
              <a:ext uri="{FF2B5EF4-FFF2-40B4-BE49-F238E27FC236}">
                <a16:creationId xmlns:a16="http://schemas.microsoft.com/office/drawing/2014/main" id="{0EAD8C7C-69DB-E649-9533-F2BC4C759FBE}"/>
              </a:ext>
            </a:extLst>
          </p:cNvPr>
          <p:cNvSpPr txBox="1"/>
          <p:nvPr/>
        </p:nvSpPr>
        <p:spPr bwMode="auto">
          <a:xfrm>
            <a:off x="152400" y="1069956"/>
            <a:ext cx="4762500" cy="3970318"/>
          </a:xfrm>
          <a:prstGeom prst="rect">
            <a:avLst/>
          </a:prstGeom>
          <a:noFill/>
          <a:ln w="9525">
            <a:noFill/>
            <a:miter lim="800000"/>
            <a:headEnd/>
            <a:tailEnd/>
          </a:ln>
        </p:spPr>
        <p:txBody>
          <a:bodyPr wrap="square">
            <a:spAutoFit/>
          </a:bodyPr>
          <a:lstStyle/>
          <a:p>
            <a:pPr algn="l"/>
            <a:r>
              <a:rPr lang="en-US" b="1" i="0" dirty="0">
                <a:effectLst/>
                <a:latin typeface="Segoe UI" panose="020B0502040204020203" pitchFamily="34" charset="0"/>
              </a:rPr>
              <a:t>Azure PaaS services</a:t>
            </a:r>
            <a:r>
              <a:rPr lang="en-US" b="0" i="0" dirty="0">
                <a:effectLst/>
                <a:latin typeface="Segoe UI" panose="020B0502040204020203" pitchFamily="34" charset="0"/>
              </a:rPr>
              <a:t> - Detect threats Azure App Service, Azure SQL, Azure Storage Account &amp; Azure activity logs </a:t>
            </a:r>
          </a:p>
          <a:p>
            <a:pPr algn="l"/>
            <a:endParaRPr lang="en-US" dirty="0">
              <a:latin typeface="Segoe UI" panose="020B0502040204020203" pitchFamily="34" charset="0"/>
            </a:endParaRPr>
          </a:p>
          <a:p>
            <a:r>
              <a:rPr lang="en-US" b="1" i="0" dirty="0">
                <a:effectLst/>
                <a:latin typeface="Segoe UI" panose="020B0502040204020203" pitchFamily="34" charset="0"/>
              </a:rPr>
              <a:t>Azure data services</a:t>
            </a:r>
            <a:r>
              <a:rPr lang="en-US" b="0" i="0" dirty="0">
                <a:effectLst/>
                <a:latin typeface="Segoe UI" panose="020B0502040204020203" pitchFamily="34" charset="0"/>
              </a:rPr>
              <a:t> - </a:t>
            </a:r>
            <a:r>
              <a:rPr lang="en-US" dirty="0">
                <a:latin typeface="Segoe UI" panose="020B0502040204020203" pitchFamily="34" charset="0"/>
              </a:rPr>
              <a:t>A</a:t>
            </a:r>
            <a:r>
              <a:rPr lang="en-US" b="0" i="0" dirty="0">
                <a:effectLst/>
                <a:latin typeface="Segoe UI" panose="020B0502040204020203" pitchFamily="34" charset="0"/>
              </a:rPr>
              <a:t>utomatically classify </a:t>
            </a:r>
            <a:r>
              <a:rPr lang="en-US" dirty="0">
                <a:latin typeface="Segoe UI" panose="020B0502040204020203" pitchFamily="34" charset="0"/>
              </a:rPr>
              <a:t>and vulnerabilities</a:t>
            </a:r>
            <a:r>
              <a:rPr lang="en-US" b="0" i="0" dirty="0">
                <a:effectLst/>
                <a:latin typeface="Segoe UI" panose="020B0502040204020203" pitchFamily="34" charset="0"/>
              </a:rPr>
              <a:t> in Azure SQL</a:t>
            </a:r>
            <a:r>
              <a:rPr lang="en-US" dirty="0">
                <a:latin typeface="Segoe UI" panose="020B0502040204020203" pitchFamily="34" charset="0"/>
              </a:rPr>
              <a:t>, &amp; </a:t>
            </a:r>
            <a:r>
              <a:rPr lang="en-US" b="0" i="0" dirty="0">
                <a:effectLst/>
                <a:latin typeface="Segoe UI" panose="020B0502040204020203" pitchFamily="34" charset="0"/>
              </a:rPr>
              <a:t>Storage services with recommendations for how to mitigate.</a:t>
            </a:r>
          </a:p>
          <a:p>
            <a:endParaRPr lang="en-US" b="0" i="0" dirty="0">
              <a:effectLst/>
              <a:latin typeface="Segoe UI" panose="020B0502040204020203" pitchFamily="34" charset="0"/>
            </a:endParaRPr>
          </a:p>
          <a:p>
            <a:pPr algn="l"/>
            <a:r>
              <a:rPr lang="en-US" b="1" i="0" dirty="0">
                <a:effectLst/>
                <a:latin typeface="Segoe UI" panose="020B0502040204020203" pitchFamily="34" charset="0"/>
              </a:rPr>
              <a:t>Networks</a:t>
            </a:r>
            <a:r>
              <a:rPr lang="en-US" b="0" i="0" dirty="0">
                <a:effectLst/>
                <a:latin typeface="Segoe UI" panose="020B0502040204020203" pitchFamily="34" charset="0"/>
              </a:rPr>
              <a:t> - Limit exposure to brute force attacks</a:t>
            </a:r>
            <a:r>
              <a:rPr lang="en-US" dirty="0">
                <a:latin typeface="Segoe UI" panose="020B0502040204020203" pitchFamily="34" charset="0"/>
              </a:rPr>
              <a:t> u</a:t>
            </a:r>
            <a:r>
              <a:rPr lang="en-US" b="0" i="0" dirty="0">
                <a:effectLst/>
                <a:latin typeface="Segoe UI" panose="020B0502040204020203" pitchFamily="34" charset="0"/>
              </a:rPr>
              <a:t>sing the just-in-time VM access</a:t>
            </a:r>
          </a:p>
          <a:p>
            <a:pPr algn="l"/>
            <a:endParaRPr lang="en-US" dirty="0">
              <a:latin typeface="Segoe UI" panose="020B0502040204020203" pitchFamily="34" charset="0"/>
            </a:endParaRPr>
          </a:p>
          <a:p>
            <a:pPr algn="l"/>
            <a:r>
              <a:rPr lang="en-US" b="1" i="0" dirty="0">
                <a:effectLst/>
                <a:latin typeface="Segoe UI" panose="020B0502040204020203" pitchFamily="34" charset="0"/>
              </a:rPr>
              <a:t>VMs</a:t>
            </a:r>
            <a:r>
              <a:rPr lang="en-US" b="0" i="0" dirty="0">
                <a:effectLst/>
                <a:latin typeface="Segoe UI" panose="020B0502040204020203" pitchFamily="34" charset="0"/>
              </a:rPr>
              <a:t> – Microsoft Defender for Windows/Linux/Mac</a:t>
            </a:r>
          </a:p>
        </p:txBody>
      </p:sp>
    </p:spTree>
    <p:extLst>
      <p:ext uri="{BB962C8B-B14F-4D97-AF65-F5344CB8AC3E}">
        <p14:creationId xmlns:p14="http://schemas.microsoft.com/office/powerpoint/2010/main" val="9607117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A983C-1E7F-4130-8999-CA618F0131BE}"/>
              </a:ext>
            </a:extLst>
          </p:cNvPr>
          <p:cNvSpPr>
            <a:spLocks noGrp="1"/>
          </p:cNvSpPr>
          <p:nvPr>
            <p:ph type="title"/>
          </p:nvPr>
        </p:nvSpPr>
        <p:spPr/>
        <p:txBody>
          <a:bodyPr/>
          <a:lstStyle/>
          <a:p>
            <a:r>
              <a:rPr lang="en-US" dirty="0"/>
              <a:t>Azure Sentinel</a:t>
            </a:r>
          </a:p>
        </p:txBody>
      </p:sp>
      <p:sp>
        <p:nvSpPr>
          <p:cNvPr id="12" name="TextBox 11">
            <a:extLst>
              <a:ext uri="{FF2B5EF4-FFF2-40B4-BE49-F238E27FC236}">
                <a16:creationId xmlns:a16="http://schemas.microsoft.com/office/drawing/2014/main" id="{12EB871A-4A40-4906-A5A5-8A0C67C6F324}"/>
              </a:ext>
            </a:extLst>
          </p:cNvPr>
          <p:cNvSpPr txBox="1"/>
          <p:nvPr/>
        </p:nvSpPr>
        <p:spPr>
          <a:xfrm>
            <a:off x="438150" y="752207"/>
            <a:ext cx="8114999" cy="332014"/>
          </a:xfrm>
          <a:prstGeom prst="rect">
            <a:avLst/>
          </a:prstGeom>
          <a:noFill/>
        </p:spPr>
        <p:txBody>
          <a:bodyPr wrap="square" lIns="0" tIns="69945" rIns="69945" bIns="69945"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727186">
              <a:defRPr/>
            </a:pPr>
            <a:r>
              <a:rPr lang="en-US" sz="1377" dirty="0">
                <a:solidFill>
                  <a:srgbClr val="0078D4"/>
                </a:solidFill>
              </a:rPr>
              <a:t>Cloud Scale Security Event Information Management (SEIM) for On-Premises &amp; All Clouds</a:t>
            </a:r>
          </a:p>
        </p:txBody>
      </p:sp>
      <p:pic>
        <p:nvPicPr>
          <p:cNvPr id="4100" name="Picture 4" descr="https://azurecomcdn.azureedge.net/cvt-f5fa5265f2ac9ed7e85d94bdc127a104fd5a96c75c57ee99cb797d9163dd802f/images/page/services/azure-sentinel/tools_img.png">
            <a:extLst>
              <a:ext uri="{FF2B5EF4-FFF2-40B4-BE49-F238E27FC236}">
                <a16:creationId xmlns:a16="http://schemas.microsoft.com/office/drawing/2014/main" id="{97F89C8D-8F29-4378-A9F3-4D679132456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0629" y="1332411"/>
            <a:ext cx="5315023" cy="323165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s://azurecomcdn.azureedge.net/cvt-c885b55d7639fe0c0a7ce721b229bcc3cc958ea0677cf0d4f9064e4a427c9c6c/images/page/services/azure-sentinel/free-preview.png">
            <a:extLst>
              <a:ext uri="{FF2B5EF4-FFF2-40B4-BE49-F238E27FC236}">
                <a16:creationId xmlns:a16="http://schemas.microsoft.com/office/drawing/2014/main" id="{A08EC885-FE48-4F04-855F-7BDD7F079D5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13455" y="97216"/>
            <a:ext cx="576638" cy="72649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4E81DB14-5337-4F9D-9574-484D27D2B52A}"/>
              </a:ext>
            </a:extLst>
          </p:cNvPr>
          <p:cNvSpPr txBox="1"/>
          <p:nvPr/>
        </p:nvSpPr>
        <p:spPr>
          <a:xfrm>
            <a:off x="6361319" y="1479585"/>
            <a:ext cx="2547257" cy="3231654"/>
          </a:xfrm>
          <a:prstGeom prst="rect">
            <a:avLst/>
          </a:prstGeom>
          <a:noFill/>
        </p:spPr>
        <p:txBody>
          <a:bodyPr wrap="square" lIns="0" tIns="0" rIns="0" bIns="0" rtlCol="0">
            <a:spAutoFit/>
          </a:bodyPr>
          <a:lstStyle/>
          <a:p>
            <a:pPr algn="l"/>
            <a:r>
              <a:rPr lang="en-US" sz="1500" b="1" dirty="0">
                <a:gradFill>
                  <a:gsLst>
                    <a:gs pos="2917">
                      <a:schemeClr val="tx1"/>
                    </a:gs>
                    <a:gs pos="30000">
                      <a:schemeClr val="tx1"/>
                    </a:gs>
                  </a:gsLst>
                  <a:lin ang="5400000" scaled="0"/>
                </a:gradFill>
              </a:rPr>
              <a:t>Collect</a:t>
            </a:r>
            <a:r>
              <a:rPr lang="en-US" sz="1500" dirty="0">
                <a:gradFill>
                  <a:gsLst>
                    <a:gs pos="2917">
                      <a:schemeClr val="tx1"/>
                    </a:gs>
                    <a:gs pos="30000">
                      <a:schemeClr val="tx1"/>
                    </a:gs>
                  </a:gsLst>
                  <a:lin ang="5400000" scaled="0"/>
                </a:gradFill>
              </a:rPr>
              <a:t> </a:t>
            </a:r>
            <a:r>
              <a:rPr lang="en-US" sz="1500" dirty="0">
                <a:solidFill>
                  <a:schemeClr val="tx2"/>
                </a:solidFill>
              </a:rPr>
              <a:t>Data at Cloud Scale</a:t>
            </a:r>
          </a:p>
          <a:p>
            <a:pPr algn="l"/>
            <a:endParaRPr lang="en-US" sz="1500" dirty="0">
              <a:gradFill>
                <a:gsLst>
                  <a:gs pos="2917">
                    <a:schemeClr val="tx1"/>
                  </a:gs>
                  <a:gs pos="30000">
                    <a:schemeClr val="tx1"/>
                  </a:gs>
                </a:gsLst>
                <a:lin ang="5400000" scaled="0"/>
              </a:gradFill>
            </a:endParaRPr>
          </a:p>
          <a:p>
            <a:pPr algn="l"/>
            <a:r>
              <a:rPr lang="en-US" sz="1500" b="1" dirty="0">
                <a:gradFill>
                  <a:gsLst>
                    <a:gs pos="2917">
                      <a:schemeClr val="tx1"/>
                    </a:gs>
                    <a:gs pos="30000">
                      <a:schemeClr val="tx1"/>
                    </a:gs>
                  </a:gsLst>
                  <a:lin ang="5400000" scaled="0"/>
                </a:gradFill>
              </a:rPr>
              <a:t>Detect</a:t>
            </a:r>
            <a:r>
              <a:rPr lang="en-US" sz="1500" dirty="0">
                <a:gradFill>
                  <a:gsLst>
                    <a:gs pos="2917">
                      <a:schemeClr val="tx1"/>
                    </a:gs>
                    <a:gs pos="30000">
                      <a:schemeClr val="tx1"/>
                    </a:gs>
                  </a:gsLst>
                  <a:lin ang="5400000" scaled="0"/>
                </a:gradFill>
              </a:rPr>
              <a:t> </a:t>
            </a:r>
            <a:r>
              <a:rPr lang="en-US" sz="1500" dirty="0">
                <a:solidFill>
                  <a:schemeClr val="tx2"/>
                </a:solidFill>
              </a:rPr>
              <a:t>previously uncovered threats an minimize false positivizes</a:t>
            </a:r>
          </a:p>
          <a:p>
            <a:pPr algn="l"/>
            <a:endParaRPr lang="en-US" sz="1500" dirty="0">
              <a:gradFill>
                <a:gsLst>
                  <a:gs pos="2917">
                    <a:schemeClr val="tx1"/>
                  </a:gs>
                  <a:gs pos="30000">
                    <a:schemeClr val="tx1"/>
                  </a:gs>
                </a:gsLst>
                <a:lin ang="5400000" scaled="0"/>
              </a:gradFill>
            </a:endParaRPr>
          </a:p>
          <a:p>
            <a:pPr algn="l"/>
            <a:r>
              <a:rPr lang="en-US" sz="1500" b="1" dirty="0">
                <a:gradFill>
                  <a:gsLst>
                    <a:gs pos="2917">
                      <a:schemeClr val="tx1"/>
                    </a:gs>
                    <a:gs pos="30000">
                      <a:schemeClr val="tx1"/>
                    </a:gs>
                  </a:gsLst>
                  <a:lin ang="5400000" scaled="0"/>
                </a:gradFill>
              </a:rPr>
              <a:t>Investigate</a:t>
            </a:r>
            <a:r>
              <a:rPr lang="en-US" sz="1500" dirty="0">
                <a:gradFill>
                  <a:gsLst>
                    <a:gs pos="2917">
                      <a:schemeClr val="tx1"/>
                    </a:gs>
                    <a:gs pos="30000">
                      <a:schemeClr val="tx1"/>
                    </a:gs>
                  </a:gsLst>
                  <a:lin ang="5400000" scaled="0"/>
                </a:gradFill>
              </a:rPr>
              <a:t> </a:t>
            </a:r>
            <a:r>
              <a:rPr lang="en-US" sz="1500" dirty="0">
                <a:solidFill>
                  <a:schemeClr val="tx2"/>
                </a:solidFill>
              </a:rPr>
              <a:t>threats with AI tapping into decades of cybersecurity work at Microsoft</a:t>
            </a:r>
          </a:p>
          <a:p>
            <a:pPr algn="l"/>
            <a:endParaRPr lang="en-US" sz="1500" dirty="0">
              <a:gradFill>
                <a:gsLst>
                  <a:gs pos="2917">
                    <a:schemeClr val="tx1"/>
                  </a:gs>
                  <a:gs pos="30000">
                    <a:schemeClr val="tx1"/>
                  </a:gs>
                </a:gsLst>
                <a:lin ang="5400000" scaled="0"/>
              </a:gradFill>
            </a:endParaRPr>
          </a:p>
          <a:p>
            <a:pPr algn="l"/>
            <a:r>
              <a:rPr lang="en-US" sz="1500" b="1" dirty="0">
                <a:gradFill>
                  <a:gsLst>
                    <a:gs pos="2917">
                      <a:schemeClr val="tx1"/>
                    </a:gs>
                    <a:gs pos="30000">
                      <a:schemeClr val="tx1"/>
                    </a:gs>
                  </a:gsLst>
                  <a:lin ang="5400000" scaled="0"/>
                </a:gradFill>
              </a:rPr>
              <a:t>Respond</a:t>
            </a:r>
            <a:r>
              <a:rPr lang="en-US" sz="1500" dirty="0">
                <a:gradFill>
                  <a:gsLst>
                    <a:gs pos="2917">
                      <a:schemeClr val="tx1"/>
                    </a:gs>
                    <a:gs pos="30000">
                      <a:schemeClr val="tx1"/>
                    </a:gs>
                  </a:gsLst>
                  <a:lin ang="5400000" scaled="0"/>
                </a:gradFill>
              </a:rPr>
              <a:t> </a:t>
            </a:r>
            <a:r>
              <a:rPr lang="en-US" sz="1500" dirty="0">
                <a:solidFill>
                  <a:schemeClr val="tx2"/>
                </a:solidFill>
              </a:rPr>
              <a:t>to incidents rapidly with automation</a:t>
            </a:r>
          </a:p>
          <a:p>
            <a:pPr algn="l"/>
            <a:endParaRPr lang="en-US" sz="1500" dirty="0">
              <a:gradFill>
                <a:gsLst>
                  <a:gs pos="2917">
                    <a:schemeClr val="tx1"/>
                  </a:gs>
                  <a:gs pos="30000">
                    <a:schemeClr val="tx1"/>
                  </a:gs>
                </a:gsLst>
                <a:lin ang="5400000" scaled="0"/>
              </a:gradFill>
            </a:endParaRPr>
          </a:p>
        </p:txBody>
      </p:sp>
      <p:sp>
        <p:nvSpPr>
          <p:cNvPr id="22" name="zoom" title="Icon of a magnifying glass with a plus sign in it">
            <a:extLst>
              <a:ext uri="{FF2B5EF4-FFF2-40B4-BE49-F238E27FC236}">
                <a16:creationId xmlns:a16="http://schemas.microsoft.com/office/drawing/2014/main" id="{9B232717-CFF1-4148-A270-7D9422CAD5D7}"/>
              </a:ext>
            </a:extLst>
          </p:cNvPr>
          <p:cNvSpPr>
            <a:spLocks noChangeAspect="1" noEditPoints="1"/>
          </p:cNvSpPr>
          <p:nvPr/>
        </p:nvSpPr>
        <p:spPr bwMode="auto">
          <a:xfrm flipH="1">
            <a:off x="5743790" y="3095411"/>
            <a:ext cx="355934" cy="351629"/>
          </a:xfrm>
          <a:custGeom>
            <a:avLst/>
            <a:gdLst>
              <a:gd name="T0" fmla="*/ 120 w 343"/>
              <a:gd name="T1" fmla="*/ 111 h 338"/>
              <a:gd name="T2" fmla="*/ 231 w 343"/>
              <a:gd name="T3" fmla="*/ 0 h 338"/>
              <a:gd name="T4" fmla="*/ 343 w 343"/>
              <a:gd name="T5" fmla="*/ 111 h 338"/>
              <a:gd name="T6" fmla="*/ 231 w 343"/>
              <a:gd name="T7" fmla="*/ 223 h 338"/>
              <a:gd name="T8" fmla="*/ 120 w 343"/>
              <a:gd name="T9" fmla="*/ 111 h 338"/>
              <a:gd name="T10" fmla="*/ 152 w 343"/>
              <a:gd name="T11" fmla="*/ 189 h 338"/>
              <a:gd name="T12" fmla="*/ 0 w 343"/>
              <a:gd name="T13" fmla="*/ 338 h 338"/>
              <a:gd name="T14" fmla="*/ 231 w 343"/>
              <a:gd name="T15" fmla="*/ 64 h 338"/>
              <a:gd name="T16" fmla="*/ 231 w 343"/>
              <a:gd name="T17" fmla="*/ 159 h 338"/>
              <a:gd name="T18" fmla="*/ 279 w 343"/>
              <a:gd name="T19" fmla="*/ 111 h 338"/>
              <a:gd name="T20" fmla="*/ 184 w 343"/>
              <a:gd name="T21" fmla="*/ 11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3" h="338">
                <a:moveTo>
                  <a:pt x="120" y="111"/>
                </a:moveTo>
                <a:cubicBezTo>
                  <a:pt x="120" y="50"/>
                  <a:pt x="170" y="0"/>
                  <a:pt x="231" y="0"/>
                </a:cubicBezTo>
                <a:cubicBezTo>
                  <a:pt x="293" y="0"/>
                  <a:pt x="343" y="50"/>
                  <a:pt x="343" y="111"/>
                </a:cubicBezTo>
                <a:cubicBezTo>
                  <a:pt x="343" y="173"/>
                  <a:pt x="293" y="223"/>
                  <a:pt x="231" y="223"/>
                </a:cubicBezTo>
                <a:cubicBezTo>
                  <a:pt x="170" y="223"/>
                  <a:pt x="120" y="173"/>
                  <a:pt x="120" y="111"/>
                </a:cubicBezTo>
                <a:close/>
                <a:moveTo>
                  <a:pt x="152" y="189"/>
                </a:moveTo>
                <a:cubicBezTo>
                  <a:pt x="0" y="338"/>
                  <a:pt x="0" y="338"/>
                  <a:pt x="0" y="338"/>
                </a:cubicBezTo>
                <a:moveTo>
                  <a:pt x="231" y="64"/>
                </a:moveTo>
                <a:cubicBezTo>
                  <a:pt x="231" y="159"/>
                  <a:pt x="231" y="159"/>
                  <a:pt x="231" y="159"/>
                </a:cubicBezTo>
                <a:moveTo>
                  <a:pt x="279" y="111"/>
                </a:moveTo>
                <a:cubicBezTo>
                  <a:pt x="184" y="111"/>
                  <a:pt x="184" y="111"/>
                  <a:pt x="184" y="11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25" name="Intelligence" title="Icon of circles connected by crossing lines">
            <a:extLst>
              <a:ext uri="{FF2B5EF4-FFF2-40B4-BE49-F238E27FC236}">
                <a16:creationId xmlns:a16="http://schemas.microsoft.com/office/drawing/2014/main" id="{8A0AA0B1-FFB9-4045-A3BA-7B819B10C76D}"/>
              </a:ext>
            </a:extLst>
          </p:cNvPr>
          <p:cNvSpPr>
            <a:spLocks noChangeAspect="1" noEditPoints="1"/>
          </p:cNvSpPr>
          <p:nvPr/>
        </p:nvSpPr>
        <p:spPr bwMode="auto">
          <a:xfrm>
            <a:off x="5712316" y="2154534"/>
            <a:ext cx="434187" cy="41721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675">
              <a:gradFill>
                <a:gsLst>
                  <a:gs pos="0">
                    <a:srgbClr val="505050"/>
                  </a:gs>
                  <a:gs pos="100000">
                    <a:srgbClr val="505050"/>
                  </a:gs>
                </a:gsLst>
                <a:lin ang="5400000" scaled="1"/>
              </a:gradFill>
            </a:endParaRPr>
          </a:p>
        </p:txBody>
      </p:sp>
      <p:sp>
        <p:nvSpPr>
          <p:cNvPr id="26" name="binary" title="Icon of binary code, ones and zeros">
            <a:extLst>
              <a:ext uri="{FF2B5EF4-FFF2-40B4-BE49-F238E27FC236}">
                <a16:creationId xmlns:a16="http://schemas.microsoft.com/office/drawing/2014/main" id="{1972B2FC-3A0F-4BC4-885B-0E7EAEA3CF73}"/>
              </a:ext>
            </a:extLst>
          </p:cNvPr>
          <p:cNvSpPr>
            <a:spLocks noChangeAspect="1" noEditPoints="1"/>
          </p:cNvSpPr>
          <p:nvPr/>
        </p:nvSpPr>
        <p:spPr bwMode="auto">
          <a:xfrm>
            <a:off x="5665537" y="1457373"/>
            <a:ext cx="434187" cy="374919"/>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dirty="0"/>
          </a:p>
        </p:txBody>
      </p:sp>
      <p:sp>
        <p:nvSpPr>
          <p:cNvPr id="27" name="Telemarketer_E7B9" title="Icon of a person wearing a headset">
            <a:extLst>
              <a:ext uri="{FF2B5EF4-FFF2-40B4-BE49-F238E27FC236}">
                <a16:creationId xmlns:a16="http://schemas.microsoft.com/office/drawing/2014/main" id="{BFFD4168-D468-4F9C-9825-7817D7F6868B}"/>
              </a:ext>
            </a:extLst>
          </p:cNvPr>
          <p:cNvSpPr>
            <a:spLocks noChangeAspect="1" noEditPoints="1"/>
          </p:cNvSpPr>
          <p:nvPr/>
        </p:nvSpPr>
        <p:spPr bwMode="auto">
          <a:xfrm>
            <a:off x="5761558" y="3956741"/>
            <a:ext cx="355933" cy="42449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a:p>
        </p:txBody>
      </p:sp>
    </p:spTree>
    <p:extLst>
      <p:ext uri="{BB962C8B-B14F-4D97-AF65-F5344CB8AC3E}">
        <p14:creationId xmlns:p14="http://schemas.microsoft.com/office/powerpoint/2010/main" val="1274598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wipe(left)">
                                      <p:cBhvr>
                                        <p:cTn id="10" dur="500"/>
                                        <p:tgtEl>
                                          <p:spTgt spid="25"/>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wipe(left)">
                                      <p:cBhvr>
                                        <p:cTn id="13" dur="500"/>
                                        <p:tgtEl>
                                          <p:spTgt spid="22"/>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wipe(left)">
                                      <p:cBhvr>
                                        <p:cTn id="16" dur="500"/>
                                        <p:tgtEl>
                                          <p:spTgt spid="27"/>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2" grpId="0" animBg="1"/>
      <p:bldP spid="25" grpId="0" animBg="1"/>
      <p:bldP spid="26" grpId="0" animBg="1"/>
      <p:bldP spid="2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21D83CBB-D0AF-4CB5-A887-BE0D77BC96E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50803" y="237796"/>
            <a:ext cx="7267435" cy="5953631"/>
          </a:xfrm>
          <a:prstGeom prst="rect">
            <a:avLst/>
          </a:prstGeom>
        </p:spPr>
      </p:pic>
      <p:sp>
        <p:nvSpPr>
          <p:cNvPr id="2" name="Title 1">
            <a:extLst>
              <a:ext uri="{FF2B5EF4-FFF2-40B4-BE49-F238E27FC236}">
                <a16:creationId xmlns:a16="http://schemas.microsoft.com/office/drawing/2014/main" id="{077A983C-1E7F-4130-8999-CA618F0131BE}"/>
              </a:ext>
            </a:extLst>
          </p:cNvPr>
          <p:cNvSpPr>
            <a:spLocks noGrp="1"/>
          </p:cNvSpPr>
          <p:nvPr>
            <p:ph type="title"/>
          </p:nvPr>
        </p:nvSpPr>
        <p:spPr/>
        <p:txBody>
          <a:bodyPr/>
          <a:lstStyle/>
          <a:p>
            <a:r>
              <a:rPr lang="en-US" dirty="0"/>
              <a:t>Azure Sentinel</a:t>
            </a:r>
          </a:p>
        </p:txBody>
      </p:sp>
      <p:sp>
        <p:nvSpPr>
          <p:cNvPr id="12" name="TextBox 11">
            <a:extLst>
              <a:ext uri="{FF2B5EF4-FFF2-40B4-BE49-F238E27FC236}">
                <a16:creationId xmlns:a16="http://schemas.microsoft.com/office/drawing/2014/main" id="{12EB871A-4A40-4906-A5A5-8A0C67C6F324}"/>
              </a:ext>
            </a:extLst>
          </p:cNvPr>
          <p:cNvSpPr txBox="1"/>
          <p:nvPr/>
        </p:nvSpPr>
        <p:spPr>
          <a:xfrm>
            <a:off x="438149" y="752207"/>
            <a:ext cx="7687253" cy="332014"/>
          </a:xfrm>
          <a:prstGeom prst="rect">
            <a:avLst/>
          </a:prstGeom>
          <a:noFill/>
        </p:spPr>
        <p:txBody>
          <a:bodyPr wrap="square" lIns="0" tIns="69945" rIns="69945" bIns="69945" rtlCol="0">
            <a:spAutoFit/>
          </a:bodyPr>
          <a:lstStyle>
            <a:defPPr>
              <a:defRPr lang="en-US"/>
            </a:defPPr>
            <a:lvl1pPr defTabSz="950663" fontAlgn="base">
              <a:lnSpc>
                <a:spcPct val="90000"/>
              </a:lnSpc>
              <a:spcBef>
                <a:spcPct val="0"/>
              </a:spcBef>
              <a:spcAft>
                <a:spcPct val="0"/>
              </a:spcAft>
              <a:defRPr sz="2000" kern="0">
                <a:gradFill>
                  <a:gsLst>
                    <a:gs pos="78761">
                      <a:schemeClr val="accent1"/>
                    </a:gs>
                    <a:gs pos="0">
                      <a:schemeClr val="accent1"/>
                    </a:gs>
                  </a:gsLst>
                  <a:lin ang="5400000" scaled="0"/>
                </a:gradFill>
                <a:latin typeface="Segoe UI Semibold" panose="020B0702040204020203" pitchFamily="34" charset="0"/>
                <a:cs typeface="Segoe UI Semibold" panose="020B0702040204020203" pitchFamily="34" charset="0"/>
              </a:defRPr>
            </a:lvl1pPr>
            <a:lvl2pPr marL="457200" defTabSz="457200"/>
            <a:lvl3pPr marL="914400" defTabSz="457200"/>
            <a:lvl4pPr marL="1371600" defTabSz="457200"/>
            <a:lvl5pPr marL="1828800" defTabSz="457200"/>
            <a:lvl6pPr marL="2286000" defTabSz="457200"/>
            <a:lvl7pPr marL="2743200" defTabSz="457200"/>
            <a:lvl8pPr marL="3200400" defTabSz="457200"/>
            <a:lvl9pPr marL="3657600" defTabSz="457200"/>
          </a:lstStyle>
          <a:p>
            <a:pPr defTabSz="727186">
              <a:defRPr/>
            </a:pPr>
            <a:r>
              <a:rPr lang="en-US" sz="1377" dirty="0">
                <a:solidFill>
                  <a:srgbClr val="0078D4"/>
                </a:solidFill>
              </a:rPr>
              <a:t>Protecting Windows using Security Event Information Management (SEIM)</a:t>
            </a:r>
          </a:p>
        </p:txBody>
      </p:sp>
      <p:pic>
        <p:nvPicPr>
          <p:cNvPr id="18" name="Picture 2" descr="https://azurecomcdn.azureedge.net/cvt-c885b55d7639fe0c0a7ce721b229bcc3cc958ea0677cf0d4f9064e4a427c9c6c/images/page/services/azure-sentinel/free-preview.png">
            <a:extLst>
              <a:ext uri="{FF2B5EF4-FFF2-40B4-BE49-F238E27FC236}">
                <a16:creationId xmlns:a16="http://schemas.microsoft.com/office/drawing/2014/main" id="{A08EC885-FE48-4F04-855F-7BDD7F079D5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13455" y="97216"/>
            <a:ext cx="576638" cy="726499"/>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Azure Sentinel overview">
            <a:extLst>
              <a:ext uri="{FF2B5EF4-FFF2-40B4-BE49-F238E27FC236}">
                <a16:creationId xmlns:a16="http://schemas.microsoft.com/office/drawing/2014/main" id="{7405F664-972F-4E9C-94A6-13858D98B9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86319" y="1510543"/>
            <a:ext cx="6426976" cy="3882926"/>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F8393C1-E8C8-4660-8137-9C2ACF20012D}"/>
              </a:ext>
            </a:extLst>
          </p:cNvPr>
          <p:cNvSpPr/>
          <p:nvPr/>
        </p:nvSpPr>
        <p:spPr>
          <a:xfrm>
            <a:off x="783097" y="2711927"/>
            <a:ext cx="1912817" cy="2793072"/>
          </a:xfrm>
          <a:prstGeom prst="rect">
            <a:avLst/>
          </a:prstGeom>
        </p:spPr>
        <p:txBody>
          <a:bodyPr wrap="square">
            <a:spAutoFit/>
          </a:bodyPr>
          <a:lstStyle/>
          <a:p>
            <a:r>
              <a:rPr lang="en-US" dirty="0"/>
              <a:t>Security Events</a:t>
            </a:r>
          </a:p>
          <a:p>
            <a:endParaRPr lang="en-US" dirty="0"/>
          </a:p>
          <a:p>
            <a:r>
              <a:rPr lang="en-US" dirty="0"/>
              <a:t>System Logs</a:t>
            </a:r>
          </a:p>
          <a:p>
            <a:endParaRPr lang="en-US" dirty="0"/>
          </a:p>
          <a:p>
            <a:r>
              <a:rPr lang="en-US" dirty="0"/>
              <a:t>Windows Firewall</a:t>
            </a:r>
          </a:p>
          <a:p>
            <a:endParaRPr lang="en-US" dirty="0"/>
          </a:p>
          <a:p>
            <a:r>
              <a:rPr lang="en-US" dirty="0"/>
              <a:t>Traffic Analysis</a:t>
            </a:r>
          </a:p>
          <a:p>
            <a:endParaRPr lang="en-US" dirty="0"/>
          </a:p>
          <a:p>
            <a:pPr lvl="1" algn="ctr"/>
            <a:endParaRPr lang="en-US" sz="1350" dirty="0"/>
          </a:p>
        </p:txBody>
      </p:sp>
      <p:grpSp>
        <p:nvGrpSpPr>
          <p:cNvPr id="15" name="Group 14">
            <a:extLst>
              <a:ext uri="{FF2B5EF4-FFF2-40B4-BE49-F238E27FC236}">
                <a16:creationId xmlns:a16="http://schemas.microsoft.com/office/drawing/2014/main" id="{7AFACC6D-D1D7-473D-AEBC-FA2976E496F0}"/>
              </a:ext>
            </a:extLst>
          </p:cNvPr>
          <p:cNvGrpSpPr/>
          <p:nvPr/>
        </p:nvGrpSpPr>
        <p:grpSpPr>
          <a:xfrm>
            <a:off x="869004" y="2248747"/>
            <a:ext cx="1094365" cy="193061"/>
            <a:chOff x="460135" y="4595813"/>
            <a:chExt cx="1195670" cy="210932"/>
          </a:xfrm>
        </p:grpSpPr>
        <p:sp>
          <p:nvSpPr>
            <p:cNvPr id="19" name="CellPhone_E8EA">
              <a:extLst>
                <a:ext uri="{FF2B5EF4-FFF2-40B4-BE49-F238E27FC236}">
                  <a16:creationId xmlns:a16="http://schemas.microsoft.com/office/drawing/2014/main" id="{AC4E066E-454E-4B57-AEBD-F860EED7F68F}"/>
                </a:ext>
              </a:extLst>
            </p:cNvPr>
            <p:cNvSpPr>
              <a:spLocks noChangeAspect="1" noEditPoints="1"/>
            </p:cNvSpPr>
            <p:nvPr/>
          </p:nvSpPr>
          <p:spPr bwMode="auto">
            <a:xfrm>
              <a:off x="460135" y="4595813"/>
              <a:ext cx="126580" cy="210932"/>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675">
                <a:gradFill>
                  <a:gsLst>
                    <a:gs pos="0">
                      <a:srgbClr val="505050"/>
                    </a:gs>
                    <a:gs pos="100000">
                      <a:srgbClr val="505050"/>
                    </a:gs>
                  </a:gsLst>
                </a:gradFill>
                <a:latin typeface="Segoe UI Semilight"/>
              </a:endParaRPr>
            </a:p>
          </p:txBody>
        </p:sp>
        <p:sp>
          <p:nvSpPr>
            <p:cNvPr id="20" name="Lock">
              <a:extLst>
                <a:ext uri="{FF2B5EF4-FFF2-40B4-BE49-F238E27FC236}">
                  <a16:creationId xmlns:a16="http://schemas.microsoft.com/office/drawing/2014/main" id="{2785B1EE-C76A-4676-A89E-AEBC720A7135}"/>
                </a:ext>
              </a:extLst>
            </p:cNvPr>
            <p:cNvSpPr>
              <a:spLocks noChangeAspect="1" noEditPoints="1"/>
            </p:cNvSpPr>
            <p:nvPr/>
          </p:nvSpPr>
          <p:spPr bwMode="auto">
            <a:xfrm>
              <a:off x="554905" y="4720315"/>
              <a:ext cx="61839" cy="86429"/>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solidFill>
              <a:schemeClr val="bg1"/>
            </a:solidFill>
            <a:ln w="15875" cap="sq">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srgbClr val="353535"/>
                </a:solidFill>
                <a:latin typeface="Segoe UI Semilight"/>
              </a:endParaRPr>
            </a:p>
          </p:txBody>
        </p:sp>
        <p:sp>
          <p:nvSpPr>
            <p:cNvPr id="21" name="binary">
              <a:extLst>
                <a:ext uri="{FF2B5EF4-FFF2-40B4-BE49-F238E27FC236}">
                  <a16:creationId xmlns:a16="http://schemas.microsoft.com/office/drawing/2014/main" id="{B5B7B927-00C6-42DF-A28C-8212EAEA8D08}"/>
                </a:ext>
              </a:extLst>
            </p:cNvPr>
            <p:cNvSpPr>
              <a:spLocks noChangeAspect="1" noEditPoints="1"/>
            </p:cNvSpPr>
            <p:nvPr/>
          </p:nvSpPr>
          <p:spPr bwMode="auto">
            <a:xfrm>
              <a:off x="756680" y="4595813"/>
              <a:ext cx="244275" cy="210931"/>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srgbClr val="353535"/>
                </a:solidFill>
                <a:latin typeface="Segoe UI Semilight"/>
              </a:endParaRPr>
            </a:p>
          </p:txBody>
        </p:sp>
        <p:sp>
          <p:nvSpPr>
            <p:cNvPr id="22" name="GenericApp_EB3B">
              <a:extLst>
                <a:ext uri="{FF2B5EF4-FFF2-40B4-BE49-F238E27FC236}">
                  <a16:creationId xmlns:a16="http://schemas.microsoft.com/office/drawing/2014/main" id="{4BAE10A6-6735-4BA5-9B95-F95D152EFE66}"/>
                </a:ext>
              </a:extLst>
            </p:cNvPr>
            <p:cNvSpPr>
              <a:spLocks noChangeAspect="1" noEditPoints="1"/>
            </p:cNvSpPr>
            <p:nvPr/>
          </p:nvSpPr>
          <p:spPr bwMode="auto">
            <a:xfrm>
              <a:off x="1140891" y="4595813"/>
              <a:ext cx="263560" cy="210931"/>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srgbClr val="353535"/>
                </a:solidFill>
                <a:latin typeface="Segoe UI Semilight"/>
              </a:endParaRPr>
            </a:p>
          </p:txBody>
        </p:sp>
        <p:sp>
          <p:nvSpPr>
            <p:cNvPr id="23" name="server">
              <a:extLst>
                <a:ext uri="{FF2B5EF4-FFF2-40B4-BE49-F238E27FC236}">
                  <a16:creationId xmlns:a16="http://schemas.microsoft.com/office/drawing/2014/main" id="{FE8F78D3-5377-400E-9316-3150EDE472D0}"/>
                </a:ext>
              </a:extLst>
            </p:cNvPr>
            <p:cNvSpPr>
              <a:spLocks noChangeAspect="1" noEditPoints="1"/>
            </p:cNvSpPr>
            <p:nvPr/>
          </p:nvSpPr>
          <p:spPr bwMode="auto">
            <a:xfrm>
              <a:off x="1544386" y="4595813"/>
              <a:ext cx="111419" cy="210931"/>
            </a:xfrm>
            <a:custGeom>
              <a:avLst/>
              <a:gdLst>
                <a:gd name="T0" fmla="*/ 131 w 131"/>
                <a:gd name="T1" fmla="*/ 117 h 248"/>
                <a:gd name="T2" fmla="*/ 131 w 131"/>
                <a:gd name="T3" fmla="*/ 248 h 248"/>
                <a:gd name="T4" fmla="*/ 0 w 131"/>
                <a:gd name="T5" fmla="*/ 248 h 248"/>
                <a:gd name="T6" fmla="*/ 0 w 131"/>
                <a:gd name="T7" fmla="*/ 0 h 248"/>
                <a:gd name="T8" fmla="*/ 131 w 131"/>
                <a:gd name="T9" fmla="*/ 0 h 248"/>
                <a:gd name="T10" fmla="*/ 131 w 131"/>
                <a:gd name="T11" fmla="*/ 117 h 248"/>
                <a:gd name="T12" fmla="*/ 28 w 131"/>
                <a:gd name="T13" fmla="*/ 40 h 248"/>
                <a:gd name="T14" fmla="*/ 102 w 131"/>
                <a:gd name="T15" fmla="*/ 40 h 248"/>
                <a:gd name="T16" fmla="*/ 28 w 131"/>
                <a:gd name="T17" fmla="*/ 170 h 248"/>
                <a:gd name="T18" fmla="*/ 102 w 131"/>
                <a:gd name="T19" fmla="*/ 170 h 248"/>
                <a:gd name="T20" fmla="*/ 28 w 131"/>
                <a:gd name="T21" fmla="*/ 207 h 248"/>
                <a:gd name="T22" fmla="*/ 102 w 131"/>
                <a:gd name="T23" fmla="*/ 20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248">
                  <a:moveTo>
                    <a:pt x="131" y="117"/>
                  </a:moveTo>
                  <a:lnTo>
                    <a:pt x="131" y="248"/>
                  </a:lnTo>
                  <a:lnTo>
                    <a:pt x="0" y="248"/>
                  </a:lnTo>
                  <a:lnTo>
                    <a:pt x="0" y="0"/>
                  </a:lnTo>
                  <a:lnTo>
                    <a:pt x="131" y="0"/>
                  </a:lnTo>
                  <a:lnTo>
                    <a:pt x="131" y="117"/>
                  </a:lnTo>
                  <a:moveTo>
                    <a:pt x="28" y="40"/>
                  </a:moveTo>
                  <a:lnTo>
                    <a:pt x="102" y="40"/>
                  </a:lnTo>
                  <a:moveTo>
                    <a:pt x="28" y="170"/>
                  </a:moveTo>
                  <a:lnTo>
                    <a:pt x="102" y="170"/>
                  </a:lnTo>
                  <a:moveTo>
                    <a:pt x="28" y="207"/>
                  </a:moveTo>
                  <a:lnTo>
                    <a:pt x="102" y="207"/>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gradFill>
                  <a:gsLst>
                    <a:gs pos="0">
                      <a:srgbClr val="505050"/>
                    </a:gs>
                    <a:gs pos="100000">
                      <a:srgbClr val="505050"/>
                    </a:gs>
                  </a:gsLst>
                </a:gradFill>
                <a:latin typeface="Segoe UI Semilight"/>
              </a:endParaRPr>
            </a:p>
          </p:txBody>
        </p:sp>
      </p:grpSp>
      <p:pic>
        <p:nvPicPr>
          <p:cNvPr id="25" name="Graphic 61">
            <a:extLst>
              <a:ext uri="{FF2B5EF4-FFF2-40B4-BE49-F238E27FC236}">
                <a16:creationId xmlns:a16="http://schemas.microsoft.com/office/drawing/2014/main" id="{10EB18C2-F5EB-4D5D-A3AD-A6487CDDC41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5745" y="1315111"/>
            <a:ext cx="916976" cy="845279"/>
          </a:xfrm>
          <a:prstGeom prst="rect">
            <a:avLst/>
          </a:prstGeom>
        </p:spPr>
      </p:pic>
      <p:grpSp>
        <p:nvGrpSpPr>
          <p:cNvPr id="30" name="Group 29">
            <a:extLst>
              <a:ext uri="{FF2B5EF4-FFF2-40B4-BE49-F238E27FC236}">
                <a16:creationId xmlns:a16="http://schemas.microsoft.com/office/drawing/2014/main" id="{C92C5DD3-A458-4B21-9DAE-48C4A7DB1274}"/>
              </a:ext>
              <a:ext uri="{C183D7F6-B498-43B3-948B-1728B52AA6E4}">
                <adec:decorative xmlns:adec="http://schemas.microsoft.com/office/drawing/2017/decorative" val="1"/>
              </a:ext>
            </a:extLst>
          </p:cNvPr>
          <p:cNvGrpSpPr/>
          <p:nvPr/>
        </p:nvGrpSpPr>
        <p:grpSpPr>
          <a:xfrm>
            <a:off x="408820" y="2781757"/>
            <a:ext cx="234403" cy="233766"/>
            <a:chOff x="7745382" y="4179584"/>
            <a:chExt cx="216026" cy="215441"/>
          </a:xfrm>
          <a:solidFill>
            <a:srgbClr val="737373"/>
          </a:solidFill>
        </p:grpSpPr>
        <p:sp>
          <p:nvSpPr>
            <p:cNvPr id="31" name="Freeform 14">
              <a:extLst>
                <a:ext uri="{FF2B5EF4-FFF2-40B4-BE49-F238E27FC236}">
                  <a16:creationId xmlns:a16="http://schemas.microsoft.com/office/drawing/2014/main" id="{ED43A39C-3BD2-4CF6-8770-290C5B9D6B12}"/>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377">
                <a:solidFill>
                  <a:srgbClr val="505050"/>
                </a:solidFill>
                <a:latin typeface="Segoe UI Semilight"/>
              </a:endParaRPr>
            </a:p>
          </p:txBody>
        </p:sp>
        <p:sp>
          <p:nvSpPr>
            <p:cNvPr id="32" name="Freeform 15">
              <a:extLst>
                <a:ext uri="{FF2B5EF4-FFF2-40B4-BE49-F238E27FC236}">
                  <a16:creationId xmlns:a16="http://schemas.microsoft.com/office/drawing/2014/main" id="{248F7E86-698A-4985-B194-C3CDF86B1DB5}"/>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377">
                <a:solidFill>
                  <a:srgbClr val="505050"/>
                </a:solidFill>
                <a:latin typeface="Segoe UI Semilight"/>
              </a:endParaRPr>
            </a:p>
          </p:txBody>
        </p:sp>
        <p:sp>
          <p:nvSpPr>
            <p:cNvPr id="33" name="Freeform 16">
              <a:extLst>
                <a:ext uri="{FF2B5EF4-FFF2-40B4-BE49-F238E27FC236}">
                  <a16:creationId xmlns:a16="http://schemas.microsoft.com/office/drawing/2014/main" id="{544478F7-958A-4F88-AB6C-91C1FC762C3E}"/>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377">
                <a:solidFill>
                  <a:srgbClr val="505050"/>
                </a:solidFill>
                <a:latin typeface="Segoe UI Semilight"/>
              </a:endParaRPr>
            </a:p>
          </p:txBody>
        </p:sp>
      </p:grpSp>
      <p:grpSp>
        <p:nvGrpSpPr>
          <p:cNvPr id="34" name="Group 33">
            <a:extLst>
              <a:ext uri="{FF2B5EF4-FFF2-40B4-BE49-F238E27FC236}">
                <a16:creationId xmlns:a16="http://schemas.microsoft.com/office/drawing/2014/main" id="{31CDD479-6FEB-4B68-97E8-864BF41A4BEE}"/>
              </a:ext>
              <a:ext uri="{C183D7F6-B498-43B3-948B-1728B52AA6E4}">
                <adec:decorative xmlns:adec="http://schemas.microsoft.com/office/drawing/2017/decorative" val="1"/>
              </a:ext>
            </a:extLst>
          </p:cNvPr>
          <p:cNvGrpSpPr/>
          <p:nvPr/>
        </p:nvGrpSpPr>
        <p:grpSpPr>
          <a:xfrm>
            <a:off x="397885" y="3349670"/>
            <a:ext cx="234403" cy="233766"/>
            <a:chOff x="7745382" y="4179584"/>
            <a:chExt cx="216026" cy="215441"/>
          </a:xfrm>
          <a:solidFill>
            <a:srgbClr val="737373"/>
          </a:solidFill>
        </p:grpSpPr>
        <p:sp>
          <p:nvSpPr>
            <p:cNvPr id="35" name="Freeform 14">
              <a:extLst>
                <a:ext uri="{FF2B5EF4-FFF2-40B4-BE49-F238E27FC236}">
                  <a16:creationId xmlns:a16="http://schemas.microsoft.com/office/drawing/2014/main" id="{0D0D63CB-676B-4266-969C-A0296C9C7C7C}"/>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377">
                <a:solidFill>
                  <a:srgbClr val="505050"/>
                </a:solidFill>
                <a:latin typeface="Segoe UI Semilight"/>
              </a:endParaRPr>
            </a:p>
          </p:txBody>
        </p:sp>
        <p:sp>
          <p:nvSpPr>
            <p:cNvPr id="36" name="Freeform 15">
              <a:extLst>
                <a:ext uri="{FF2B5EF4-FFF2-40B4-BE49-F238E27FC236}">
                  <a16:creationId xmlns:a16="http://schemas.microsoft.com/office/drawing/2014/main" id="{3DF77689-CDF7-4774-9DBA-7D5C80ABAC29}"/>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377">
                <a:solidFill>
                  <a:srgbClr val="505050"/>
                </a:solidFill>
                <a:latin typeface="Segoe UI Semilight"/>
              </a:endParaRPr>
            </a:p>
          </p:txBody>
        </p:sp>
        <p:sp>
          <p:nvSpPr>
            <p:cNvPr id="37" name="Freeform 16">
              <a:extLst>
                <a:ext uri="{FF2B5EF4-FFF2-40B4-BE49-F238E27FC236}">
                  <a16:creationId xmlns:a16="http://schemas.microsoft.com/office/drawing/2014/main" id="{B230A69D-FA07-479A-AEC0-916F047A400C}"/>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377">
                <a:solidFill>
                  <a:srgbClr val="505050"/>
                </a:solidFill>
                <a:latin typeface="Segoe UI Semilight"/>
              </a:endParaRPr>
            </a:p>
          </p:txBody>
        </p:sp>
      </p:grpSp>
      <p:grpSp>
        <p:nvGrpSpPr>
          <p:cNvPr id="38" name="Group 37">
            <a:extLst>
              <a:ext uri="{FF2B5EF4-FFF2-40B4-BE49-F238E27FC236}">
                <a16:creationId xmlns:a16="http://schemas.microsoft.com/office/drawing/2014/main" id="{1EC56E42-CCE4-4AEF-88C5-470CB043AC71}"/>
              </a:ext>
              <a:ext uri="{C183D7F6-B498-43B3-948B-1728B52AA6E4}">
                <adec:decorative xmlns:adec="http://schemas.microsoft.com/office/drawing/2017/decorative" val="1"/>
              </a:ext>
            </a:extLst>
          </p:cNvPr>
          <p:cNvGrpSpPr/>
          <p:nvPr/>
        </p:nvGrpSpPr>
        <p:grpSpPr>
          <a:xfrm>
            <a:off x="397524" y="3958422"/>
            <a:ext cx="234403" cy="233766"/>
            <a:chOff x="7745382" y="4179584"/>
            <a:chExt cx="216026" cy="215441"/>
          </a:xfrm>
          <a:solidFill>
            <a:srgbClr val="737373"/>
          </a:solidFill>
        </p:grpSpPr>
        <p:sp>
          <p:nvSpPr>
            <p:cNvPr id="39" name="Freeform 14">
              <a:extLst>
                <a:ext uri="{FF2B5EF4-FFF2-40B4-BE49-F238E27FC236}">
                  <a16:creationId xmlns:a16="http://schemas.microsoft.com/office/drawing/2014/main" id="{D2427008-C493-4419-882F-A044FD2DD569}"/>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377">
                <a:solidFill>
                  <a:srgbClr val="505050"/>
                </a:solidFill>
                <a:latin typeface="Segoe UI Semilight"/>
              </a:endParaRPr>
            </a:p>
          </p:txBody>
        </p:sp>
        <p:sp>
          <p:nvSpPr>
            <p:cNvPr id="40" name="Freeform 15">
              <a:extLst>
                <a:ext uri="{FF2B5EF4-FFF2-40B4-BE49-F238E27FC236}">
                  <a16:creationId xmlns:a16="http://schemas.microsoft.com/office/drawing/2014/main" id="{FD8CB742-C2B6-4897-82B8-5A95E36A69D4}"/>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377">
                <a:solidFill>
                  <a:srgbClr val="505050"/>
                </a:solidFill>
                <a:latin typeface="Segoe UI Semilight"/>
              </a:endParaRPr>
            </a:p>
          </p:txBody>
        </p:sp>
        <p:sp>
          <p:nvSpPr>
            <p:cNvPr id="41" name="Freeform 16">
              <a:extLst>
                <a:ext uri="{FF2B5EF4-FFF2-40B4-BE49-F238E27FC236}">
                  <a16:creationId xmlns:a16="http://schemas.microsoft.com/office/drawing/2014/main" id="{D213B727-FFF3-40ED-94B5-E679E64EA38D}"/>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377">
                <a:solidFill>
                  <a:srgbClr val="505050"/>
                </a:solidFill>
                <a:latin typeface="Segoe UI Semilight"/>
              </a:endParaRPr>
            </a:p>
          </p:txBody>
        </p:sp>
      </p:grpSp>
      <p:grpSp>
        <p:nvGrpSpPr>
          <p:cNvPr id="42" name="Group 41">
            <a:extLst>
              <a:ext uri="{FF2B5EF4-FFF2-40B4-BE49-F238E27FC236}">
                <a16:creationId xmlns:a16="http://schemas.microsoft.com/office/drawing/2014/main" id="{74802627-183E-4E72-B5DB-6F60D0028A3F}"/>
              </a:ext>
              <a:ext uri="{C183D7F6-B498-43B3-948B-1728B52AA6E4}">
                <adec:decorative xmlns:adec="http://schemas.microsoft.com/office/drawing/2017/decorative" val="1"/>
              </a:ext>
            </a:extLst>
          </p:cNvPr>
          <p:cNvGrpSpPr/>
          <p:nvPr/>
        </p:nvGrpSpPr>
        <p:grpSpPr>
          <a:xfrm>
            <a:off x="386589" y="4526335"/>
            <a:ext cx="234403" cy="233766"/>
            <a:chOff x="7745382" y="4179584"/>
            <a:chExt cx="216026" cy="215441"/>
          </a:xfrm>
          <a:solidFill>
            <a:srgbClr val="737373"/>
          </a:solidFill>
        </p:grpSpPr>
        <p:sp>
          <p:nvSpPr>
            <p:cNvPr id="43" name="Freeform 14">
              <a:extLst>
                <a:ext uri="{FF2B5EF4-FFF2-40B4-BE49-F238E27FC236}">
                  <a16:creationId xmlns:a16="http://schemas.microsoft.com/office/drawing/2014/main" id="{CCF6116B-5CAE-48D4-B430-280729213AD6}"/>
                </a:ext>
              </a:extLst>
            </p:cNvPr>
            <p:cNvSpPr>
              <a:spLocks noChangeArrowheads="1"/>
            </p:cNvSpPr>
            <p:nvPr/>
          </p:nvSpPr>
          <p:spPr bwMode="auto">
            <a:xfrm>
              <a:off x="7847458" y="4234965"/>
              <a:ext cx="59320" cy="102821"/>
            </a:xfrm>
            <a:custGeom>
              <a:avLst/>
              <a:gdLst>
                <a:gd name="T0" fmla="*/ 373 w 461"/>
                <a:gd name="T1" fmla="*/ 449 h 801"/>
                <a:gd name="T2" fmla="*/ 373 w 461"/>
                <a:gd name="T3" fmla="*/ 449 h 801"/>
                <a:gd name="T4" fmla="*/ 298 w 461"/>
                <a:gd name="T5" fmla="*/ 449 h 801"/>
                <a:gd name="T6" fmla="*/ 298 w 461"/>
                <a:gd name="T7" fmla="*/ 449 h 801"/>
                <a:gd name="T8" fmla="*/ 0 w 461"/>
                <a:gd name="T9" fmla="*/ 747 h 801"/>
                <a:gd name="T10" fmla="*/ 0 w 461"/>
                <a:gd name="T11" fmla="*/ 747 h 801"/>
                <a:gd name="T12" fmla="*/ 56 w 461"/>
                <a:gd name="T13" fmla="*/ 800 h 801"/>
                <a:gd name="T14" fmla="*/ 460 w 461"/>
                <a:gd name="T15" fmla="*/ 405 h 801"/>
                <a:gd name="T16" fmla="*/ 460 w 461"/>
                <a:gd name="T17" fmla="*/ 405 h 801"/>
                <a:gd name="T18" fmla="*/ 56 w 461"/>
                <a:gd name="T19" fmla="*/ 0 h 801"/>
                <a:gd name="T20" fmla="*/ 56 w 461"/>
                <a:gd name="T21" fmla="*/ 0 h 801"/>
                <a:gd name="T22" fmla="*/ 0 w 461"/>
                <a:gd name="T23" fmla="*/ 53 h 801"/>
                <a:gd name="T24" fmla="*/ 0 w 461"/>
                <a:gd name="T25" fmla="*/ 53 h 801"/>
                <a:gd name="T26" fmla="*/ 298 w 461"/>
                <a:gd name="T27" fmla="*/ 361 h 801"/>
                <a:gd name="T28" fmla="*/ 298 w 461"/>
                <a:gd name="T29" fmla="*/ 361 h 801"/>
                <a:gd name="T30" fmla="*/ 373 w 461"/>
                <a:gd name="T31" fmla="*/ 361 h 801"/>
                <a:gd name="T32" fmla="*/ 373 w 461"/>
                <a:gd name="T33" fmla="*/ 44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1" h="801">
                  <a:moveTo>
                    <a:pt x="373" y="449"/>
                  </a:moveTo>
                  <a:lnTo>
                    <a:pt x="373" y="449"/>
                  </a:lnTo>
                  <a:lnTo>
                    <a:pt x="298" y="449"/>
                  </a:lnTo>
                  <a:lnTo>
                    <a:pt x="298" y="449"/>
                  </a:lnTo>
                  <a:lnTo>
                    <a:pt x="0" y="747"/>
                  </a:lnTo>
                  <a:lnTo>
                    <a:pt x="0" y="747"/>
                  </a:lnTo>
                  <a:lnTo>
                    <a:pt x="56" y="800"/>
                  </a:lnTo>
                  <a:lnTo>
                    <a:pt x="460" y="405"/>
                  </a:lnTo>
                  <a:lnTo>
                    <a:pt x="460" y="405"/>
                  </a:lnTo>
                  <a:lnTo>
                    <a:pt x="56" y="0"/>
                  </a:lnTo>
                  <a:lnTo>
                    <a:pt x="56" y="0"/>
                  </a:lnTo>
                  <a:lnTo>
                    <a:pt x="0" y="53"/>
                  </a:lnTo>
                  <a:lnTo>
                    <a:pt x="0" y="53"/>
                  </a:lnTo>
                  <a:lnTo>
                    <a:pt x="298" y="361"/>
                  </a:lnTo>
                  <a:lnTo>
                    <a:pt x="298" y="361"/>
                  </a:lnTo>
                  <a:lnTo>
                    <a:pt x="373" y="361"/>
                  </a:lnTo>
                  <a:lnTo>
                    <a:pt x="373" y="449"/>
                  </a:lnTo>
                </a:path>
              </a:pathLst>
            </a:custGeom>
            <a:grpFill/>
            <a:ln>
              <a:noFill/>
            </a:ln>
            <a:effectLst/>
          </p:spPr>
          <p:txBody>
            <a:bodyPr wrap="none" anchor="ctr"/>
            <a:lstStyle/>
            <a:p>
              <a:pPr>
                <a:defRPr/>
              </a:pPr>
              <a:endParaRPr lang="en-US" sz="1377">
                <a:solidFill>
                  <a:srgbClr val="505050"/>
                </a:solidFill>
                <a:latin typeface="Segoe UI Semilight"/>
              </a:endParaRPr>
            </a:p>
          </p:txBody>
        </p:sp>
        <p:sp>
          <p:nvSpPr>
            <p:cNvPr id="44" name="Freeform 15">
              <a:extLst>
                <a:ext uri="{FF2B5EF4-FFF2-40B4-BE49-F238E27FC236}">
                  <a16:creationId xmlns:a16="http://schemas.microsoft.com/office/drawing/2014/main" id="{31D71BB8-0784-43C3-B1C1-94352F59AFEB}"/>
                </a:ext>
              </a:extLst>
            </p:cNvPr>
            <p:cNvSpPr>
              <a:spLocks noChangeArrowheads="1"/>
            </p:cNvSpPr>
            <p:nvPr/>
          </p:nvSpPr>
          <p:spPr bwMode="auto">
            <a:xfrm>
              <a:off x="7807855" y="4280865"/>
              <a:ext cx="93670" cy="11709"/>
            </a:xfrm>
            <a:custGeom>
              <a:avLst/>
              <a:gdLst>
                <a:gd name="T0" fmla="*/ 704 w 705"/>
                <a:gd name="T1" fmla="*/ 44 h 89"/>
                <a:gd name="T2" fmla="*/ 704 w 705"/>
                <a:gd name="T3" fmla="*/ 44 h 89"/>
                <a:gd name="T4" fmla="*/ 660 w 705"/>
                <a:gd name="T5" fmla="*/ 0 h 89"/>
                <a:gd name="T6" fmla="*/ 660 w 705"/>
                <a:gd name="T7" fmla="*/ 0 h 89"/>
                <a:gd name="T8" fmla="*/ 0 w 705"/>
                <a:gd name="T9" fmla="*/ 0 h 89"/>
                <a:gd name="T10" fmla="*/ 0 w 705"/>
                <a:gd name="T11" fmla="*/ 0 h 89"/>
                <a:gd name="T12" fmla="*/ 0 w 705"/>
                <a:gd name="T13" fmla="*/ 88 h 89"/>
                <a:gd name="T14" fmla="*/ 0 w 705"/>
                <a:gd name="T15" fmla="*/ 88 h 89"/>
                <a:gd name="T16" fmla="*/ 660 w 705"/>
                <a:gd name="T17" fmla="*/ 88 h 89"/>
                <a:gd name="T18" fmla="*/ 660 w 705"/>
                <a:gd name="T19" fmla="*/ 88 h 89"/>
                <a:gd name="T20" fmla="*/ 704 w 705"/>
                <a:gd name="T21" fmla="*/ 4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5" h="89">
                  <a:moveTo>
                    <a:pt x="704" y="44"/>
                  </a:moveTo>
                  <a:lnTo>
                    <a:pt x="704" y="44"/>
                  </a:lnTo>
                  <a:lnTo>
                    <a:pt x="660" y="0"/>
                  </a:lnTo>
                  <a:lnTo>
                    <a:pt x="660" y="0"/>
                  </a:lnTo>
                  <a:lnTo>
                    <a:pt x="0" y="0"/>
                  </a:lnTo>
                  <a:lnTo>
                    <a:pt x="0" y="0"/>
                  </a:lnTo>
                  <a:lnTo>
                    <a:pt x="0" y="88"/>
                  </a:lnTo>
                  <a:lnTo>
                    <a:pt x="0" y="88"/>
                  </a:lnTo>
                  <a:lnTo>
                    <a:pt x="660" y="88"/>
                  </a:lnTo>
                  <a:lnTo>
                    <a:pt x="660" y="88"/>
                  </a:lnTo>
                  <a:lnTo>
                    <a:pt x="704" y="44"/>
                  </a:lnTo>
                </a:path>
              </a:pathLst>
            </a:custGeom>
            <a:grpFill/>
            <a:ln>
              <a:noFill/>
            </a:ln>
            <a:effectLst/>
          </p:spPr>
          <p:txBody>
            <a:bodyPr wrap="none" anchor="ctr"/>
            <a:lstStyle/>
            <a:p>
              <a:pPr>
                <a:defRPr/>
              </a:pPr>
              <a:endParaRPr lang="en-US" sz="1377">
                <a:solidFill>
                  <a:srgbClr val="505050"/>
                </a:solidFill>
                <a:latin typeface="Segoe UI Semilight"/>
              </a:endParaRPr>
            </a:p>
          </p:txBody>
        </p:sp>
        <p:sp>
          <p:nvSpPr>
            <p:cNvPr id="45" name="Freeform 16">
              <a:extLst>
                <a:ext uri="{FF2B5EF4-FFF2-40B4-BE49-F238E27FC236}">
                  <a16:creationId xmlns:a16="http://schemas.microsoft.com/office/drawing/2014/main" id="{26B55723-A3DA-4229-87F2-190BF369C46B}"/>
                </a:ext>
              </a:extLst>
            </p:cNvPr>
            <p:cNvSpPr>
              <a:spLocks noChangeArrowheads="1"/>
            </p:cNvSpPr>
            <p:nvPr/>
          </p:nvSpPr>
          <p:spPr bwMode="auto">
            <a:xfrm>
              <a:off x="7745382" y="4179584"/>
              <a:ext cx="216026" cy="215441"/>
            </a:xfrm>
            <a:custGeom>
              <a:avLst/>
              <a:gdLst>
                <a:gd name="T0" fmla="*/ 854 w 1626"/>
                <a:gd name="T1" fmla="*/ 1623 h 1624"/>
                <a:gd name="T2" fmla="*/ 976 w 1626"/>
                <a:gd name="T3" fmla="*/ 1607 h 1624"/>
                <a:gd name="T4" fmla="*/ 1093 w 1626"/>
                <a:gd name="T5" fmla="*/ 1573 h 1624"/>
                <a:gd name="T6" fmla="*/ 1198 w 1626"/>
                <a:gd name="T7" fmla="*/ 1522 h 1624"/>
                <a:gd name="T8" fmla="*/ 1330 w 1626"/>
                <a:gd name="T9" fmla="*/ 1435 h 1624"/>
                <a:gd name="T10" fmla="*/ 1487 w 1626"/>
                <a:gd name="T11" fmla="*/ 1259 h 1624"/>
                <a:gd name="T12" fmla="*/ 1559 w 1626"/>
                <a:gd name="T13" fmla="*/ 1124 h 1624"/>
                <a:gd name="T14" fmla="*/ 1597 w 1626"/>
                <a:gd name="T15" fmla="*/ 1011 h 1624"/>
                <a:gd name="T16" fmla="*/ 1619 w 1626"/>
                <a:gd name="T17" fmla="*/ 891 h 1624"/>
                <a:gd name="T18" fmla="*/ 1625 w 1626"/>
                <a:gd name="T19" fmla="*/ 810 h 1624"/>
                <a:gd name="T20" fmla="*/ 1616 w 1626"/>
                <a:gd name="T21" fmla="*/ 687 h 1624"/>
                <a:gd name="T22" fmla="*/ 1588 w 1626"/>
                <a:gd name="T23" fmla="*/ 568 h 1624"/>
                <a:gd name="T24" fmla="*/ 1544 w 1626"/>
                <a:gd name="T25" fmla="*/ 458 h 1624"/>
                <a:gd name="T26" fmla="*/ 1487 w 1626"/>
                <a:gd name="T27" fmla="*/ 354 h 1624"/>
                <a:gd name="T28" fmla="*/ 1330 w 1626"/>
                <a:gd name="T29" fmla="*/ 182 h 1624"/>
                <a:gd name="T30" fmla="*/ 1198 w 1626"/>
                <a:gd name="T31" fmla="*/ 97 h 1624"/>
                <a:gd name="T32" fmla="*/ 1093 w 1626"/>
                <a:gd name="T33" fmla="*/ 47 h 1624"/>
                <a:gd name="T34" fmla="*/ 976 w 1626"/>
                <a:gd name="T35" fmla="*/ 15 h 1624"/>
                <a:gd name="T36" fmla="*/ 854 w 1626"/>
                <a:gd name="T37" fmla="*/ 0 h 1624"/>
                <a:gd name="T38" fmla="*/ 772 w 1626"/>
                <a:gd name="T39" fmla="*/ 0 h 1624"/>
                <a:gd name="T40" fmla="*/ 650 w 1626"/>
                <a:gd name="T41" fmla="*/ 15 h 1624"/>
                <a:gd name="T42" fmla="*/ 534 w 1626"/>
                <a:gd name="T43" fmla="*/ 47 h 1624"/>
                <a:gd name="T44" fmla="*/ 424 w 1626"/>
                <a:gd name="T45" fmla="*/ 97 h 1624"/>
                <a:gd name="T46" fmla="*/ 295 w 1626"/>
                <a:gd name="T47" fmla="*/ 182 h 1624"/>
                <a:gd name="T48" fmla="*/ 138 w 1626"/>
                <a:gd name="T49" fmla="*/ 354 h 1624"/>
                <a:gd name="T50" fmla="*/ 82 w 1626"/>
                <a:gd name="T51" fmla="*/ 458 h 1624"/>
                <a:gd name="T52" fmla="*/ 37 w 1626"/>
                <a:gd name="T53" fmla="*/ 568 h 1624"/>
                <a:gd name="T54" fmla="*/ 9 w 1626"/>
                <a:gd name="T55" fmla="*/ 687 h 1624"/>
                <a:gd name="T56" fmla="*/ 0 w 1626"/>
                <a:gd name="T57" fmla="*/ 810 h 1624"/>
                <a:gd name="T58" fmla="*/ 6 w 1626"/>
                <a:gd name="T59" fmla="*/ 891 h 1624"/>
                <a:gd name="T60" fmla="*/ 25 w 1626"/>
                <a:gd name="T61" fmla="*/ 1011 h 1624"/>
                <a:gd name="T62" fmla="*/ 63 w 1626"/>
                <a:gd name="T63" fmla="*/ 1124 h 1624"/>
                <a:gd name="T64" fmla="*/ 138 w 1626"/>
                <a:gd name="T65" fmla="*/ 1259 h 1624"/>
                <a:gd name="T66" fmla="*/ 295 w 1626"/>
                <a:gd name="T67" fmla="*/ 1435 h 1624"/>
                <a:gd name="T68" fmla="*/ 424 w 1626"/>
                <a:gd name="T69" fmla="*/ 1522 h 1624"/>
                <a:gd name="T70" fmla="*/ 534 w 1626"/>
                <a:gd name="T71" fmla="*/ 1573 h 1624"/>
                <a:gd name="T72" fmla="*/ 650 w 1626"/>
                <a:gd name="T73" fmla="*/ 1607 h 1624"/>
                <a:gd name="T74" fmla="*/ 772 w 1626"/>
                <a:gd name="T75" fmla="*/ 1623 h 1624"/>
                <a:gd name="T76" fmla="*/ 813 w 1626"/>
                <a:gd name="T77" fmla="*/ 84 h 1624"/>
                <a:gd name="T78" fmla="*/ 1030 w 1626"/>
                <a:gd name="T79" fmla="*/ 119 h 1624"/>
                <a:gd name="T80" fmla="*/ 1220 w 1626"/>
                <a:gd name="T81" fmla="*/ 207 h 1624"/>
                <a:gd name="T82" fmla="*/ 1374 w 1626"/>
                <a:gd name="T83" fmla="*/ 348 h 1624"/>
                <a:gd name="T84" fmla="*/ 1481 w 1626"/>
                <a:gd name="T85" fmla="*/ 527 h 1624"/>
                <a:gd name="T86" fmla="*/ 1531 w 1626"/>
                <a:gd name="T87" fmla="*/ 734 h 1624"/>
                <a:gd name="T88" fmla="*/ 1531 w 1626"/>
                <a:gd name="T89" fmla="*/ 885 h 1624"/>
                <a:gd name="T90" fmla="*/ 1481 w 1626"/>
                <a:gd name="T91" fmla="*/ 1089 h 1624"/>
                <a:gd name="T92" fmla="*/ 1374 w 1626"/>
                <a:gd name="T93" fmla="*/ 1268 h 1624"/>
                <a:gd name="T94" fmla="*/ 1220 w 1626"/>
                <a:gd name="T95" fmla="*/ 1410 h 1624"/>
                <a:gd name="T96" fmla="*/ 1030 w 1626"/>
                <a:gd name="T97" fmla="*/ 1500 h 1624"/>
                <a:gd name="T98" fmla="*/ 851 w 1626"/>
                <a:gd name="T99" fmla="*/ 1535 h 1624"/>
                <a:gd name="T100" fmla="*/ 775 w 1626"/>
                <a:gd name="T101" fmla="*/ 1535 h 1624"/>
                <a:gd name="T102" fmla="*/ 600 w 1626"/>
                <a:gd name="T103" fmla="*/ 1500 h 1624"/>
                <a:gd name="T104" fmla="*/ 411 w 1626"/>
                <a:gd name="T105" fmla="*/ 1410 h 1624"/>
                <a:gd name="T106" fmla="*/ 254 w 1626"/>
                <a:gd name="T107" fmla="*/ 1268 h 1624"/>
                <a:gd name="T108" fmla="*/ 147 w 1626"/>
                <a:gd name="T109" fmla="*/ 1089 h 1624"/>
                <a:gd name="T110" fmla="*/ 91 w 1626"/>
                <a:gd name="T111" fmla="*/ 885 h 1624"/>
                <a:gd name="T112" fmla="*/ 88 w 1626"/>
                <a:gd name="T113" fmla="*/ 810 h 1624"/>
                <a:gd name="T114" fmla="*/ 103 w 1626"/>
                <a:gd name="T115" fmla="*/ 662 h 1624"/>
                <a:gd name="T116" fmla="*/ 176 w 1626"/>
                <a:gd name="T117" fmla="*/ 461 h 1624"/>
                <a:gd name="T118" fmla="*/ 301 w 1626"/>
                <a:gd name="T119" fmla="*/ 295 h 1624"/>
                <a:gd name="T120" fmla="*/ 471 w 1626"/>
                <a:gd name="T121" fmla="*/ 172 h 1624"/>
                <a:gd name="T122" fmla="*/ 669 w 1626"/>
                <a:gd name="T123" fmla="*/ 100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6" h="1624">
                  <a:moveTo>
                    <a:pt x="813" y="1623"/>
                  </a:moveTo>
                  <a:lnTo>
                    <a:pt x="813" y="1623"/>
                  </a:lnTo>
                  <a:lnTo>
                    <a:pt x="854" y="1623"/>
                  </a:lnTo>
                  <a:lnTo>
                    <a:pt x="895" y="1620"/>
                  </a:lnTo>
                  <a:lnTo>
                    <a:pt x="936" y="1614"/>
                  </a:lnTo>
                  <a:lnTo>
                    <a:pt x="976" y="1607"/>
                  </a:lnTo>
                  <a:lnTo>
                    <a:pt x="1017" y="1598"/>
                  </a:lnTo>
                  <a:lnTo>
                    <a:pt x="1055" y="1585"/>
                  </a:lnTo>
                  <a:lnTo>
                    <a:pt x="1093" y="1573"/>
                  </a:lnTo>
                  <a:lnTo>
                    <a:pt x="1130" y="1557"/>
                  </a:lnTo>
                  <a:lnTo>
                    <a:pt x="1165" y="1541"/>
                  </a:lnTo>
                  <a:lnTo>
                    <a:pt x="1198" y="1522"/>
                  </a:lnTo>
                  <a:lnTo>
                    <a:pt x="1233" y="1504"/>
                  </a:lnTo>
                  <a:lnTo>
                    <a:pt x="1267" y="1482"/>
                  </a:lnTo>
                  <a:lnTo>
                    <a:pt x="1330" y="1435"/>
                  </a:lnTo>
                  <a:lnTo>
                    <a:pt x="1387" y="1381"/>
                  </a:lnTo>
                  <a:lnTo>
                    <a:pt x="1440" y="1322"/>
                  </a:lnTo>
                  <a:lnTo>
                    <a:pt x="1487" y="1259"/>
                  </a:lnTo>
                  <a:lnTo>
                    <a:pt x="1525" y="1193"/>
                  </a:lnTo>
                  <a:lnTo>
                    <a:pt x="1544" y="1158"/>
                  </a:lnTo>
                  <a:lnTo>
                    <a:pt x="1559" y="1124"/>
                  </a:lnTo>
                  <a:lnTo>
                    <a:pt x="1575" y="1086"/>
                  </a:lnTo>
                  <a:lnTo>
                    <a:pt x="1588" y="1048"/>
                  </a:lnTo>
                  <a:lnTo>
                    <a:pt x="1597" y="1011"/>
                  </a:lnTo>
                  <a:lnTo>
                    <a:pt x="1606" y="970"/>
                  </a:lnTo>
                  <a:lnTo>
                    <a:pt x="1616" y="932"/>
                  </a:lnTo>
                  <a:lnTo>
                    <a:pt x="1619" y="891"/>
                  </a:lnTo>
                  <a:lnTo>
                    <a:pt x="1622" y="851"/>
                  </a:lnTo>
                  <a:lnTo>
                    <a:pt x="1625" y="810"/>
                  </a:lnTo>
                  <a:lnTo>
                    <a:pt x="1625" y="810"/>
                  </a:lnTo>
                  <a:lnTo>
                    <a:pt x="1622" y="769"/>
                  </a:lnTo>
                  <a:lnTo>
                    <a:pt x="1619" y="728"/>
                  </a:lnTo>
                  <a:lnTo>
                    <a:pt x="1616" y="687"/>
                  </a:lnTo>
                  <a:lnTo>
                    <a:pt x="1606" y="646"/>
                  </a:lnTo>
                  <a:lnTo>
                    <a:pt x="1597" y="606"/>
                  </a:lnTo>
                  <a:lnTo>
                    <a:pt x="1588" y="568"/>
                  </a:lnTo>
                  <a:lnTo>
                    <a:pt x="1575" y="530"/>
                  </a:lnTo>
                  <a:lnTo>
                    <a:pt x="1559" y="493"/>
                  </a:lnTo>
                  <a:lnTo>
                    <a:pt x="1544" y="458"/>
                  </a:lnTo>
                  <a:lnTo>
                    <a:pt x="1525" y="424"/>
                  </a:lnTo>
                  <a:lnTo>
                    <a:pt x="1506" y="389"/>
                  </a:lnTo>
                  <a:lnTo>
                    <a:pt x="1487" y="354"/>
                  </a:lnTo>
                  <a:lnTo>
                    <a:pt x="1440" y="292"/>
                  </a:lnTo>
                  <a:lnTo>
                    <a:pt x="1387" y="235"/>
                  </a:lnTo>
                  <a:lnTo>
                    <a:pt x="1330" y="182"/>
                  </a:lnTo>
                  <a:lnTo>
                    <a:pt x="1267" y="138"/>
                  </a:lnTo>
                  <a:lnTo>
                    <a:pt x="1233" y="116"/>
                  </a:lnTo>
                  <a:lnTo>
                    <a:pt x="1198" y="97"/>
                  </a:lnTo>
                  <a:lnTo>
                    <a:pt x="1165" y="78"/>
                  </a:lnTo>
                  <a:lnTo>
                    <a:pt x="1130" y="63"/>
                  </a:lnTo>
                  <a:lnTo>
                    <a:pt x="1093" y="47"/>
                  </a:lnTo>
                  <a:lnTo>
                    <a:pt x="1055" y="34"/>
                  </a:lnTo>
                  <a:lnTo>
                    <a:pt x="1017" y="25"/>
                  </a:lnTo>
                  <a:lnTo>
                    <a:pt x="976" y="15"/>
                  </a:lnTo>
                  <a:lnTo>
                    <a:pt x="936" y="9"/>
                  </a:lnTo>
                  <a:lnTo>
                    <a:pt x="895" y="3"/>
                  </a:lnTo>
                  <a:lnTo>
                    <a:pt x="854" y="0"/>
                  </a:lnTo>
                  <a:lnTo>
                    <a:pt x="813" y="0"/>
                  </a:lnTo>
                  <a:lnTo>
                    <a:pt x="813" y="0"/>
                  </a:lnTo>
                  <a:lnTo>
                    <a:pt x="772" y="0"/>
                  </a:lnTo>
                  <a:lnTo>
                    <a:pt x="728" y="3"/>
                  </a:lnTo>
                  <a:lnTo>
                    <a:pt x="688" y="9"/>
                  </a:lnTo>
                  <a:lnTo>
                    <a:pt x="650" y="15"/>
                  </a:lnTo>
                  <a:lnTo>
                    <a:pt x="609" y="25"/>
                  </a:lnTo>
                  <a:lnTo>
                    <a:pt x="571" y="34"/>
                  </a:lnTo>
                  <a:lnTo>
                    <a:pt x="534" y="47"/>
                  </a:lnTo>
                  <a:lnTo>
                    <a:pt x="496" y="63"/>
                  </a:lnTo>
                  <a:lnTo>
                    <a:pt x="461" y="78"/>
                  </a:lnTo>
                  <a:lnTo>
                    <a:pt x="424" y="97"/>
                  </a:lnTo>
                  <a:lnTo>
                    <a:pt x="392" y="116"/>
                  </a:lnTo>
                  <a:lnTo>
                    <a:pt x="358" y="138"/>
                  </a:lnTo>
                  <a:lnTo>
                    <a:pt x="295" y="182"/>
                  </a:lnTo>
                  <a:lnTo>
                    <a:pt x="239" y="235"/>
                  </a:lnTo>
                  <a:lnTo>
                    <a:pt x="185" y="292"/>
                  </a:lnTo>
                  <a:lnTo>
                    <a:pt x="138" y="354"/>
                  </a:lnTo>
                  <a:lnTo>
                    <a:pt x="119" y="389"/>
                  </a:lnTo>
                  <a:lnTo>
                    <a:pt x="97" y="424"/>
                  </a:lnTo>
                  <a:lnTo>
                    <a:pt x="82" y="458"/>
                  </a:lnTo>
                  <a:lnTo>
                    <a:pt x="63" y="493"/>
                  </a:lnTo>
                  <a:lnTo>
                    <a:pt x="50" y="530"/>
                  </a:lnTo>
                  <a:lnTo>
                    <a:pt x="37" y="568"/>
                  </a:lnTo>
                  <a:lnTo>
                    <a:pt x="25" y="606"/>
                  </a:lnTo>
                  <a:lnTo>
                    <a:pt x="15" y="646"/>
                  </a:lnTo>
                  <a:lnTo>
                    <a:pt x="9" y="687"/>
                  </a:lnTo>
                  <a:lnTo>
                    <a:pt x="6" y="728"/>
                  </a:lnTo>
                  <a:lnTo>
                    <a:pt x="3" y="769"/>
                  </a:lnTo>
                  <a:lnTo>
                    <a:pt x="0" y="810"/>
                  </a:lnTo>
                  <a:lnTo>
                    <a:pt x="0" y="810"/>
                  </a:lnTo>
                  <a:lnTo>
                    <a:pt x="3" y="851"/>
                  </a:lnTo>
                  <a:lnTo>
                    <a:pt x="6" y="891"/>
                  </a:lnTo>
                  <a:lnTo>
                    <a:pt x="9" y="932"/>
                  </a:lnTo>
                  <a:lnTo>
                    <a:pt x="15" y="970"/>
                  </a:lnTo>
                  <a:lnTo>
                    <a:pt x="25" y="1011"/>
                  </a:lnTo>
                  <a:lnTo>
                    <a:pt x="37" y="1048"/>
                  </a:lnTo>
                  <a:lnTo>
                    <a:pt x="50" y="1086"/>
                  </a:lnTo>
                  <a:lnTo>
                    <a:pt x="63" y="1124"/>
                  </a:lnTo>
                  <a:lnTo>
                    <a:pt x="82" y="1158"/>
                  </a:lnTo>
                  <a:lnTo>
                    <a:pt x="97" y="1193"/>
                  </a:lnTo>
                  <a:lnTo>
                    <a:pt x="138" y="1259"/>
                  </a:lnTo>
                  <a:lnTo>
                    <a:pt x="185" y="1322"/>
                  </a:lnTo>
                  <a:lnTo>
                    <a:pt x="239" y="1381"/>
                  </a:lnTo>
                  <a:lnTo>
                    <a:pt x="295" y="1435"/>
                  </a:lnTo>
                  <a:lnTo>
                    <a:pt x="358" y="1482"/>
                  </a:lnTo>
                  <a:lnTo>
                    <a:pt x="392" y="1504"/>
                  </a:lnTo>
                  <a:lnTo>
                    <a:pt x="424" y="1522"/>
                  </a:lnTo>
                  <a:lnTo>
                    <a:pt x="461" y="1541"/>
                  </a:lnTo>
                  <a:lnTo>
                    <a:pt x="496" y="1557"/>
                  </a:lnTo>
                  <a:lnTo>
                    <a:pt x="534" y="1573"/>
                  </a:lnTo>
                  <a:lnTo>
                    <a:pt x="571" y="1585"/>
                  </a:lnTo>
                  <a:lnTo>
                    <a:pt x="609" y="1598"/>
                  </a:lnTo>
                  <a:lnTo>
                    <a:pt x="650" y="1607"/>
                  </a:lnTo>
                  <a:lnTo>
                    <a:pt x="688" y="1614"/>
                  </a:lnTo>
                  <a:lnTo>
                    <a:pt x="728" y="1620"/>
                  </a:lnTo>
                  <a:lnTo>
                    <a:pt x="772" y="1623"/>
                  </a:lnTo>
                  <a:lnTo>
                    <a:pt x="813" y="1623"/>
                  </a:lnTo>
                  <a:close/>
                  <a:moveTo>
                    <a:pt x="813" y="84"/>
                  </a:moveTo>
                  <a:lnTo>
                    <a:pt x="813" y="84"/>
                  </a:lnTo>
                  <a:lnTo>
                    <a:pt x="888" y="91"/>
                  </a:lnTo>
                  <a:lnTo>
                    <a:pt x="961" y="100"/>
                  </a:lnTo>
                  <a:lnTo>
                    <a:pt x="1030" y="119"/>
                  </a:lnTo>
                  <a:lnTo>
                    <a:pt x="1096" y="141"/>
                  </a:lnTo>
                  <a:lnTo>
                    <a:pt x="1162" y="172"/>
                  </a:lnTo>
                  <a:lnTo>
                    <a:pt x="1220" y="207"/>
                  </a:lnTo>
                  <a:lnTo>
                    <a:pt x="1274" y="251"/>
                  </a:lnTo>
                  <a:lnTo>
                    <a:pt x="1327" y="295"/>
                  </a:lnTo>
                  <a:lnTo>
                    <a:pt x="1374" y="348"/>
                  </a:lnTo>
                  <a:lnTo>
                    <a:pt x="1415" y="401"/>
                  </a:lnTo>
                  <a:lnTo>
                    <a:pt x="1449" y="461"/>
                  </a:lnTo>
                  <a:lnTo>
                    <a:pt x="1481" y="527"/>
                  </a:lnTo>
                  <a:lnTo>
                    <a:pt x="1503" y="593"/>
                  </a:lnTo>
                  <a:lnTo>
                    <a:pt x="1522" y="662"/>
                  </a:lnTo>
                  <a:lnTo>
                    <a:pt x="1531" y="734"/>
                  </a:lnTo>
                  <a:lnTo>
                    <a:pt x="1537" y="810"/>
                  </a:lnTo>
                  <a:lnTo>
                    <a:pt x="1537" y="810"/>
                  </a:lnTo>
                  <a:lnTo>
                    <a:pt x="1531" y="885"/>
                  </a:lnTo>
                  <a:lnTo>
                    <a:pt x="1522" y="954"/>
                  </a:lnTo>
                  <a:lnTo>
                    <a:pt x="1503" y="1023"/>
                  </a:lnTo>
                  <a:lnTo>
                    <a:pt x="1481" y="1089"/>
                  </a:lnTo>
                  <a:lnTo>
                    <a:pt x="1449" y="1152"/>
                  </a:lnTo>
                  <a:lnTo>
                    <a:pt x="1415" y="1215"/>
                  </a:lnTo>
                  <a:lnTo>
                    <a:pt x="1374" y="1268"/>
                  </a:lnTo>
                  <a:lnTo>
                    <a:pt x="1327" y="1322"/>
                  </a:lnTo>
                  <a:lnTo>
                    <a:pt x="1274" y="1369"/>
                  </a:lnTo>
                  <a:lnTo>
                    <a:pt x="1220" y="1410"/>
                  </a:lnTo>
                  <a:lnTo>
                    <a:pt x="1162" y="1447"/>
                  </a:lnTo>
                  <a:lnTo>
                    <a:pt x="1096" y="1479"/>
                  </a:lnTo>
                  <a:lnTo>
                    <a:pt x="1030" y="1500"/>
                  </a:lnTo>
                  <a:lnTo>
                    <a:pt x="961" y="1519"/>
                  </a:lnTo>
                  <a:lnTo>
                    <a:pt x="888" y="1532"/>
                  </a:lnTo>
                  <a:lnTo>
                    <a:pt x="851" y="1535"/>
                  </a:lnTo>
                  <a:lnTo>
                    <a:pt x="813" y="1535"/>
                  </a:lnTo>
                  <a:lnTo>
                    <a:pt x="813" y="1535"/>
                  </a:lnTo>
                  <a:lnTo>
                    <a:pt x="775" y="1535"/>
                  </a:lnTo>
                  <a:lnTo>
                    <a:pt x="741" y="1532"/>
                  </a:lnTo>
                  <a:lnTo>
                    <a:pt x="669" y="1519"/>
                  </a:lnTo>
                  <a:lnTo>
                    <a:pt x="600" y="1500"/>
                  </a:lnTo>
                  <a:lnTo>
                    <a:pt x="534" y="1479"/>
                  </a:lnTo>
                  <a:lnTo>
                    <a:pt x="471" y="1447"/>
                  </a:lnTo>
                  <a:lnTo>
                    <a:pt x="411" y="1410"/>
                  </a:lnTo>
                  <a:lnTo>
                    <a:pt x="355" y="1369"/>
                  </a:lnTo>
                  <a:lnTo>
                    <a:pt x="301" y="1322"/>
                  </a:lnTo>
                  <a:lnTo>
                    <a:pt x="254" y="1268"/>
                  </a:lnTo>
                  <a:lnTo>
                    <a:pt x="213" y="1215"/>
                  </a:lnTo>
                  <a:lnTo>
                    <a:pt x="176" y="1152"/>
                  </a:lnTo>
                  <a:lnTo>
                    <a:pt x="147" y="1089"/>
                  </a:lnTo>
                  <a:lnTo>
                    <a:pt x="122" y="1023"/>
                  </a:lnTo>
                  <a:lnTo>
                    <a:pt x="103" y="954"/>
                  </a:lnTo>
                  <a:lnTo>
                    <a:pt x="91" y="885"/>
                  </a:lnTo>
                  <a:lnTo>
                    <a:pt x="88" y="848"/>
                  </a:lnTo>
                  <a:lnTo>
                    <a:pt x="88" y="810"/>
                  </a:lnTo>
                  <a:lnTo>
                    <a:pt x="88" y="810"/>
                  </a:lnTo>
                  <a:lnTo>
                    <a:pt x="88" y="772"/>
                  </a:lnTo>
                  <a:lnTo>
                    <a:pt x="91" y="734"/>
                  </a:lnTo>
                  <a:lnTo>
                    <a:pt x="103" y="662"/>
                  </a:lnTo>
                  <a:lnTo>
                    <a:pt x="122" y="593"/>
                  </a:lnTo>
                  <a:lnTo>
                    <a:pt x="147" y="527"/>
                  </a:lnTo>
                  <a:lnTo>
                    <a:pt x="176" y="461"/>
                  </a:lnTo>
                  <a:lnTo>
                    <a:pt x="213" y="401"/>
                  </a:lnTo>
                  <a:lnTo>
                    <a:pt x="254" y="348"/>
                  </a:lnTo>
                  <a:lnTo>
                    <a:pt x="301" y="295"/>
                  </a:lnTo>
                  <a:lnTo>
                    <a:pt x="355" y="251"/>
                  </a:lnTo>
                  <a:lnTo>
                    <a:pt x="411" y="207"/>
                  </a:lnTo>
                  <a:lnTo>
                    <a:pt x="471" y="172"/>
                  </a:lnTo>
                  <a:lnTo>
                    <a:pt x="534" y="141"/>
                  </a:lnTo>
                  <a:lnTo>
                    <a:pt x="600" y="119"/>
                  </a:lnTo>
                  <a:lnTo>
                    <a:pt x="669" y="100"/>
                  </a:lnTo>
                  <a:lnTo>
                    <a:pt x="741" y="91"/>
                  </a:lnTo>
                  <a:lnTo>
                    <a:pt x="813" y="84"/>
                  </a:lnTo>
                  <a:close/>
                </a:path>
              </a:pathLst>
            </a:custGeom>
            <a:grpFill/>
            <a:ln>
              <a:noFill/>
            </a:ln>
            <a:effectLst/>
          </p:spPr>
          <p:txBody>
            <a:bodyPr wrap="none" anchor="ctr"/>
            <a:lstStyle/>
            <a:p>
              <a:pPr>
                <a:defRPr/>
              </a:pPr>
              <a:endParaRPr lang="en-US" sz="1377">
                <a:solidFill>
                  <a:srgbClr val="505050"/>
                </a:solidFill>
                <a:latin typeface="Segoe UI Semilight"/>
              </a:endParaRPr>
            </a:p>
          </p:txBody>
        </p:sp>
      </p:grpSp>
    </p:spTree>
    <p:extLst>
      <p:ext uri="{BB962C8B-B14F-4D97-AF65-F5344CB8AC3E}">
        <p14:creationId xmlns:p14="http://schemas.microsoft.com/office/powerpoint/2010/main" val="1503273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animEffect transition="in" filter="fade">
                                      <p:cBhvr>
                                        <p:cTn id="9" dur="750"/>
                                        <p:tgtEl>
                                          <p:spTgt spid="30"/>
                                        </p:tgtEl>
                                      </p:cBhvr>
                                    </p:animEffect>
                                  </p:childTnLst>
                                </p:cTn>
                              </p:par>
                              <p:par>
                                <p:cTn id="10" presetID="10" presetClass="entr" presetSubtype="0" fill="hold" nodeType="with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750"/>
                                        <p:tgtEl>
                                          <p:spTgt spid="34"/>
                                        </p:tgtEl>
                                      </p:cBhvr>
                                    </p:animEffect>
                                  </p:childTnLst>
                                </p:cTn>
                              </p:par>
                              <p:par>
                                <p:cTn id="13" presetID="10" presetClass="entr" presetSubtype="0" fill="hold" nodeType="with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750"/>
                                        <p:tgtEl>
                                          <p:spTgt spid="38"/>
                                        </p:tgtEl>
                                      </p:cBhvr>
                                    </p:animEffect>
                                  </p:childTnLst>
                                </p:cTn>
                              </p:par>
                              <p:par>
                                <p:cTn id="16" presetID="10" presetClass="entr" presetSubtype="0" fill="hold" nodeType="withEffect">
                                  <p:stCondLst>
                                    <p:cond delay="0"/>
                                  </p:stCondLst>
                                  <p:childTnLst>
                                    <p:set>
                                      <p:cBhvr>
                                        <p:cTn id="17" dur="1" fill="hold">
                                          <p:stCondLst>
                                            <p:cond delay="0"/>
                                          </p:stCondLst>
                                        </p:cTn>
                                        <p:tgtEl>
                                          <p:spTgt spid="42"/>
                                        </p:tgtEl>
                                        <p:attrNameLst>
                                          <p:attrName>style.visibility</p:attrName>
                                        </p:attrNameLst>
                                      </p:cBhvr>
                                      <p:to>
                                        <p:strVal val="visible"/>
                                      </p:to>
                                    </p:set>
                                    <p:animEffect transition="in" filter="fade">
                                      <p:cBhvr>
                                        <p:cTn id="18" dur="75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Vault Data Type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9437" y="1655090"/>
            <a:ext cx="2242256" cy="2242256"/>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31694" y="1323344"/>
            <a:ext cx="829433" cy="829433"/>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31694" y="2358047"/>
            <a:ext cx="829433" cy="829433"/>
          </a:xfrm>
          <a:prstGeom prst="rect">
            <a:avLst/>
          </a:prstGeom>
        </p:spPr>
      </p:pic>
      <p:sp>
        <p:nvSpPr>
          <p:cNvPr id="9" name="TextBox 8"/>
          <p:cNvSpPr txBox="1"/>
          <p:nvPr/>
        </p:nvSpPr>
        <p:spPr>
          <a:xfrm>
            <a:off x="3461126" y="1322691"/>
            <a:ext cx="5292248" cy="664797"/>
          </a:xfrm>
          <a:prstGeom prst="rect">
            <a:avLst/>
          </a:prstGeom>
          <a:noFill/>
        </p:spPr>
        <p:txBody>
          <a:bodyPr wrap="square" lIns="0" tIns="0" rIns="0" bIns="0" rtlCol="0">
            <a:spAutoFit/>
          </a:bodyPr>
          <a:lstStyle/>
          <a:p>
            <a:pPr>
              <a:lnSpc>
                <a:spcPct val="90000"/>
              </a:lnSpc>
              <a:spcBef>
                <a:spcPct val="20000"/>
              </a:spcBef>
              <a:buSzPct val="80000"/>
            </a:pPr>
            <a:r>
              <a:rPr lang="en-US" sz="2400" b="1" dirty="0">
                <a:gradFill>
                  <a:gsLst>
                    <a:gs pos="0">
                      <a:srgbClr val="292929">
                        <a:lumMod val="90000"/>
                        <a:lumOff val="10000"/>
                      </a:srgbClr>
                    </a:gs>
                    <a:gs pos="86000">
                      <a:srgbClr val="292929">
                        <a:lumMod val="90000"/>
                        <a:lumOff val="10000"/>
                      </a:srgbClr>
                    </a:gs>
                  </a:gsLst>
                  <a:lin ang="5400000" scaled="0"/>
                </a:gradFill>
              </a:rPr>
              <a:t>Keys</a:t>
            </a:r>
            <a:r>
              <a:rPr lang="en-US" sz="2400" dirty="0">
                <a:gradFill>
                  <a:gsLst>
                    <a:gs pos="0">
                      <a:srgbClr val="292929">
                        <a:lumMod val="90000"/>
                        <a:lumOff val="10000"/>
                      </a:srgbClr>
                    </a:gs>
                    <a:gs pos="86000">
                      <a:srgbClr val="292929">
                        <a:lumMod val="90000"/>
                        <a:lumOff val="10000"/>
                      </a:srgbClr>
                    </a:gs>
                  </a:gsLst>
                  <a:lin ang="5400000" scaled="0"/>
                </a:gradFill>
              </a:rPr>
              <a:t>: Managed cryptographic key service. Keys are irretrievable.</a:t>
            </a:r>
          </a:p>
        </p:txBody>
      </p:sp>
      <p:sp>
        <p:nvSpPr>
          <p:cNvPr id="10" name="TextBox 9"/>
          <p:cNvSpPr txBox="1"/>
          <p:nvPr/>
        </p:nvSpPr>
        <p:spPr>
          <a:xfrm>
            <a:off x="3461126" y="2359525"/>
            <a:ext cx="5292248" cy="997196"/>
          </a:xfrm>
          <a:prstGeom prst="rect">
            <a:avLst/>
          </a:prstGeom>
          <a:noFill/>
        </p:spPr>
        <p:txBody>
          <a:bodyPr wrap="square" lIns="0" tIns="0" rIns="0" bIns="0" rtlCol="0">
            <a:spAutoFit/>
          </a:bodyPr>
          <a:lstStyle/>
          <a:p>
            <a:pPr>
              <a:lnSpc>
                <a:spcPct val="90000"/>
              </a:lnSpc>
              <a:spcBef>
                <a:spcPct val="20000"/>
              </a:spcBef>
              <a:buSzPct val="80000"/>
            </a:pPr>
            <a:r>
              <a:rPr lang="en-US" sz="2400" b="1" dirty="0">
                <a:gradFill>
                  <a:gsLst>
                    <a:gs pos="0">
                      <a:srgbClr val="292929">
                        <a:lumMod val="90000"/>
                        <a:lumOff val="10000"/>
                      </a:srgbClr>
                    </a:gs>
                    <a:gs pos="86000">
                      <a:srgbClr val="292929">
                        <a:lumMod val="90000"/>
                        <a:lumOff val="10000"/>
                      </a:srgbClr>
                    </a:gs>
                  </a:gsLst>
                  <a:lin ang="5400000" scaled="0"/>
                </a:gradFill>
              </a:rPr>
              <a:t>Secrets</a:t>
            </a:r>
            <a:r>
              <a:rPr lang="en-US" sz="2400" dirty="0">
                <a:gradFill>
                  <a:gsLst>
                    <a:gs pos="0">
                      <a:srgbClr val="292929">
                        <a:lumMod val="90000"/>
                        <a:lumOff val="10000"/>
                      </a:srgbClr>
                    </a:gs>
                    <a:gs pos="86000">
                      <a:srgbClr val="292929">
                        <a:lumMod val="90000"/>
                        <a:lumOff val="10000"/>
                      </a:srgbClr>
                    </a:gs>
                  </a:gsLst>
                  <a:lin ang="5400000" scaled="0"/>
                </a:gradFill>
              </a:rPr>
              <a:t>: Encrypted data values. Clients with vault access can read secret values.</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31693" y="3556560"/>
            <a:ext cx="829433" cy="829433"/>
          </a:xfrm>
          <a:prstGeom prst="rect">
            <a:avLst/>
          </a:prstGeom>
        </p:spPr>
      </p:pic>
      <p:sp>
        <p:nvSpPr>
          <p:cNvPr id="12" name="TextBox 11"/>
          <p:cNvSpPr txBox="1"/>
          <p:nvPr/>
        </p:nvSpPr>
        <p:spPr>
          <a:xfrm>
            <a:off x="3461125" y="3558038"/>
            <a:ext cx="5292248" cy="1329595"/>
          </a:xfrm>
          <a:prstGeom prst="rect">
            <a:avLst/>
          </a:prstGeom>
          <a:noFill/>
        </p:spPr>
        <p:txBody>
          <a:bodyPr wrap="square" lIns="0" tIns="0" rIns="0" bIns="0" rtlCol="0">
            <a:spAutoFit/>
          </a:bodyPr>
          <a:lstStyle/>
          <a:p>
            <a:pPr>
              <a:lnSpc>
                <a:spcPct val="90000"/>
              </a:lnSpc>
              <a:spcBef>
                <a:spcPct val="20000"/>
              </a:spcBef>
              <a:buSzPct val="80000"/>
            </a:pPr>
            <a:r>
              <a:rPr lang="en-US" sz="2400" b="1" dirty="0">
                <a:gradFill>
                  <a:gsLst>
                    <a:gs pos="0">
                      <a:srgbClr val="292929">
                        <a:lumMod val="90000"/>
                        <a:lumOff val="10000"/>
                      </a:srgbClr>
                    </a:gs>
                    <a:gs pos="86000">
                      <a:srgbClr val="292929">
                        <a:lumMod val="90000"/>
                        <a:lumOff val="10000"/>
                      </a:srgbClr>
                    </a:gs>
                  </a:gsLst>
                  <a:lin ang="5400000" scaled="0"/>
                </a:gradFill>
              </a:rPr>
              <a:t>Certificates*</a:t>
            </a:r>
            <a:r>
              <a:rPr lang="en-US" sz="2400" dirty="0">
                <a:gradFill>
                  <a:gsLst>
                    <a:gs pos="0">
                      <a:srgbClr val="292929">
                        <a:lumMod val="90000"/>
                        <a:lumOff val="10000"/>
                      </a:srgbClr>
                    </a:gs>
                    <a:gs pos="86000">
                      <a:srgbClr val="292929">
                        <a:lumMod val="90000"/>
                        <a:lumOff val="10000"/>
                      </a:srgbClr>
                    </a:gs>
                  </a:gsLst>
                  <a:lin ang="5400000" scaled="0"/>
                </a:gradFill>
              </a:rPr>
              <a:t>: Certificates stored as </a:t>
            </a:r>
            <a:r>
              <a:rPr lang="en-US" sz="2400" dirty="0" err="1">
                <a:gradFill>
                  <a:gsLst>
                    <a:gs pos="0">
                      <a:srgbClr val="292929">
                        <a:lumMod val="90000"/>
                        <a:lumOff val="10000"/>
                      </a:srgbClr>
                    </a:gs>
                    <a:gs pos="86000">
                      <a:srgbClr val="292929">
                        <a:lumMod val="90000"/>
                        <a:lumOff val="10000"/>
                      </a:srgbClr>
                    </a:gs>
                  </a:gsLst>
                  <a:lin ang="5400000" scaled="0"/>
                </a:gradFill>
              </a:rPr>
              <a:t>json</a:t>
            </a:r>
            <a:r>
              <a:rPr lang="en-US" sz="2400" dirty="0">
                <a:gradFill>
                  <a:gsLst>
                    <a:gs pos="0">
                      <a:srgbClr val="292929">
                        <a:lumMod val="90000"/>
                        <a:lumOff val="10000"/>
                      </a:srgbClr>
                    </a:gs>
                    <a:gs pos="86000">
                      <a:srgbClr val="292929">
                        <a:lumMod val="90000"/>
                        <a:lumOff val="10000"/>
                      </a:srgbClr>
                    </a:gs>
                  </a:gsLst>
                  <a:lin ang="5400000" scaled="0"/>
                </a:gradFill>
              </a:rPr>
              <a:t>-wrapped secrets instead of keys so they can be retrieved for deployments to virtual machines.</a:t>
            </a:r>
          </a:p>
        </p:txBody>
      </p:sp>
    </p:spTree>
    <p:extLst>
      <p:ext uri="{BB962C8B-B14F-4D97-AF65-F5344CB8AC3E}">
        <p14:creationId xmlns:p14="http://schemas.microsoft.com/office/powerpoint/2010/main" val="65741969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3416F6-87A9-435C-947A-D76BB5DC28AD}"/>
              </a:ext>
            </a:extLst>
          </p:cNvPr>
          <p:cNvSpPr>
            <a:spLocks noGrp="1"/>
          </p:cNvSpPr>
          <p:nvPr>
            <p:ph type="title"/>
          </p:nvPr>
        </p:nvSpPr>
        <p:spPr/>
        <p:txBody>
          <a:bodyPr/>
          <a:lstStyle/>
          <a:p>
            <a:r>
              <a:rPr lang="en-US" dirty="0"/>
              <a:t>Resource Configuration</a:t>
            </a:r>
          </a:p>
        </p:txBody>
      </p:sp>
      <p:pic>
        <p:nvPicPr>
          <p:cNvPr id="4" name="Graphic 3">
            <a:extLst>
              <a:ext uri="{FF2B5EF4-FFF2-40B4-BE49-F238E27FC236}">
                <a16:creationId xmlns:a16="http://schemas.microsoft.com/office/drawing/2014/main" id="{DE7FD504-BAFB-46C4-B0A9-365832D9A1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62600" y="666750"/>
            <a:ext cx="2416647" cy="2416647"/>
          </a:xfrm>
          <a:prstGeom prst="rect">
            <a:avLst/>
          </a:prstGeom>
        </p:spPr>
      </p:pic>
    </p:spTree>
    <p:extLst>
      <p:ext uri="{BB962C8B-B14F-4D97-AF65-F5344CB8AC3E}">
        <p14:creationId xmlns:p14="http://schemas.microsoft.com/office/powerpoint/2010/main" val="406502307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F467A-85FF-409B-BBCD-59722799D3F0}"/>
              </a:ext>
            </a:extLst>
          </p:cNvPr>
          <p:cNvSpPr>
            <a:spLocks noGrp="1"/>
          </p:cNvSpPr>
          <p:nvPr>
            <p:ph type="title"/>
          </p:nvPr>
        </p:nvSpPr>
        <p:spPr/>
        <p:txBody>
          <a:bodyPr/>
          <a:lstStyle/>
          <a:p>
            <a:r>
              <a:rPr lang="en-US" dirty="0"/>
              <a:t>RBAC Scopes &amp; Inheritance</a:t>
            </a:r>
          </a:p>
        </p:txBody>
      </p:sp>
      <p:sp>
        <p:nvSpPr>
          <p:cNvPr id="3" name="Rounded Rectangle 29">
            <a:extLst>
              <a:ext uri="{FF2B5EF4-FFF2-40B4-BE49-F238E27FC236}">
                <a16:creationId xmlns:a16="http://schemas.microsoft.com/office/drawing/2014/main" id="{561932AF-6931-42F9-8DCC-CF5D4E7C1664}"/>
              </a:ext>
            </a:extLst>
          </p:cNvPr>
          <p:cNvSpPr/>
          <p:nvPr/>
        </p:nvSpPr>
        <p:spPr bwMode="auto">
          <a:xfrm>
            <a:off x="3151041" y="2690431"/>
            <a:ext cx="1870513" cy="1665515"/>
          </a:xfrm>
          <a:prstGeom prst="roundRect">
            <a:avLst/>
          </a:prstGeom>
          <a:solidFill>
            <a:schemeClr val="accent6"/>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100000"/>
              </a:lnSpc>
              <a:spcBef>
                <a:spcPct val="0"/>
              </a:spcBef>
              <a:spcAft>
                <a:spcPct val="0"/>
              </a:spcAft>
              <a:buClrTx/>
              <a:buSzTx/>
              <a:buFontTx/>
              <a:buNone/>
              <a:tabLst/>
              <a:defRPr/>
            </a:pPr>
            <a:endParaRPr kumimoji="0" lang="en-US" sz="16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 name="Rounded Rectangle 28">
            <a:extLst>
              <a:ext uri="{FF2B5EF4-FFF2-40B4-BE49-F238E27FC236}">
                <a16:creationId xmlns:a16="http://schemas.microsoft.com/office/drawing/2014/main" id="{64AB5F42-A62F-43BD-AA3E-56F0B32D844C}"/>
              </a:ext>
            </a:extLst>
          </p:cNvPr>
          <p:cNvSpPr/>
          <p:nvPr/>
        </p:nvSpPr>
        <p:spPr bwMode="auto">
          <a:xfrm>
            <a:off x="1343172" y="2686042"/>
            <a:ext cx="1460665" cy="1665515"/>
          </a:xfrm>
          <a:prstGeom prst="roundRect">
            <a:avLst/>
          </a:prstGeom>
          <a:solidFill>
            <a:schemeClr val="accent6"/>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100000"/>
              </a:lnSpc>
              <a:spcBef>
                <a:spcPct val="0"/>
              </a:spcBef>
              <a:spcAft>
                <a:spcPct val="0"/>
              </a:spcAft>
              <a:buClrTx/>
              <a:buSzTx/>
              <a:buFontTx/>
              <a:buNone/>
              <a:tabLst/>
              <a:defRPr/>
            </a:pPr>
            <a:endParaRPr kumimoji="0" lang="en-US" sz="16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TextBox 12">
            <a:extLst>
              <a:ext uri="{FF2B5EF4-FFF2-40B4-BE49-F238E27FC236}">
                <a16:creationId xmlns:a16="http://schemas.microsoft.com/office/drawing/2014/main" id="{C0B30DC5-4AEC-4274-92AD-C900F316AA1D}"/>
              </a:ext>
            </a:extLst>
          </p:cNvPr>
          <p:cNvSpPr txBox="1"/>
          <p:nvPr/>
        </p:nvSpPr>
        <p:spPr>
          <a:xfrm>
            <a:off x="1559289" y="3956757"/>
            <a:ext cx="314189"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Web</a:t>
            </a:r>
          </a:p>
        </p:txBody>
      </p:sp>
      <p:sp>
        <p:nvSpPr>
          <p:cNvPr id="14" name="TextBox 13">
            <a:extLst>
              <a:ext uri="{FF2B5EF4-FFF2-40B4-BE49-F238E27FC236}">
                <a16:creationId xmlns:a16="http://schemas.microsoft.com/office/drawing/2014/main" id="{B4EA701F-CAB5-4DAE-96C1-81FF4B9A8F8A}"/>
              </a:ext>
            </a:extLst>
          </p:cNvPr>
          <p:cNvSpPr txBox="1"/>
          <p:nvPr/>
        </p:nvSpPr>
        <p:spPr>
          <a:xfrm>
            <a:off x="2267018" y="3956757"/>
            <a:ext cx="269304"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SQL</a:t>
            </a:r>
          </a:p>
        </p:txBody>
      </p:sp>
      <p:sp>
        <p:nvSpPr>
          <p:cNvPr id="15" name="TextBox 14">
            <a:extLst>
              <a:ext uri="{FF2B5EF4-FFF2-40B4-BE49-F238E27FC236}">
                <a16:creationId xmlns:a16="http://schemas.microsoft.com/office/drawing/2014/main" id="{4495FA9A-D4D8-4649-B530-7A16BA9625F5}"/>
              </a:ext>
            </a:extLst>
          </p:cNvPr>
          <p:cNvSpPr txBox="1"/>
          <p:nvPr/>
        </p:nvSpPr>
        <p:spPr>
          <a:xfrm>
            <a:off x="3379417" y="3974569"/>
            <a:ext cx="234038"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VM</a:t>
            </a:r>
          </a:p>
        </p:txBody>
      </p:sp>
      <p:sp>
        <p:nvSpPr>
          <p:cNvPr id="16" name="TextBox 15">
            <a:extLst>
              <a:ext uri="{FF2B5EF4-FFF2-40B4-BE49-F238E27FC236}">
                <a16:creationId xmlns:a16="http://schemas.microsoft.com/office/drawing/2014/main" id="{411EDCFC-7FBD-48A7-855F-5982D09E9980}"/>
              </a:ext>
            </a:extLst>
          </p:cNvPr>
          <p:cNvSpPr txBox="1"/>
          <p:nvPr/>
        </p:nvSpPr>
        <p:spPr>
          <a:xfrm>
            <a:off x="3905965" y="3978840"/>
            <a:ext cx="251672"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NIC</a:t>
            </a:r>
          </a:p>
        </p:txBody>
      </p:sp>
      <p:sp>
        <p:nvSpPr>
          <p:cNvPr id="17" name="TextBox 16">
            <a:extLst>
              <a:ext uri="{FF2B5EF4-FFF2-40B4-BE49-F238E27FC236}">
                <a16:creationId xmlns:a16="http://schemas.microsoft.com/office/drawing/2014/main" id="{AD829A94-2010-450E-A19F-376F9AB9CCDA}"/>
              </a:ext>
            </a:extLst>
          </p:cNvPr>
          <p:cNvSpPr txBox="1"/>
          <p:nvPr/>
        </p:nvSpPr>
        <p:spPr>
          <a:xfrm>
            <a:off x="4485375" y="3978788"/>
            <a:ext cx="352661"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Disks</a:t>
            </a:r>
          </a:p>
        </p:txBody>
      </p:sp>
      <p:cxnSp>
        <p:nvCxnSpPr>
          <p:cNvPr id="18" name="Elbow Connector 31">
            <a:extLst>
              <a:ext uri="{FF2B5EF4-FFF2-40B4-BE49-F238E27FC236}">
                <a16:creationId xmlns:a16="http://schemas.microsoft.com/office/drawing/2014/main" id="{269A7E0D-DCAD-474E-8E41-60823D63FB3D}"/>
              </a:ext>
            </a:extLst>
          </p:cNvPr>
          <p:cNvCxnSpPr>
            <a:cxnSpLocks/>
          </p:cNvCxnSpPr>
          <p:nvPr/>
        </p:nvCxnSpPr>
        <p:spPr>
          <a:xfrm rot="5400000">
            <a:off x="1753396" y="3239572"/>
            <a:ext cx="218450" cy="342734"/>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Elbow Connector 33">
            <a:extLst>
              <a:ext uri="{FF2B5EF4-FFF2-40B4-BE49-F238E27FC236}">
                <a16:creationId xmlns:a16="http://schemas.microsoft.com/office/drawing/2014/main" id="{E01ADADC-7E53-4DFB-8BCA-52DD15AD9F78}"/>
              </a:ext>
            </a:extLst>
          </p:cNvPr>
          <p:cNvCxnSpPr>
            <a:cxnSpLocks/>
          </p:cNvCxnSpPr>
          <p:nvPr/>
        </p:nvCxnSpPr>
        <p:spPr>
          <a:xfrm rot="16200000" flipH="1">
            <a:off x="2100325" y="3235376"/>
            <a:ext cx="218450" cy="351125"/>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Elbow Connector 35">
            <a:extLst>
              <a:ext uri="{FF2B5EF4-FFF2-40B4-BE49-F238E27FC236}">
                <a16:creationId xmlns:a16="http://schemas.microsoft.com/office/drawing/2014/main" id="{50A70E3E-1BF0-432D-984C-8AA5E4F22C22}"/>
              </a:ext>
            </a:extLst>
          </p:cNvPr>
          <p:cNvCxnSpPr>
            <a:cxnSpLocks/>
          </p:cNvCxnSpPr>
          <p:nvPr/>
        </p:nvCxnSpPr>
        <p:spPr>
          <a:xfrm rot="5400000">
            <a:off x="3652787" y="3156343"/>
            <a:ext cx="237357" cy="549656"/>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Elbow Connector 37">
            <a:extLst>
              <a:ext uri="{FF2B5EF4-FFF2-40B4-BE49-F238E27FC236}">
                <a16:creationId xmlns:a16="http://schemas.microsoft.com/office/drawing/2014/main" id="{0C485604-1321-4DF1-B108-41CAE4B7EA2C}"/>
              </a:ext>
            </a:extLst>
          </p:cNvPr>
          <p:cNvCxnSpPr>
            <a:cxnSpLocks/>
          </p:cNvCxnSpPr>
          <p:nvPr/>
        </p:nvCxnSpPr>
        <p:spPr>
          <a:xfrm rot="5400000">
            <a:off x="3923019" y="3435624"/>
            <a:ext cx="246406" cy="143"/>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Elbow Connector 39">
            <a:extLst>
              <a:ext uri="{FF2B5EF4-FFF2-40B4-BE49-F238E27FC236}">
                <a16:creationId xmlns:a16="http://schemas.microsoft.com/office/drawing/2014/main" id="{6B2B92A0-CEDB-4B81-AE16-91BF08C86E43}"/>
              </a:ext>
            </a:extLst>
          </p:cNvPr>
          <p:cNvCxnSpPr>
            <a:cxnSpLocks/>
          </p:cNvCxnSpPr>
          <p:nvPr/>
        </p:nvCxnSpPr>
        <p:spPr>
          <a:xfrm rot="16200000" flipH="1">
            <a:off x="4223478" y="3135308"/>
            <a:ext cx="242489" cy="596858"/>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Elbow Connector 46">
            <a:extLst>
              <a:ext uri="{FF2B5EF4-FFF2-40B4-BE49-F238E27FC236}">
                <a16:creationId xmlns:a16="http://schemas.microsoft.com/office/drawing/2014/main" id="{CF7E7C03-520C-48A5-BBED-7C2A4E266A19}"/>
              </a:ext>
            </a:extLst>
          </p:cNvPr>
          <p:cNvCxnSpPr>
            <a:cxnSpLocks/>
            <a:endCxn id="4" idx="0"/>
          </p:cNvCxnSpPr>
          <p:nvPr/>
        </p:nvCxnSpPr>
        <p:spPr>
          <a:xfrm rot="5400000">
            <a:off x="2271990" y="1909516"/>
            <a:ext cx="578041" cy="975011"/>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Elbow Connector 48">
            <a:extLst>
              <a:ext uri="{FF2B5EF4-FFF2-40B4-BE49-F238E27FC236}">
                <a16:creationId xmlns:a16="http://schemas.microsoft.com/office/drawing/2014/main" id="{7070B467-85EF-42BA-A2E5-C8028F447232}"/>
              </a:ext>
            </a:extLst>
          </p:cNvPr>
          <p:cNvCxnSpPr>
            <a:cxnSpLocks/>
            <a:endCxn id="3" idx="0"/>
          </p:cNvCxnSpPr>
          <p:nvPr/>
        </p:nvCxnSpPr>
        <p:spPr>
          <a:xfrm rot="16200000" flipH="1">
            <a:off x="3276192" y="1880325"/>
            <a:ext cx="582429" cy="1037783"/>
          </a:xfrm>
          <a:prstGeom prst="bentConnector3">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Down Arrow 49">
            <a:extLst>
              <a:ext uri="{FF2B5EF4-FFF2-40B4-BE49-F238E27FC236}">
                <a16:creationId xmlns:a16="http://schemas.microsoft.com/office/drawing/2014/main" id="{E73F8095-E63F-4D5C-A73B-BCF28DEC511D}"/>
              </a:ext>
            </a:extLst>
          </p:cNvPr>
          <p:cNvSpPr/>
          <p:nvPr/>
        </p:nvSpPr>
        <p:spPr bwMode="auto">
          <a:xfrm>
            <a:off x="5494108" y="1797714"/>
            <a:ext cx="356260" cy="2663042"/>
          </a:xfrm>
          <a:prstGeom prst="dow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marL="0" marR="0" lvl="0" indent="0" algn="ctr" defTabSz="685574" rtl="0" eaLnBrk="1" fontAlgn="base" latinLnBrk="0" hangingPunct="1">
              <a:lnSpc>
                <a:spcPct val="100000"/>
              </a:lnSpc>
              <a:spcBef>
                <a:spcPct val="0"/>
              </a:spcBef>
              <a:spcAft>
                <a:spcPct val="0"/>
              </a:spcAft>
              <a:buClrTx/>
              <a:buSzTx/>
              <a:buFontTx/>
              <a:buNone/>
              <a:tabLst/>
              <a:defRPr/>
            </a:pPr>
            <a:endParaRPr kumimoji="0" lang="en-US" sz="16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6" name="TextBox 25">
            <a:extLst>
              <a:ext uri="{FF2B5EF4-FFF2-40B4-BE49-F238E27FC236}">
                <a16:creationId xmlns:a16="http://schemas.microsoft.com/office/drawing/2014/main" id="{D5D69957-90D9-40F3-B961-B6259ABB0E60}"/>
              </a:ext>
            </a:extLst>
          </p:cNvPr>
          <p:cNvSpPr txBox="1"/>
          <p:nvPr/>
        </p:nvSpPr>
        <p:spPr>
          <a:xfrm rot="16200000">
            <a:off x="4264777" y="2884995"/>
            <a:ext cx="2226623" cy="249299"/>
          </a:xfrm>
          <a:prstGeom prst="rect">
            <a:avLst/>
          </a:prstGeom>
          <a:noFill/>
        </p:spPr>
        <p:txBody>
          <a:bodyPr wrap="squar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8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Access is Inherited</a:t>
            </a:r>
          </a:p>
        </p:txBody>
      </p:sp>
      <p:pic>
        <p:nvPicPr>
          <p:cNvPr id="27" name="Picture 26">
            <a:extLst>
              <a:ext uri="{FF2B5EF4-FFF2-40B4-BE49-F238E27FC236}">
                <a16:creationId xmlns:a16="http://schemas.microsoft.com/office/drawing/2014/main" id="{5E8365CF-75D7-476B-926B-BCDD833CC8B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91" y="1760159"/>
            <a:ext cx="407264" cy="407264"/>
          </a:xfrm>
          <a:prstGeom prst="rect">
            <a:avLst/>
          </a:prstGeom>
        </p:spPr>
      </p:pic>
      <p:pic>
        <p:nvPicPr>
          <p:cNvPr id="28" name="Picture 27">
            <a:extLst>
              <a:ext uri="{FF2B5EF4-FFF2-40B4-BE49-F238E27FC236}">
                <a16:creationId xmlns:a16="http://schemas.microsoft.com/office/drawing/2014/main" id="{DA3E4A2B-F203-42AF-9828-198216EF778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91000" y="1759681"/>
            <a:ext cx="407264" cy="407264"/>
          </a:xfrm>
          <a:prstGeom prst="rect">
            <a:avLst/>
          </a:prstGeom>
        </p:spPr>
      </p:pic>
      <p:pic>
        <p:nvPicPr>
          <p:cNvPr id="29" name="Picture 28">
            <a:extLst>
              <a:ext uri="{FF2B5EF4-FFF2-40B4-BE49-F238E27FC236}">
                <a16:creationId xmlns:a16="http://schemas.microsoft.com/office/drawing/2014/main" id="{A1D0BD30-4A17-4C9C-80FB-77139522C0D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70882" y="1765648"/>
            <a:ext cx="407264" cy="407264"/>
          </a:xfrm>
          <a:prstGeom prst="rect">
            <a:avLst/>
          </a:prstGeom>
        </p:spPr>
      </p:pic>
      <p:sp>
        <p:nvSpPr>
          <p:cNvPr id="30" name="TextBox 29">
            <a:extLst>
              <a:ext uri="{FF2B5EF4-FFF2-40B4-BE49-F238E27FC236}">
                <a16:creationId xmlns:a16="http://schemas.microsoft.com/office/drawing/2014/main" id="{95AF3DDC-2F6A-4EE8-8E9D-D2C7E5BEA39F}"/>
              </a:ext>
            </a:extLst>
          </p:cNvPr>
          <p:cNvSpPr txBox="1"/>
          <p:nvPr/>
        </p:nvSpPr>
        <p:spPr>
          <a:xfrm>
            <a:off x="6307963" y="2166946"/>
            <a:ext cx="445635"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Owner</a:t>
            </a:r>
          </a:p>
        </p:txBody>
      </p:sp>
      <p:sp>
        <p:nvSpPr>
          <p:cNvPr id="31" name="TextBox 30">
            <a:extLst>
              <a:ext uri="{FF2B5EF4-FFF2-40B4-BE49-F238E27FC236}">
                <a16:creationId xmlns:a16="http://schemas.microsoft.com/office/drawing/2014/main" id="{A25760C2-4450-47F5-AB11-0FF20EFD2F32}"/>
              </a:ext>
            </a:extLst>
          </p:cNvPr>
          <p:cNvSpPr txBox="1"/>
          <p:nvPr/>
        </p:nvSpPr>
        <p:spPr>
          <a:xfrm>
            <a:off x="7071106" y="2175851"/>
            <a:ext cx="784254"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Contributor</a:t>
            </a:r>
          </a:p>
        </p:txBody>
      </p:sp>
      <p:sp>
        <p:nvSpPr>
          <p:cNvPr id="32" name="TextBox 31">
            <a:extLst>
              <a:ext uri="{FF2B5EF4-FFF2-40B4-BE49-F238E27FC236}">
                <a16:creationId xmlns:a16="http://schemas.microsoft.com/office/drawing/2014/main" id="{7A1D1761-49D7-488D-84AB-649484126A10}"/>
              </a:ext>
            </a:extLst>
          </p:cNvPr>
          <p:cNvSpPr txBox="1"/>
          <p:nvPr/>
        </p:nvSpPr>
        <p:spPr>
          <a:xfrm>
            <a:off x="8178468" y="2172913"/>
            <a:ext cx="474489"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Reader</a:t>
            </a:r>
          </a:p>
        </p:txBody>
      </p:sp>
      <p:pic>
        <p:nvPicPr>
          <p:cNvPr id="33" name="Picture 32">
            <a:extLst>
              <a:ext uri="{FF2B5EF4-FFF2-40B4-BE49-F238E27FC236}">
                <a16:creationId xmlns:a16="http://schemas.microsoft.com/office/drawing/2014/main" id="{DDDDCE08-9312-409B-BC09-668A24C17FB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5491" y="2765071"/>
            <a:ext cx="407264" cy="407264"/>
          </a:xfrm>
          <a:prstGeom prst="rect">
            <a:avLst/>
          </a:prstGeom>
        </p:spPr>
      </p:pic>
      <p:pic>
        <p:nvPicPr>
          <p:cNvPr id="34" name="Picture 33">
            <a:extLst>
              <a:ext uri="{FF2B5EF4-FFF2-40B4-BE49-F238E27FC236}">
                <a16:creationId xmlns:a16="http://schemas.microsoft.com/office/drawing/2014/main" id="{C4DB3780-2778-4113-8A3C-7D70A36C61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91000" y="2764594"/>
            <a:ext cx="407264" cy="407264"/>
          </a:xfrm>
          <a:prstGeom prst="rect">
            <a:avLst/>
          </a:prstGeom>
        </p:spPr>
      </p:pic>
      <p:pic>
        <p:nvPicPr>
          <p:cNvPr id="35" name="Picture 34">
            <a:extLst>
              <a:ext uri="{FF2B5EF4-FFF2-40B4-BE49-F238E27FC236}">
                <a16:creationId xmlns:a16="http://schemas.microsoft.com/office/drawing/2014/main" id="{A8D34D31-FEB4-498C-BD7C-EAECA9F414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70882" y="2770561"/>
            <a:ext cx="407264" cy="407264"/>
          </a:xfrm>
          <a:prstGeom prst="rect">
            <a:avLst/>
          </a:prstGeom>
        </p:spPr>
      </p:pic>
      <p:sp>
        <p:nvSpPr>
          <p:cNvPr id="36" name="TextBox 35">
            <a:extLst>
              <a:ext uri="{FF2B5EF4-FFF2-40B4-BE49-F238E27FC236}">
                <a16:creationId xmlns:a16="http://schemas.microsoft.com/office/drawing/2014/main" id="{6983B103-F803-4475-A3E4-7051D1D562A0}"/>
              </a:ext>
            </a:extLst>
          </p:cNvPr>
          <p:cNvSpPr txBox="1"/>
          <p:nvPr/>
        </p:nvSpPr>
        <p:spPr>
          <a:xfrm>
            <a:off x="6307963" y="3171858"/>
            <a:ext cx="445635"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Owner</a:t>
            </a:r>
          </a:p>
        </p:txBody>
      </p:sp>
      <p:sp>
        <p:nvSpPr>
          <p:cNvPr id="37" name="TextBox 36">
            <a:extLst>
              <a:ext uri="{FF2B5EF4-FFF2-40B4-BE49-F238E27FC236}">
                <a16:creationId xmlns:a16="http://schemas.microsoft.com/office/drawing/2014/main" id="{C5764FCE-DA11-4334-8015-2BD125D95303}"/>
              </a:ext>
            </a:extLst>
          </p:cNvPr>
          <p:cNvSpPr txBox="1"/>
          <p:nvPr/>
        </p:nvSpPr>
        <p:spPr>
          <a:xfrm>
            <a:off x="7071106" y="3180763"/>
            <a:ext cx="784254"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Contributor</a:t>
            </a:r>
          </a:p>
        </p:txBody>
      </p:sp>
      <p:sp>
        <p:nvSpPr>
          <p:cNvPr id="38" name="TextBox 37">
            <a:extLst>
              <a:ext uri="{FF2B5EF4-FFF2-40B4-BE49-F238E27FC236}">
                <a16:creationId xmlns:a16="http://schemas.microsoft.com/office/drawing/2014/main" id="{AFE975A6-BF45-434F-9F88-E9A9EAC3612C}"/>
              </a:ext>
            </a:extLst>
          </p:cNvPr>
          <p:cNvSpPr txBox="1"/>
          <p:nvPr/>
        </p:nvSpPr>
        <p:spPr>
          <a:xfrm>
            <a:off x="8178468" y="3177825"/>
            <a:ext cx="474489"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Reader</a:t>
            </a:r>
          </a:p>
        </p:txBody>
      </p:sp>
      <p:pic>
        <p:nvPicPr>
          <p:cNvPr id="39" name="Picture 38">
            <a:extLst>
              <a:ext uri="{FF2B5EF4-FFF2-40B4-BE49-F238E27FC236}">
                <a16:creationId xmlns:a16="http://schemas.microsoft.com/office/drawing/2014/main" id="{A625C56A-E4D4-4DEA-A20F-6DA4AED87F2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48295" y="3769666"/>
            <a:ext cx="407264" cy="407264"/>
          </a:xfrm>
          <a:prstGeom prst="rect">
            <a:avLst/>
          </a:prstGeom>
        </p:spPr>
      </p:pic>
      <p:pic>
        <p:nvPicPr>
          <p:cNvPr id="40" name="Picture 39">
            <a:extLst>
              <a:ext uri="{FF2B5EF4-FFF2-40B4-BE49-F238E27FC236}">
                <a16:creationId xmlns:a16="http://schemas.microsoft.com/office/drawing/2014/main" id="{C20EA683-5965-4C63-9D02-2FAEDB3923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13804" y="3769189"/>
            <a:ext cx="407264" cy="407264"/>
          </a:xfrm>
          <a:prstGeom prst="rect">
            <a:avLst/>
          </a:prstGeom>
        </p:spPr>
      </p:pic>
      <p:pic>
        <p:nvPicPr>
          <p:cNvPr id="41" name="Picture 40">
            <a:extLst>
              <a:ext uri="{FF2B5EF4-FFF2-40B4-BE49-F238E27FC236}">
                <a16:creationId xmlns:a16="http://schemas.microsoft.com/office/drawing/2014/main" id="{6E81BAFD-DE4C-46FD-A309-F8701184EA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93685" y="3775156"/>
            <a:ext cx="407264" cy="407264"/>
          </a:xfrm>
          <a:prstGeom prst="rect">
            <a:avLst/>
          </a:prstGeom>
        </p:spPr>
      </p:pic>
      <p:sp>
        <p:nvSpPr>
          <p:cNvPr id="42" name="TextBox 41">
            <a:extLst>
              <a:ext uri="{FF2B5EF4-FFF2-40B4-BE49-F238E27FC236}">
                <a16:creationId xmlns:a16="http://schemas.microsoft.com/office/drawing/2014/main" id="{2184B0F4-9894-4BA3-B74D-314E4A3AD753}"/>
              </a:ext>
            </a:extLst>
          </p:cNvPr>
          <p:cNvSpPr txBox="1"/>
          <p:nvPr/>
        </p:nvSpPr>
        <p:spPr>
          <a:xfrm>
            <a:off x="6330766" y="4176453"/>
            <a:ext cx="445635"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Owner</a:t>
            </a:r>
          </a:p>
        </p:txBody>
      </p:sp>
      <p:sp>
        <p:nvSpPr>
          <p:cNvPr id="43" name="TextBox 42">
            <a:extLst>
              <a:ext uri="{FF2B5EF4-FFF2-40B4-BE49-F238E27FC236}">
                <a16:creationId xmlns:a16="http://schemas.microsoft.com/office/drawing/2014/main" id="{53A79838-1EE9-4A42-BAE1-E0E66A08ADF1}"/>
              </a:ext>
            </a:extLst>
          </p:cNvPr>
          <p:cNvSpPr txBox="1"/>
          <p:nvPr/>
        </p:nvSpPr>
        <p:spPr>
          <a:xfrm>
            <a:off x="7093911" y="4185358"/>
            <a:ext cx="784254"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Contributor</a:t>
            </a:r>
          </a:p>
        </p:txBody>
      </p:sp>
      <p:sp>
        <p:nvSpPr>
          <p:cNvPr id="44" name="TextBox 43">
            <a:extLst>
              <a:ext uri="{FF2B5EF4-FFF2-40B4-BE49-F238E27FC236}">
                <a16:creationId xmlns:a16="http://schemas.microsoft.com/office/drawing/2014/main" id="{8FBF78BC-B3F2-4A3F-9F21-CF42B167B5B7}"/>
              </a:ext>
            </a:extLst>
          </p:cNvPr>
          <p:cNvSpPr txBox="1"/>
          <p:nvPr/>
        </p:nvSpPr>
        <p:spPr>
          <a:xfrm>
            <a:off x="8201272" y="4182420"/>
            <a:ext cx="470193"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Reader</a:t>
            </a:r>
          </a:p>
        </p:txBody>
      </p:sp>
      <p:cxnSp>
        <p:nvCxnSpPr>
          <p:cNvPr id="45" name="Straight Connector 44">
            <a:extLst>
              <a:ext uri="{FF2B5EF4-FFF2-40B4-BE49-F238E27FC236}">
                <a16:creationId xmlns:a16="http://schemas.microsoft.com/office/drawing/2014/main" id="{CCB5F9CE-5284-4B7F-9A3A-FD5CA8CA7482}"/>
              </a:ext>
            </a:extLst>
          </p:cNvPr>
          <p:cNvCxnSpPr/>
          <p:nvPr/>
        </p:nvCxnSpPr>
        <p:spPr>
          <a:xfrm flipV="1">
            <a:off x="220954" y="2466010"/>
            <a:ext cx="8555570" cy="21533"/>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6C8E472-4E9D-49A8-A8CE-0255E2B191CA}"/>
              </a:ext>
            </a:extLst>
          </p:cNvPr>
          <p:cNvCxnSpPr>
            <a:cxnSpLocks/>
          </p:cNvCxnSpPr>
          <p:nvPr/>
        </p:nvCxnSpPr>
        <p:spPr>
          <a:xfrm>
            <a:off x="220954" y="3400057"/>
            <a:ext cx="8543995" cy="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6648273-4831-4112-9870-10479BC9C1CE}"/>
              </a:ext>
            </a:extLst>
          </p:cNvPr>
          <p:cNvSpPr txBox="1"/>
          <p:nvPr/>
        </p:nvSpPr>
        <p:spPr>
          <a:xfrm>
            <a:off x="374021" y="1971007"/>
            <a:ext cx="839974"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Subscription</a:t>
            </a:r>
          </a:p>
        </p:txBody>
      </p:sp>
      <p:sp>
        <p:nvSpPr>
          <p:cNvPr id="48" name="TextBox 47">
            <a:extLst>
              <a:ext uri="{FF2B5EF4-FFF2-40B4-BE49-F238E27FC236}">
                <a16:creationId xmlns:a16="http://schemas.microsoft.com/office/drawing/2014/main" id="{1FE39980-0B4D-45CF-84F7-DA38D0912572}"/>
              </a:ext>
            </a:extLst>
          </p:cNvPr>
          <p:cNvSpPr txBox="1"/>
          <p:nvPr/>
        </p:nvSpPr>
        <p:spPr>
          <a:xfrm>
            <a:off x="365943" y="2846650"/>
            <a:ext cx="658835" cy="369332"/>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Resource </a:t>
            </a:r>
          </a:p>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Groups</a:t>
            </a:r>
          </a:p>
        </p:txBody>
      </p:sp>
      <p:sp>
        <p:nvSpPr>
          <p:cNvPr id="49" name="TextBox 48">
            <a:extLst>
              <a:ext uri="{FF2B5EF4-FFF2-40B4-BE49-F238E27FC236}">
                <a16:creationId xmlns:a16="http://schemas.microsoft.com/office/drawing/2014/main" id="{CA19FC89-D58A-4A12-8568-857098331EF5}"/>
              </a:ext>
            </a:extLst>
          </p:cNvPr>
          <p:cNvSpPr txBox="1"/>
          <p:nvPr/>
        </p:nvSpPr>
        <p:spPr>
          <a:xfrm>
            <a:off x="326350" y="3775156"/>
            <a:ext cx="676532" cy="166199"/>
          </a:xfrm>
          <a:prstGeom prst="rect">
            <a:avLst/>
          </a:prstGeom>
          <a:noFill/>
        </p:spPr>
        <p:txBody>
          <a:bodyPr wrap="none" lIns="0" tIns="0" rIns="0" bIns="0" rtlCol="0">
            <a:spAutoFit/>
          </a:bodyPr>
          <a:lstStyle/>
          <a:p>
            <a:pPr marL="0" marR="0" lvl="0" indent="0" algn="l" defTabSz="685775" rtl="0" eaLnBrk="1" fontAlgn="auto" latinLnBrk="0" hangingPunct="1">
              <a:lnSpc>
                <a:spcPct val="90000"/>
              </a:lnSpc>
              <a:spcBef>
                <a:spcPct val="20000"/>
              </a:spcBef>
              <a:spcAft>
                <a:spcPts val="0"/>
              </a:spcAft>
              <a:buClrTx/>
              <a:buSzPct val="80000"/>
              <a:buFontTx/>
              <a:buNone/>
              <a:tabLst/>
              <a:defRPr/>
            </a:pPr>
            <a:r>
              <a:rPr kumimoji="0" lang="en-US" sz="1200" b="0" i="0" u="none" strike="noStrike" kern="1200" cap="none" spc="0" normalizeH="0" baseline="0" noProof="0" dirty="0">
                <a:ln>
                  <a:noFill/>
                </a:ln>
                <a:gradFill>
                  <a:gsLst>
                    <a:gs pos="0">
                      <a:srgbClr val="292929">
                        <a:lumMod val="90000"/>
                        <a:lumOff val="10000"/>
                      </a:srgbClr>
                    </a:gs>
                    <a:gs pos="86000">
                      <a:srgbClr val="292929">
                        <a:lumMod val="90000"/>
                        <a:lumOff val="10000"/>
                      </a:srgbClr>
                    </a:gs>
                  </a:gsLst>
                  <a:lin ang="5400000" scaled="0"/>
                </a:gradFill>
                <a:effectLst/>
                <a:uLnTx/>
                <a:uFillTx/>
                <a:latin typeface="Segoe UI"/>
                <a:ea typeface="+mn-ea"/>
                <a:cs typeface="+mn-cs"/>
              </a:rPr>
              <a:t>Resources</a:t>
            </a:r>
          </a:p>
        </p:txBody>
      </p:sp>
      <p:pic>
        <p:nvPicPr>
          <p:cNvPr id="53" name="Graphic 52">
            <a:extLst>
              <a:ext uri="{FF2B5EF4-FFF2-40B4-BE49-F238E27FC236}">
                <a16:creationId xmlns:a16="http://schemas.microsoft.com/office/drawing/2014/main" id="{9C5DB08C-C11B-490F-87B6-D90B645A7E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72659" y="1497659"/>
            <a:ext cx="535979" cy="535979"/>
          </a:xfrm>
          <a:prstGeom prst="rect">
            <a:avLst/>
          </a:prstGeom>
        </p:spPr>
      </p:pic>
      <p:pic>
        <p:nvPicPr>
          <p:cNvPr id="55" name="Graphic 54">
            <a:extLst>
              <a:ext uri="{FF2B5EF4-FFF2-40B4-BE49-F238E27FC236}">
                <a16:creationId xmlns:a16="http://schemas.microsoft.com/office/drawing/2014/main" id="{E3044BF8-3488-46E4-AF19-2F0FD950A9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85635" y="2896850"/>
            <a:ext cx="357188" cy="357188"/>
          </a:xfrm>
          <a:prstGeom prst="rect">
            <a:avLst/>
          </a:prstGeom>
        </p:spPr>
      </p:pic>
      <p:pic>
        <p:nvPicPr>
          <p:cNvPr id="59" name="Graphic 58">
            <a:extLst>
              <a:ext uri="{FF2B5EF4-FFF2-40B4-BE49-F238E27FC236}">
                <a16:creationId xmlns:a16="http://schemas.microsoft.com/office/drawing/2014/main" id="{4864C3F1-2E3C-4C14-9651-E81A5D272C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09206" y="3540547"/>
            <a:ext cx="357188" cy="357188"/>
          </a:xfrm>
          <a:prstGeom prst="rect">
            <a:avLst/>
          </a:prstGeom>
        </p:spPr>
      </p:pic>
      <p:pic>
        <p:nvPicPr>
          <p:cNvPr id="61" name="Graphic 60">
            <a:extLst>
              <a:ext uri="{FF2B5EF4-FFF2-40B4-BE49-F238E27FC236}">
                <a16:creationId xmlns:a16="http://schemas.microsoft.com/office/drawing/2014/main" id="{2ACDDF81-DFE7-4DE9-809D-47EBBD8E8EF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28711" y="3595710"/>
            <a:ext cx="357188" cy="357188"/>
          </a:xfrm>
          <a:prstGeom prst="rect">
            <a:avLst/>
          </a:prstGeom>
        </p:spPr>
      </p:pic>
      <p:pic>
        <p:nvPicPr>
          <p:cNvPr id="63" name="Graphic 62">
            <a:extLst>
              <a:ext uri="{FF2B5EF4-FFF2-40B4-BE49-F238E27FC236}">
                <a16:creationId xmlns:a16="http://schemas.microsoft.com/office/drawing/2014/main" id="{F6828863-2D86-4B58-A02B-5C127206556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879451" y="3560954"/>
            <a:ext cx="357188" cy="357188"/>
          </a:xfrm>
          <a:prstGeom prst="rect">
            <a:avLst/>
          </a:prstGeom>
        </p:spPr>
      </p:pic>
      <p:pic>
        <p:nvPicPr>
          <p:cNvPr id="65" name="Graphic 64">
            <a:extLst>
              <a:ext uri="{FF2B5EF4-FFF2-40B4-BE49-F238E27FC236}">
                <a16:creationId xmlns:a16="http://schemas.microsoft.com/office/drawing/2014/main" id="{2041F607-07C7-4612-8F21-5B7DD16B595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467256" y="3608864"/>
            <a:ext cx="357188" cy="357188"/>
          </a:xfrm>
          <a:prstGeom prst="rect">
            <a:avLst/>
          </a:prstGeom>
        </p:spPr>
      </p:pic>
      <p:pic>
        <p:nvPicPr>
          <p:cNvPr id="67" name="Graphic 66">
            <a:extLst>
              <a:ext uri="{FF2B5EF4-FFF2-40B4-BE49-F238E27FC236}">
                <a16:creationId xmlns:a16="http://schemas.microsoft.com/office/drawing/2014/main" id="{4EA16BAA-3839-4130-B436-973575DB65E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32685" y="3573218"/>
            <a:ext cx="357188" cy="357188"/>
          </a:xfrm>
          <a:prstGeom prst="rect">
            <a:avLst/>
          </a:prstGeom>
        </p:spPr>
      </p:pic>
      <p:pic>
        <p:nvPicPr>
          <p:cNvPr id="68" name="Graphic 67">
            <a:extLst>
              <a:ext uri="{FF2B5EF4-FFF2-40B4-BE49-F238E27FC236}">
                <a16:creationId xmlns:a16="http://schemas.microsoft.com/office/drawing/2014/main" id="{F684B727-9F87-4A8E-9F79-AACBF26EB4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66613" y="2893319"/>
            <a:ext cx="357188" cy="357188"/>
          </a:xfrm>
          <a:prstGeom prst="rect">
            <a:avLst/>
          </a:prstGeom>
        </p:spPr>
      </p:pic>
    </p:spTree>
    <p:extLst>
      <p:ext uri="{BB962C8B-B14F-4D97-AF65-F5344CB8AC3E}">
        <p14:creationId xmlns:p14="http://schemas.microsoft.com/office/powerpoint/2010/main" val="269885430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0C5BA-5AC9-44BC-924A-E3E0E1708411}"/>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C1050C1A-82CF-4F4B-AD65-6B9CB5D34E4C}"/>
              </a:ext>
            </a:extLst>
          </p:cNvPr>
          <p:cNvPicPr>
            <a:picLocks noChangeAspect="1"/>
          </p:cNvPicPr>
          <p:nvPr/>
        </p:nvPicPr>
        <p:blipFill>
          <a:blip r:embed="rId3"/>
          <a:stretch>
            <a:fillRect/>
          </a:stretch>
        </p:blipFill>
        <p:spPr>
          <a:xfrm>
            <a:off x="0" y="1"/>
            <a:ext cx="9144000" cy="5083084"/>
          </a:xfrm>
          <a:prstGeom prst="rect">
            <a:avLst/>
          </a:prstGeom>
        </p:spPr>
      </p:pic>
    </p:spTree>
    <p:extLst>
      <p:ext uri="{BB962C8B-B14F-4D97-AF65-F5344CB8AC3E}">
        <p14:creationId xmlns:p14="http://schemas.microsoft.com/office/powerpoint/2010/main" val="15542948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44A70-E6C8-4131-8ABE-868656A96131}"/>
              </a:ext>
            </a:extLst>
          </p:cNvPr>
          <p:cNvSpPr>
            <a:spLocks noGrp="1"/>
          </p:cNvSpPr>
          <p:nvPr>
            <p:ph type="title"/>
          </p:nvPr>
        </p:nvSpPr>
        <p:spPr>
          <a:xfrm>
            <a:off x="589123" y="224303"/>
            <a:ext cx="7886700" cy="994172"/>
          </a:xfrm>
        </p:spPr>
        <p:txBody>
          <a:bodyPr/>
          <a:lstStyle/>
          <a:p>
            <a:r>
              <a:rPr lang="en-US" dirty="0"/>
              <a:t>Protect Data at Rest with Encryption </a:t>
            </a:r>
          </a:p>
        </p:txBody>
      </p:sp>
      <p:cxnSp>
        <p:nvCxnSpPr>
          <p:cNvPr id="3" name="Straight Connector 2">
            <a:extLst>
              <a:ext uri="{FF2B5EF4-FFF2-40B4-BE49-F238E27FC236}">
                <a16:creationId xmlns:a16="http://schemas.microsoft.com/office/drawing/2014/main" id="{409AC632-6F9F-40C4-B173-347BED6DCCCC}"/>
              </a:ext>
            </a:extLst>
          </p:cNvPr>
          <p:cNvCxnSpPr/>
          <p:nvPr/>
        </p:nvCxnSpPr>
        <p:spPr>
          <a:xfrm>
            <a:off x="4788326" y="1688183"/>
            <a:ext cx="0" cy="2836415"/>
          </a:xfrm>
          <a:prstGeom prst="line">
            <a:avLst/>
          </a:prstGeom>
          <a:noFill/>
          <a:ln w="38100" cap="flat" cmpd="sng" algn="ctr">
            <a:solidFill>
              <a:srgbClr val="FFC000"/>
            </a:solidFill>
            <a:prstDash val="solid"/>
            <a:miter lim="800000"/>
            <a:headEnd type="none"/>
            <a:tailEnd type="none"/>
          </a:ln>
          <a:effectLst/>
        </p:spPr>
      </p:cxnSp>
      <p:sp>
        <p:nvSpPr>
          <p:cNvPr id="4" name="Rectangle 3">
            <a:extLst>
              <a:ext uri="{FF2B5EF4-FFF2-40B4-BE49-F238E27FC236}">
                <a16:creationId xmlns:a16="http://schemas.microsoft.com/office/drawing/2014/main" id="{4E99F846-FC69-40D7-8A7C-7E78AABFCE09}"/>
              </a:ext>
            </a:extLst>
          </p:cNvPr>
          <p:cNvSpPr/>
          <p:nvPr/>
        </p:nvSpPr>
        <p:spPr>
          <a:xfrm>
            <a:off x="4987286" y="998983"/>
            <a:ext cx="4007947" cy="3936975"/>
          </a:xfrm>
          <a:prstGeom prst="rect">
            <a:avLst/>
          </a:prstGeom>
        </p:spPr>
        <p:txBody>
          <a:bodyPr wrap="square">
            <a:spAutoFit/>
          </a:bodyPr>
          <a:lstStyle/>
          <a:p>
            <a:pPr>
              <a:spcAft>
                <a:spcPts val="459"/>
              </a:spcAft>
              <a:defRPr/>
            </a:pPr>
            <a:r>
              <a:rPr lang="en-US" b="1" dirty="0">
                <a:solidFill>
                  <a:schemeClr val="tx2"/>
                </a:solidFill>
              </a:rPr>
              <a:t>Microsoft:</a:t>
            </a:r>
          </a:p>
          <a:p>
            <a:pPr marL="180934" indent="-180934">
              <a:spcAft>
                <a:spcPts val="459"/>
              </a:spcAft>
              <a:buFont typeface="Arial" panose="020B0604020202020204" pitchFamily="34" charset="0"/>
              <a:buChar char="•"/>
              <a:defRPr/>
            </a:pPr>
            <a:r>
              <a:rPr lang="en-US" sz="1200" dirty="0">
                <a:solidFill>
                  <a:schemeClr val="tx2"/>
                </a:solidFill>
              </a:rPr>
              <a:t>Storage Service Encryption</a:t>
            </a:r>
          </a:p>
          <a:p>
            <a:pPr marL="530667" lvl="1" indent="-180934">
              <a:spcAft>
                <a:spcPts val="459"/>
              </a:spcAft>
              <a:buFont typeface="Arial" panose="020B0604020202020204" pitchFamily="34" charset="0"/>
              <a:buChar char="•"/>
              <a:defRPr/>
            </a:pPr>
            <a:r>
              <a:rPr lang="en-US" sz="1200" dirty="0">
                <a:solidFill>
                  <a:schemeClr val="tx2"/>
                </a:solidFill>
              </a:rPr>
              <a:t>Automatically encrypts customer data prior to persisting to storage and decrypts prior to retrieval</a:t>
            </a:r>
          </a:p>
          <a:p>
            <a:pPr marL="530667" lvl="1" indent="-180934">
              <a:spcAft>
                <a:spcPts val="459"/>
              </a:spcAft>
              <a:buFont typeface="Arial" panose="020B0604020202020204" pitchFamily="34" charset="0"/>
              <a:buChar char="•"/>
              <a:defRPr/>
            </a:pPr>
            <a:r>
              <a:rPr lang="en-US" sz="1200" dirty="0">
                <a:solidFill>
                  <a:schemeClr val="tx2"/>
                </a:solidFill>
              </a:rPr>
              <a:t>Microsoft manages encryption keys</a:t>
            </a:r>
          </a:p>
          <a:p>
            <a:pPr>
              <a:spcAft>
                <a:spcPts val="459"/>
              </a:spcAft>
              <a:defRPr/>
            </a:pPr>
            <a:r>
              <a:rPr lang="en-US" b="1" dirty="0">
                <a:solidFill>
                  <a:schemeClr val="tx2"/>
                </a:solidFill>
              </a:rPr>
              <a:t>Customers:</a:t>
            </a:r>
          </a:p>
          <a:p>
            <a:pPr marL="180934" indent="-180934">
              <a:spcAft>
                <a:spcPts val="459"/>
              </a:spcAft>
              <a:buFont typeface="Arial" panose="020B0604020202020204" pitchFamily="34" charset="0"/>
              <a:buChar char="•"/>
              <a:defRPr/>
            </a:pPr>
            <a:r>
              <a:rPr lang="en-US" sz="1200" dirty="0">
                <a:solidFill>
                  <a:schemeClr val="tx2"/>
                </a:solidFill>
              </a:rPr>
              <a:t>Azure VMs</a:t>
            </a:r>
          </a:p>
          <a:p>
            <a:pPr marL="530667" lvl="1" indent="-180934">
              <a:spcAft>
                <a:spcPts val="459"/>
              </a:spcAft>
              <a:buFont typeface="Arial" panose="020B0604020202020204" pitchFamily="34" charset="0"/>
              <a:buChar char="•"/>
              <a:defRPr/>
            </a:pPr>
            <a:r>
              <a:rPr lang="en-US" sz="1200" dirty="0">
                <a:solidFill>
                  <a:schemeClr val="tx2"/>
                </a:solidFill>
              </a:rPr>
              <a:t>Various services offer additional capabilities for securing data at rest</a:t>
            </a:r>
          </a:p>
          <a:p>
            <a:pPr marL="199991" indent="-180934">
              <a:spcAft>
                <a:spcPts val="459"/>
              </a:spcAft>
              <a:buFont typeface="Arial" panose="020B0604020202020204" pitchFamily="34" charset="0"/>
              <a:buChar char="•"/>
              <a:defRPr/>
            </a:pPr>
            <a:r>
              <a:rPr lang="en-US" sz="1200" dirty="0">
                <a:solidFill>
                  <a:schemeClr val="tx2"/>
                </a:solidFill>
              </a:rPr>
              <a:t>PaaS</a:t>
            </a:r>
          </a:p>
          <a:p>
            <a:pPr marL="549725" lvl="1" indent="-180934">
              <a:spcAft>
                <a:spcPts val="459"/>
              </a:spcAft>
              <a:buFont typeface="Arial" panose="020B0604020202020204" pitchFamily="34" charset="0"/>
              <a:buChar char="•"/>
              <a:defRPr/>
            </a:pPr>
            <a:r>
              <a:rPr lang="en-US" sz="1200" dirty="0">
                <a:solidFill>
                  <a:schemeClr val="tx2"/>
                </a:solidFill>
              </a:rPr>
              <a:t>Azure SQL Database supports TDE</a:t>
            </a:r>
          </a:p>
          <a:p>
            <a:pPr marL="206825" indent="-180934">
              <a:spcAft>
                <a:spcPts val="459"/>
              </a:spcAft>
              <a:buFont typeface="Arial" panose="020B0604020202020204" pitchFamily="34" charset="0"/>
              <a:buChar char="•"/>
              <a:defRPr/>
            </a:pPr>
            <a:r>
              <a:rPr lang="en-US" sz="1200" dirty="0">
                <a:solidFill>
                  <a:schemeClr val="tx2"/>
                </a:solidFill>
              </a:rPr>
              <a:t>Applications</a:t>
            </a:r>
          </a:p>
          <a:p>
            <a:pPr marL="549725" lvl="1" indent="-180934">
              <a:spcAft>
                <a:spcPts val="459"/>
              </a:spcAft>
              <a:buFont typeface="Arial" panose="020B0604020202020204" pitchFamily="34" charset="0"/>
              <a:buChar char="•"/>
              <a:defRPr/>
            </a:pPr>
            <a:r>
              <a:rPr lang="en-US" sz="1200" dirty="0">
                <a:solidFill>
                  <a:schemeClr val="tx2"/>
                </a:solidFill>
              </a:rPr>
              <a:t>Client Side encryption through .NET Crypto API</a:t>
            </a:r>
          </a:p>
          <a:p>
            <a:pPr marL="557213" lvl="1" indent="-180934">
              <a:spcAft>
                <a:spcPts val="459"/>
              </a:spcAft>
              <a:buFont typeface="Arial" panose="020B0604020202020204" pitchFamily="34" charset="0"/>
              <a:buChar char="•"/>
              <a:defRPr/>
            </a:pPr>
            <a:r>
              <a:rPr lang="en-US" sz="1200" dirty="0">
                <a:solidFill>
                  <a:schemeClr val="tx2"/>
                </a:solidFill>
              </a:rPr>
              <a:t>RMS Service and SDK for file encryption by your applications</a:t>
            </a:r>
          </a:p>
        </p:txBody>
      </p:sp>
      <p:grpSp>
        <p:nvGrpSpPr>
          <p:cNvPr id="5" name="Group 4">
            <a:extLst>
              <a:ext uri="{FF2B5EF4-FFF2-40B4-BE49-F238E27FC236}">
                <a16:creationId xmlns:a16="http://schemas.microsoft.com/office/drawing/2014/main" id="{E0DFE292-E0B6-4DAE-AF1A-449F77A28BE7}"/>
              </a:ext>
            </a:extLst>
          </p:cNvPr>
          <p:cNvGrpSpPr/>
          <p:nvPr/>
        </p:nvGrpSpPr>
        <p:grpSpPr>
          <a:xfrm>
            <a:off x="1018876" y="4111834"/>
            <a:ext cx="1890425" cy="840534"/>
            <a:chOff x="1675848" y="4802265"/>
            <a:chExt cx="2471368" cy="1299594"/>
          </a:xfrm>
          <a:solidFill>
            <a:schemeClr val="accent3"/>
          </a:solidFill>
        </p:grpSpPr>
        <p:sp>
          <p:nvSpPr>
            <p:cNvPr id="6" name="Rectangle 5">
              <a:extLst>
                <a:ext uri="{FF2B5EF4-FFF2-40B4-BE49-F238E27FC236}">
                  <a16:creationId xmlns:a16="http://schemas.microsoft.com/office/drawing/2014/main" id="{60A0DC77-7B70-4750-A863-94EE36F79E50}"/>
                </a:ext>
              </a:extLst>
            </p:cNvPr>
            <p:cNvSpPr/>
            <p:nvPr/>
          </p:nvSpPr>
          <p:spPr>
            <a:xfrm>
              <a:off x="1675849" y="4802265"/>
              <a:ext cx="2465712" cy="12299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77" dirty="0">
                <a:solidFill>
                  <a:prstClr val="white"/>
                </a:solidFill>
              </a:endParaRPr>
            </a:p>
          </p:txBody>
        </p:sp>
        <p:sp>
          <p:nvSpPr>
            <p:cNvPr id="7" name="Rectangle 6">
              <a:extLst>
                <a:ext uri="{FF2B5EF4-FFF2-40B4-BE49-F238E27FC236}">
                  <a16:creationId xmlns:a16="http://schemas.microsoft.com/office/drawing/2014/main" id="{F1AB0220-F6B9-4B12-B835-2E916935C335}"/>
                </a:ext>
              </a:extLst>
            </p:cNvPr>
            <p:cNvSpPr/>
            <p:nvPr/>
          </p:nvSpPr>
          <p:spPr bwMode="auto">
            <a:xfrm>
              <a:off x="2879804" y="4948971"/>
              <a:ext cx="1267412" cy="115288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5099" tIns="47549" rIns="95099" bIns="139891" numCol="1" rtlCol="0" anchor="b"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8909">
                <a:lnSpc>
                  <a:spcPct val="80000"/>
                </a:lnSpc>
              </a:pPr>
              <a:r>
                <a:rPr lang="en-US" sz="816" dirty="0">
                  <a:gradFill>
                    <a:gsLst>
                      <a:gs pos="0">
                        <a:srgbClr val="FFFFFF"/>
                      </a:gs>
                      <a:gs pos="100000">
                        <a:srgbClr val="FFFFFF"/>
                      </a:gs>
                    </a:gsLst>
                    <a:lin ang="5400000" scaled="0"/>
                  </a:gradFill>
                </a:rPr>
                <a:t>RMS SDK</a:t>
              </a:r>
            </a:p>
          </p:txBody>
        </p:sp>
        <p:pic>
          <p:nvPicPr>
            <p:cNvPr id="8" name="Picture 7" descr="RMS SDK">
              <a:extLst>
                <a:ext uri="{FF2B5EF4-FFF2-40B4-BE49-F238E27FC236}">
                  <a16:creationId xmlns:a16="http://schemas.microsoft.com/office/drawing/2014/main" id="{3360CE1F-C323-4F03-9FC9-B96B51127A25}"/>
                </a:ext>
              </a:extLst>
            </p:cNvPr>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3186806" y="4980870"/>
              <a:ext cx="653410" cy="6690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41F15C92-01A3-48C7-ADE2-8645DE01EB7C}"/>
                </a:ext>
              </a:extLst>
            </p:cNvPr>
            <p:cNvSpPr/>
            <p:nvPr/>
          </p:nvSpPr>
          <p:spPr bwMode="auto">
            <a:xfrm>
              <a:off x="1675848" y="4850261"/>
              <a:ext cx="1254695" cy="12416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5099" tIns="47549" rIns="95099" bIns="139891" numCol="1" rtlCol="0" anchor="b"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8909">
                <a:lnSpc>
                  <a:spcPct val="80000"/>
                </a:lnSpc>
              </a:pPr>
              <a:r>
                <a:rPr lang="en-US" sz="816" dirty="0">
                  <a:gradFill>
                    <a:gsLst>
                      <a:gs pos="0">
                        <a:srgbClr val="FFFFFF"/>
                      </a:gs>
                      <a:gs pos="100000">
                        <a:srgbClr val="FFFFFF"/>
                      </a:gs>
                    </a:gsLst>
                    <a:lin ang="5400000" scaled="0"/>
                  </a:gradFill>
                </a:rPr>
                <a:t>.NET Crypto</a:t>
              </a:r>
            </a:p>
          </p:txBody>
        </p:sp>
        <p:pic>
          <p:nvPicPr>
            <p:cNvPr id="10" name="Picture 9" descr=".NET Crypto">
              <a:extLst>
                <a:ext uri="{FF2B5EF4-FFF2-40B4-BE49-F238E27FC236}">
                  <a16:creationId xmlns:a16="http://schemas.microsoft.com/office/drawing/2014/main" id="{84D00C28-0131-4496-A6F2-155F0C2B0EE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94198" y="4802265"/>
              <a:ext cx="889305" cy="947386"/>
            </a:xfrm>
            <a:prstGeom prst="rect">
              <a:avLst/>
            </a:prstGeom>
            <a:grpFill/>
          </p:spPr>
        </p:pic>
      </p:grpSp>
      <p:grpSp>
        <p:nvGrpSpPr>
          <p:cNvPr id="11" name="Group 10">
            <a:extLst>
              <a:ext uri="{FF2B5EF4-FFF2-40B4-BE49-F238E27FC236}">
                <a16:creationId xmlns:a16="http://schemas.microsoft.com/office/drawing/2014/main" id="{D10F33C0-3E10-436F-90A6-F8FC4032FFF6}"/>
              </a:ext>
            </a:extLst>
          </p:cNvPr>
          <p:cNvGrpSpPr/>
          <p:nvPr/>
        </p:nvGrpSpPr>
        <p:grpSpPr>
          <a:xfrm>
            <a:off x="1090440" y="2274825"/>
            <a:ext cx="2597498" cy="835352"/>
            <a:chOff x="1773525" y="1796569"/>
            <a:chExt cx="3395731" cy="1268797"/>
          </a:xfrm>
        </p:grpSpPr>
        <p:sp>
          <p:nvSpPr>
            <p:cNvPr id="12" name="Rectangle 11">
              <a:extLst>
                <a:ext uri="{FF2B5EF4-FFF2-40B4-BE49-F238E27FC236}">
                  <a16:creationId xmlns:a16="http://schemas.microsoft.com/office/drawing/2014/main" id="{87D669D5-7F85-46D3-839E-8D5F6E70DC2E}"/>
                </a:ext>
              </a:extLst>
            </p:cNvPr>
            <p:cNvSpPr/>
            <p:nvPr/>
          </p:nvSpPr>
          <p:spPr>
            <a:xfrm>
              <a:off x="1787074" y="1810119"/>
              <a:ext cx="3382182" cy="1255247"/>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77" dirty="0">
                <a:solidFill>
                  <a:prstClr val="white"/>
                </a:solidFill>
              </a:endParaRPr>
            </a:p>
          </p:txBody>
        </p:sp>
        <p:sp>
          <p:nvSpPr>
            <p:cNvPr id="13" name="Rectangle 12">
              <a:extLst>
                <a:ext uri="{FF2B5EF4-FFF2-40B4-BE49-F238E27FC236}">
                  <a16:creationId xmlns:a16="http://schemas.microsoft.com/office/drawing/2014/main" id="{16DDB516-9192-4464-8775-C0186DAC6AE5}"/>
                </a:ext>
              </a:extLst>
            </p:cNvPr>
            <p:cNvSpPr/>
            <p:nvPr/>
          </p:nvSpPr>
          <p:spPr bwMode="auto">
            <a:xfrm>
              <a:off x="1773525" y="1812057"/>
              <a:ext cx="1174634" cy="12321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5099" tIns="47549" rIns="95099" bIns="139891" numCol="1" rtlCol="0" anchor="b"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8909">
                <a:lnSpc>
                  <a:spcPct val="80000"/>
                </a:lnSpc>
              </a:pPr>
              <a:r>
                <a:rPr lang="en-US" sz="816" dirty="0">
                  <a:gradFill>
                    <a:gsLst>
                      <a:gs pos="0">
                        <a:srgbClr val="FFFFFF"/>
                      </a:gs>
                      <a:gs pos="100000">
                        <a:srgbClr val="FFFFFF"/>
                      </a:gs>
                    </a:gsLst>
                    <a:lin ang="5400000" scaled="0"/>
                  </a:gradFill>
                </a:rPr>
                <a:t>SQL TDE</a:t>
              </a:r>
            </a:p>
          </p:txBody>
        </p:sp>
        <p:sp>
          <p:nvSpPr>
            <p:cNvPr id="14" name="Freeform 70" descr="SQL TDE">
              <a:extLst>
                <a:ext uri="{FF2B5EF4-FFF2-40B4-BE49-F238E27FC236}">
                  <a16:creationId xmlns:a16="http://schemas.microsoft.com/office/drawing/2014/main" id="{631DF2CC-C138-4C13-9B9D-BF4FA41814EE}"/>
                </a:ext>
              </a:extLst>
            </p:cNvPr>
            <p:cNvSpPr>
              <a:spLocks noEditPoints="1"/>
            </p:cNvSpPr>
            <p:nvPr/>
          </p:nvSpPr>
          <p:spPr bwMode="auto">
            <a:xfrm flipH="1">
              <a:off x="2076289" y="2006984"/>
              <a:ext cx="564146" cy="570294"/>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p:spPr>
          <p:txBody>
            <a:bodyPr vert="horz" wrap="square" lIns="69945" tIns="34973" rIns="69945" bIns="3497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77" dirty="0">
                <a:solidFill>
                  <a:srgbClr val="505050"/>
                </a:solidFill>
              </a:endParaRPr>
            </a:p>
          </p:txBody>
        </p:sp>
        <p:sp>
          <p:nvSpPr>
            <p:cNvPr id="15" name="Freeform 67" descr="hard drive">
              <a:extLst>
                <a:ext uri="{FF2B5EF4-FFF2-40B4-BE49-F238E27FC236}">
                  <a16:creationId xmlns:a16="http://schemas.microsoft.com/office/drawing/2014/main" id="{EDE233B5-7BD7-4904-942A-22CEF1A096E8}"/>
                </a:ext>
              </a:extLst>
            </p:cNvPr>
            <p:cNvSpPr>
              <a:spLocks noEditPoints="1"/>
            </p:cNvSpPr>
            <p:nvPr/>
          </p:nvSpPr>
          <p:spPr bwMode="black">
            <a:xfrm>
              <a:off x="3249110" y="1956835"/>
              <a:ext cx="510623" cy="69029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62957" tIns="31479" rIns="62957" bIns="3147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224" dirty="0">
                <a:solidFill>
                  <a:prstClr val="black"/>
                </a:solidFill>
              </a:endParaRPr>
            </a:p>
          </p:txBody>
        </p:sp>
        <p:sp>
          <p:nvSpPr>
            <p:cNvPr id="16" name="Rectangle 15">
              <a:extLst>
                <a:ext uri="{FF2B5EF4-FFF2-40B4-BE49-F238E27FC236}">
                  <a16:creationId xmlns:a16="http://schemas.microsoft.com/office/drawing/2014/main" id="{8B085F3A-1F24-4B2D-8E42-B13D1807FEE5}"/>
                </a:ext>
              </a:extLst>
            </p:cNvPr>
            <p:cNvSpPr/>
            <p:nvPr/>
          </p:nvSpPr>
          <p:spPr bwMode="auto">
            <a:xfrm>
              <a:off x="3005984" y="1796569"/>
              <a:ext cx="1024666" cy="12613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5099" tIns="47549" rIns="95099" bIns="139891" numCol="1" rtlCol="0" anchor="b"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8909">
                <a:lnSpc>
                  <a:spcPct val="80000"/>
                </a:lnSpc>
              </a:pPr>
              <a:r>
                <a:rPr lang="en-US" sz="816" dirty="0">
                  <a:gradFill>
                    <a:gsLst>
                      <a:gs pos="0">
                        <a:srgbClr val="FFFFFF"/>
                      </a:gs>
                      <a:gs pos="100000">
                        <a:srgbClr val="FFFFFF"/>
                      </a:gs>
                    </a:gsLst>
                    <a:lin ang="5400000" scaled="0"/>
                  </a:gradFill>
                </a:rPr>
                <a:t>Bitlocker</a:t>
              </a:r>
            </a:p>
          </p:txBody>
        </p:sp>
        <p:sp>
          <p:nvSpPr>
            <p:cNvPr id="17" name="Rectangle 16">
              <a:extLst>
                <a:ext uri="{FF2B5EF4-FFF2-40B4-BE49-F238E27FC236}">
                  <a16:creationId xmlns:a16="http://schemas.microsoft.com/office/drawing/2014/main" id="{9D0B70CF-D509-435D-9D36-37C3E6D8E6EB}"/>
                </a:ext>
              </a:extLst>
            </p:cNvPr>
            <p:cNvSpPr/>
            <p:nvPr/>
          </p:nvSpPr>
          <p:spPr bwMode="auto">
            <a:xfrm>
              <a:off x="4144590" y="1812055"/>
              <a:ext cx="1024666" cy="1240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5099" tIns="47549" rIns="95099" bIns="139891" numCol="1" rtlCol="0" anchor="b"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8909">
                <a:lnSpc>
                  <a:spcPct val="80000"/>
                </a:lnSpc>
              </a:pPr>
              <a:r>
                <a:rPr lang="en-US" sz="816" dirty="0">
                  <a:gradFill>
                    <a:gsLst>
                      <a:gs pos="0">
                        <a:srgbClr val="FFFFFF"/>
                      </a:gs>
                      <a:gs pos="100000">
                        <a:srgbClr val="FFFFFF"/>
                      </a:gs>
                    </a:gsLst>
                    <a:lin ang="5400000" scaled="0"/>
                  </a:gradFill>
                </a:rPr>
                <a:t>Partners</a:t>
              </a:r>
            </a:p>
          </p:txBody>
        </p:sp>
        <p:pic>
          <p:nvPicPr>
            <p:cNvPr id="18" name="Picture 17" descr="gears">
              <a:extLst>
                <a:ext uri="{FF2B5EF4-FFF2-40B4-BE49-F238E27FC236}">
                  <a16:creationId xmlns:a16="http://schemas.microsoft.com/office/drawing/2014/main" id="{F845FAC4-1F17-4BB3-BFCA-E365AF8F3365}"/>
                </a:ext>
              </a:extLst>
            </p:cNvPr>
            <p:cNvPicPr>
              <a:picLocks noChangeAspect="1"/>
            </p:cNvPicPr>
            <p:nvPr/>
          </p:nvPicPr>
          <p:blipFill>
            <a:blip r:embed="rId4">
              <a:biLevel thresh="25000"/>
            </a:blip>
            <a:stretch>
              <a:fillRect/>
            </a:stretch>
          </p:blipFill>
          <p:spPr>
            <a:xfrm>
              <a:off x="4322092" y="1973071"/>
              <a:ext cx="620909" cy="638119"/>
            </a:xfrm>
            <a:prstGeom prst="rect">
              <a:avLst/>
            </a:prstGeom>
          </p:spPr>
        </p:pic>
      </p:grpSp>
      <p:sp>
        <p:nvSpPr>
          <p:cNvPr id="19" name="Rectangle 18">
            <a:extLst>
              <a:ext uri="{FF2B5EF4-FFF2-40B4-BE49-F238E27FC236}">
                <a16:creationId xmlns:a16="http://schemas.microsoft.com/office/drawing/2014/main" id="{C3B67939-CC6C-4D0F-8383-307DB83E331B}"/>
              </a:ext>
            </a:extLst>
          </p:cNvPr>
          <p:cNvSpPr/>
          <p:nvPr/>
        </p:nvSpPr>
        <p:spPr>
          <a:xfrm>
            <a:off x="153104" y="2283097"/>
            <a:ext cx="950207" cy="825392"/>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77" dirty="0">
              <a:solidFill>
                <a:prstClr val="white"/>
              </a:solidFill>
            </a:endParaRPr>
          </a:p>
        </p:txBody>
      </p:sp>
      <p:sp>
        <p:nvSpPr>
          <p:cNvPr id="20" name="Virtual Machines - Label">
            <a:extLst>
              <a:ext uri="{FF2B5EF4-FFF2-40B4-BE49-F238E27FC236}">
                <a16:creationId xmlns:a16="http://schemas.microsoft.com/office/drawing/2014/main" id="{7EAE6866-53F5-48DF-B06D-FE75B8AE32B3}"/>
              </a:ext>
            </a:extLst>
          </p:cNvPr>
          <p:cNvSpPr/>
          <p:nvPr/>
        </p:nvSpPr>
        <p:spPr bwMode="auto">
          <a:xfrm>
            <a:off x="158921" y="2259027"/>
            <a:ext cx="959840" cy="750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5099" tIns="47549" rIns="95099" bIns="47549" numCol="1" rtlCol="0" anchor="b"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8909">
              <a:lnSpc>
                <a:spcPct val="80000"/>
              </a:lnSpc>
            </a:pPr>
            <a:r>
              <a:rPr lang="en-US" sz="816" dirty="0">
                <a:gradFill>
                  <a:gsLst>
                    <a:gs pos="0">
                      <a:srgbClr val="FFFFFF"/>
                    </a:gs>
                    <a:gs pos="100000">
                      <a:srgbClr val="FFFFFF"/>
                    </a:gs>
                  </a:gsLst>
                  <a:lin ang="5400000" scaled="0"/>
                </a:gradFill>
              </a:rPr>
              <a:t>Virtual Machines</a:t>
            </a:r>
          </a:p>
        </p:txBody>
      </p:sp>
      <p:pic>
        <p:nvPicPr>
          <p:cNvPr id="21" name="Picture 20" descr="virtula machines">
            <a:extLst>
              <a:ext uri="{FF2B5EF4-FFF2-40B4-BE49-F238E27FC236}">
                <a16:creationId xmlns:a16="http://schemas.microsoft.com/office/drawing/2014/main" id="{51B854B6-505B-47C4-B359-F05CF2D2E73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7549" y="2413358"/>
            <a:ext cx="351356" cy="313498"/>
          </a:xfrm>
          <a:prstGeom prst="rect">
            <a:avLst/>
          </a:prstGeom>
          <a:noFill/>
          <a:ln>
            <a:noFill/>
          </a:ln>
        </p:spPr>
      </p:pic>
      <p:pic>
        <p:nvPicPr>
          <p:cNvPr id="22" name="Picture 21" descr="lock">
            <a:extLst>
              <a:ext uri="{FF2B5EF4-FFF2-40B4-BE49-F238E27FC236}">
                <a16:creationId xmlns:a16="http://schemas.microsoft.com/office/drawing/2014/main" id="{2FCD3235-B772-48E3-917D-171E5CC9D945}"/>
              </a:ext>
            </a:extLst>
          </p:cNvPr>
          <p:cNvPicPr>
            <a:picLocks noChangeAspect="1" noChangeArrowheads="1"/>
          </p:cNvPicPr>
          <p:nvPr/>
        </p:nvPicPr>
        <p:blipFill rotWithShape="1">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l="22060"/>
          <a:stretch/>
        </p:blipFill>
        <p:spPr bwMode="auto">
          <a:xfrm>
            <a:off x="3332676" y="3353801"/>
            <a:ext cx="1125025" cy="1306283"/>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0ED68C02-342F-439D-94ED-512C9959E7FA}"/>
              </a:ext>
            </a:extLst>
          </p:cNvPr>
          <p:cNvSpPr/>
          <p:nvPr/>
        </p:nvSpPr>
        <p:spPr bwMode="auto">
          <a:xfrm>
            <a:off x="153806" y="4111842"/>
            <a:ext cx="948846" cy="79503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5099" tIns="47549" rIns="95099" bIns="139891" numCol="1" rtlCol="0" anchor="b"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8909">
              <a:lnSpc>
                <a:spcPct val="80000"/>
              </a:lnSpc>
            </a:pPr>
            <a:r>
              <a:rPr lang="en-US" sz="816" dirty="0">
                <a:gradFill>
                  <a:gsLst>
                    <a:gs pos="0">
                      <a:srgbClr val="FFFFFF"/>
                    </a:gs>
                    <a:gs pos="100000">
                      <a:srgbClr val="FFFFFF"/>
                    </a:gs>
                  </a:gsLst>
                  <a:lin ang="5400000" scaled="0"/>
                </a:gradFill>
              </a:rPr>
              <a:t>Applications</a:t>
            </a:r>
          </a:p>
        </p:txBody>
      </p:sp>
      <p:pic>
        <p:nvPicPr>
          <p:cNvPr id="24" name="Picture 23" descr="cloud services">
            <a:extLst>
              <a:ext uri="{FF2B5EF4-FFF2-40B4-BE49-F238E27FC236}">
                <a16:creationId xmlns:a16="http://schemas.microsoft.com/office/drawing/2014/main" id="{7D499B0B-64BE-4426-B057-6B46E679ED09}"/>
              </a:ext>
            </a:extLst>
          </p:cNvPr>
          <p:cNvPicPr>
            <a:picLocks noChangeAspect="1"/>
          </p:cNvPicPr>
          <p:nvPr/>
        </p:nvPicPr>
        <p:blipFill>
          <a:blip r:embed="rId8">
            <a:biLevel thresh="25000"/>
          </a:blip>
          <a:stretch>
            <a:fillRect/>
          </a:stretch>
        </p:blipFill>
        <p:spPr>
          <a:xfrm>
            <a:off x="372260" y="4205459"/>
            <a:ext cx="532574" cy="376241"/>
          </a:xfrm>
          <a:prstGeom prst="rect">
            <a:avLst/>
          </a:prstGeom>
        </p:spPr>
      </p:pic>
      <p:sp>
        <p:nvSpPr>
          <p:cNvPr id="25" name="Rectangle 24">
            <a:extLst>
              <a:ext uri="{FF2B5EF4-FFF2-40B4-BE49-F238E27FC236}">
                <a16:creationId xmlns:a16="http://schemas.microsoft.com/office/drawing/2014/main" id="{6A8CF895-BB48-4434-AD76-0069D19C066E}"/>
              </a:ext>
            </a:extLst>
          </p:cNvPr>
          <p:cNvSpPr/>
          <p:nvPr/>
        </p:nvSpPr>
        <p:spPr>
          <a:xfrm>
            <a:off x="153547" y="1360295"/>
            <a:ext cx="950207" cy="825392"/>
          </a:xfrm>
          <a:prstGeom prst="rect">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8909">
              <a:lnSpc>
                <a:spcPct val="80000"/>
              </a:lnSpc>
            </a:pPr>
            <a:r>
              <a:rPr lang="en-US" sz="818" dirty="0">
                <a:gradFill>
                  <a:gsLst>
                    <a:gs pos="0">
                      <a:srgbClr val="FFFFFF"/>
                    </a:gs>
                    <a:gs pos="100000">
                      <a:srgbClr val="FFFFFF"/>
                    </a:gs>
                  </a:gsLst>
                  <a:lin ang="5400000" scaled="0"/>
                </a:gradFill>
              </a:rPr>
              <a:t>Storage Account</a:t>
            </a:r>
          </a:p>
        </p:txBody>
      </p:sp>
      <p:pic>
        <p:nvPicPr>
          <p:cNvPr id="26" name="Picture 25" descr="Storage account">
            <a:extLst>
              <a:ext uri="{FF2B5EF4-FFF2-40B4-BE49-F238E27FC236}">
                <a16:creationId xmlns:a16="http://schemas.microsoft.com/office/drawing/2014/main" id="{B06B5576-8238-4AE6-B1B9-8274F63CA0DF}"/>
              </a:ext>
            </a:extLst>
          </p:cNvPr>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385215" y="1402898"/>
            <a:ext cx="585218" cy="585218"/>
          </a:xfrm>
          <a:prstGeom prst="rect">
            <a:avLst/>
          </a:prstGeom>
        </p:spPr>
      </p:pic>
      <p:sp>
        <p:nvSpPr>
          <p:cNvPr id="27" name="Rectangle 26">
            <a:extLst>
              <a:ext uri="{FF2B5EF4-FFF2-40B4-BE49-F238E27FC236}">
                <a16:creationId xmlns:a16="http://schemas.microsoft.com/office/drawing/2014/main" id="{F99B4A9F-99AB-44B4-B2D8-861A3D2205B2}"/>
              </a:ext>
            </a:extLst>
          </p:cNvPr>
          <p:cNvSpPr/>
          <p:nvPr/>
        </p:nvSpPr>
        <p:spPr bwMode="auto">
          <a:xfrm>
            <a:off x="1095273" y="1360294"/>
            <a:ext cx="953969" cy="82539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5099" tIns="47549" rIns="95099" bIns="139891" numCol="1" rtlCol="0" anchor="b"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8909">
              <a:lnSpc>
                <a:spcPct val="80000"/>
              </a:lnSpc>
            </a:pPr>
            <a:r>
              <a:rPr lang="en-US" sz="816" dirty="0">
                <a:gradFill>
                  <a:gsLst>
                    <a:gs pos="0">
                      <a:srgbClr val="FFFFFF"/>
                    </a:gs>
                    <a:gs pos="100000">
                      <a:srgbClr val="FFFFFF"/>
                    </a:gs>
                  </a:gsLst>
                  <a:lin ang="5400000" scaled="0"/>
                </a:gradFill>
              </a:rPr>
              <a:t>Storage Service Encryption</a:t>
            </a:r>
          </a:p>
        </p:txBody>
      </p:sp>
      <p:pic>
        <p:nvPicPr>
          <p:cNvPr id="28" name="Picture 27" descr="Storage service encryption">
            <a:extLst>
              <a:ext uri="{FF2B5EF4-FFF2-40B4-BE49-F238E27FC236}">
                <a16:creationId xmlns:a16="http://schemas.microsoft.com/office/drawing/2014/main" id="{8814E8F7-BBC4-4372-B111-7CD20B0D6F7A}"/>
              </a:ext>
            </a:extLst>
          </p:cNvPr>
          <p:cNvPicPr>
            <a:picLocks noChangeAspect="1" noChangeArrowheads="1"/>
          </p:cNvPicPr>
          <p:nvPr/>
        </p:nvPicPr>
        <p:blipFill rotWithShape="1">
          <a:blip r:embed="rId10" cstate="print">
            <a:biLevel thresh="25000"/>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val="0"/>
              </a:ext>
            </a:extLst>
          </a:blip>
          <a:srcRect l="22060"/>
          <a:stretch/>
        </p:blipFill>
        <p:spPr bwMode="auto">
          <a:xfrm>
            <a:off x="1418019" y="1438640"/>
            <a:ext cx="297392" cy="381565"/>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a:extLst>
              <a:ext uri="{FF2B5EF4-FFF2-40B4-BE49-F238E27FC236}">
                <a16:creationId xmlns:a16="http://schemas.microsoft.com/office/drawing/2014/main" id="{5CE220A4-0720-4DAD-A9A8-A55E8F8ED0F7}"/>
              </a:ext>
            </a:extLst>
          </p:cNvPr>
          <p:cNvGrpSpPr/>
          <p:nvPr/>
        </p:nvGrpSpPr>
        <p:grpSpPr>
          <a:xfrm>
            <a:off x="1017526" y="3205769"/>
            <a:ext cx="1031717" cy="871406"/>
            <a:chOff x="1675850" y="4802265"/>
            <a:chExt cx="1348771" cy="1347326"/>
          </a:xfrm>
          <a:solidFill>
            <a:schemeClr val="accent3"/>
          </a:solidFill>
        </p:grpSpPr>
        <p:sp>
          <p:nvSpPr>
            <p:cNvPr id="30" name="Rectangle 29">
              <a:extLst>
                <a:ext uri="{FF2B5EF4-FFF2-40B4-BE49-F238E27FC236}">
                  <a16:creationId xmlns:a16="http://schemas.microsoft.com/office/drawing/2014/main" id="{1EC2D412-3C99-438C-8F3D-A7CB814BB48D}"/>
                </a:ext>
              </a:extLst>
            </p:cNvPr>
            <p:cNvSpPr/>
            <p:nvPr/>
          </p:nvSpPr>
          <p:spPr>
            <a:xfrm>
              <a:off x="1675850" y="4802265"/>
              <a:ext cx="1348771" cy="12299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a:endParaRPr lang="en-US" sz="1377" dirty="0">
                <a:solidFill>
                  <a:prstClr val="white"/>
                </a:solidFill>
              </a:endParaRPr>
            </a:p>
          </p:txBody>
        </p:sp>
        <p:sp>
          <p:nvSpPr>
            <p:cNvPr id="31" name="Rectangle 30">
              <a:extLst>
                <a:ext uri="{FF2B5EF4-FFF2-40B4-BE49-F238E27FC236}">
                  <a16:creationId xmlns:a16="http://schemas.microsoft.com/office/drawing/2014/main" id="{E292941A-E4CF-491A-A164-DB9FDB4CA25B}"/>
                </a:ext>
              </a:extLst>
            </p:cNvPr>
            <p:cNvSpPr/>
            <p:nvPr/>
          </p:nvSpPr>
          <p:spPr bwMode="auto">
            <a:xfrm>
              <a:off x="1763255" y="4907912"/>
              <a:ext cx="1254695" cy="124167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5099" tIns="47549" rIns="95099" bIns="139891" numCol="1" rtlCol="0" anchor="b"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8909">
                <a:lnSpc>
                  <a:spcPct val="80000"/>
                </a:lnSpc>
              </a:pPr>
              <a:r>
                <a:rPr lang="en-US" sz="816" dirty="0">
                  <a:gradFill>
                    <a:gsLst>
                      <a:gs pos="0">
                        <a:srgbClr val="FFFFFF"/>
                      </a:gs>
                      <a:gs pos="100000">
                        <a:srgbClr val="FFFFFF"/>
                      </a:gs>
                    </a:gsLst>
                    <a:lin ang="5400000" scaled="0"/>
                  </a:gradFill>
                </a:rPr>
                <a:t>SQL DB TDE</a:t>
              </a:r>
            </a:p>
          </p:txBody>
        </p:sp>
      </p:grpSp>
      <p:sp>
        <p:nvSpPr>
          <p:cNvPr id="32" name="Rectangle 31">
            <a:extLst>
              <a:ext uri="{FF2B5EF4-FFF2-40B4-BE49-F238E27FC236}">
                <a16:creationId xmlns:a16="http://schemas.microsoft.com/office/drawing/2014/main" id="{C31870F6-CA37-4483-9271-43625A2E504A}"/>
              </a:ext>
            </a:extLst>
          </p:cNvPr>
          <p:cNvSpPr/>
          <p:nvPr/>
        </p:nvSpPr>
        <p:spPr bwMode="auto">
          <a:xfrm>
            <a:off x="152455" y="3205777"/>
            <a:ext cx="948846" cy="79503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5099" tIns="47549" rIns="95099" bIns="139891" numCol="1" rtlCol="0" anchor="b" anchorCtr="0" compatLnSpc="1">
            <a:prstTxWarp prst="textNoShape">
              <a:avLst/>
            </a:prstTxWarp>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698909">
              <a:lnSpc>
                <a:spcPct val="80000"/>
              </a:lnSpc>
            </a:pPr>
            <a:r>
              <a:rPr lang="en-US" sz="816" dirty="0">
                <a:gradFill>
                  <a:gsLst>
                    <a:gs pos="0">
                      <a:srgbClr val="FFFFFF"/>
                    </a:gs>
                    <a:gs pos="100000">
                      <a:srgbClr val="FFFFFF"/>
                    </a:gs>
                  </a:gsLst>
                  <a:lin ang="5400000" scaled="0"/>
                </a:gradFill>
              </a:rPr>
              <a:t>PaaS</a:t>
            </a:r>
          </a:p>
        </p:txBody>
      </p:sp>
      <p:pic>
        <p:nvPicPr>
          <p:cNvPr id="33" name="Picture 32" descr="cloud services">
            <a:extLst>
              <a:ext uri="{FF2B5EF4-FFF2-40B4-BE49-F238E27FC236}">
                <a16:creationId xmlns:a16="http://schemas.microsoft.com/office/drawing/2014/main" id="{597373E7-CB3F-4CBC-8E83-443DB52EE106}"/>
              </a:ext>
            </a:extLst>
          </p:cNvPr>
          <p:cNvPicPr>
            <a:picLocks noChangeAspect="1"/>
          </p:cNvPicPr>
          <p:nvPr/>
        </p:nvPicPr>
        <p:blipFill>
          <a:blip r:embed="rId8">
            <a:biLevel thresh="25000"/>
          </a:blip>
          <a:stretch>
            <a:fillRect/>
          </a:stretch>
        </p:blipFill>
        <p:spPr>
          <a:xfrm>
            <a:off x="370909" y="3299395"/>
            <a:ext cx="532574" cy="376241"/>
          </a:xfrm>
          <a:prstGeom prst="rect">
            <a:avLst/>
          </a:prstGeom>
        </p:spPr>
      </p:pic>
      <p:pic>
        <p:nvPicPr>
          <p:cNvPr id="34" name="Picture 33" descr="SQL DB TDE">
            <a:extLst>
              <a:ext uri="{FF2B5EF4-FFF2-40B4-BE49-F238E27FC236}">
                <a16:creationId xmlns:a16="http://schemas.microsoft.com/office/drawing/2014/main" id="{FCFD90E8-6394-4417-BE9E-654E7E78C28E}"/>
              </a:ext>
            </a:extLst>
          </p:cNvPr>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1366445" y="3321792"/>
            <a:ext cx="423406" cy="423406"/>
          </a:xfrm>
          <a:prstGeom prst="rect">
            <a:avLst/>
          </a:prstGeom>
        </p:spPr>
      </p:pic>
    </p:spTree>
    <p:extLst>
      <p:ext uri="{BB962C8B-B14F-4D97-AF65-F5344CB8AC3E}">
        <p14:creationId xmlns:p14="http://schemas.microsoft.com/office/powerpoint/2010/main" val="24494910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C3D108-8AB5-437D-936E-F627AF20BFD3}"/>
              </a:ext>
            </a:extLst>
          </p:cNvPr>
          <p:cNvSpPr>
            <a:spLocks noGrp="1"/>
          </p:cNvSpPr>
          <p:nvPr>
            <p:ph type="title"/>
          </p:nvPr>
        </p:nvSpPr>
        <p:spPr>
          <a:xfrm>
            <a:off x="600823" y="1047217"/>
            <a:ext cx="4790327" cy="994172"/>
          </a:xfrm>
        </p:spPr>
        <p:txBody>
          <a:bodyPr vert="horz" wrap="square" lIns="68580" tIns="34290" rIns="68580" bIns="34290" rtlCol="0" anchor="ctr">
            <a:normAutofit/>
          </a:bodyPr>
          <a:lstStyle/>
          <a:p>
            <a:pPr defTabSz="685800">
              <a:lnSpc>
                <a:spcPct val="90000"/>
              </a:lnSpc>
            </a:pPr>
            <a:r>
              <a:rPr lang="en-US" sz="3300">
                <a:solidFill>
                  <a:schemeClr val="tx1"/>
                </a:solidFill>
                <a:ea typeface="+mj-ea"/>
                <a:cs typeface="+mj-cs"/>
              </a:rPr>
              <a:t>Azure Storage Service Encryption</a:t>
            </a:r>
          </a:p>
        </p:txBody>
      </p:sp>
      <p:sp>
        <p:nvSpPr>
          <p:cNvPr id="2" name="Text Placeholder 1">
            <a:extLst>
              <a:ext uri="{FF2B5EF4-FFF2-40B4-BE49-F238E27FC236}">
                <a16:creationId xmlns:a16="http://schemas.microsoft.com/office/drawing/2014/main" id="{A8668BEC-1A2B-4549-9375-2C9C51BF3BD5}"/>
              </a:ext>
            </a:extLst>
          </p:cNvPr>
          <p:cNvSpPr>
            <a:spLocks noGrp="1"/>
          </p:cNvSpPr>
          <p:nvPr>
            <p:ph type="body" sz="quarter" idx="10"/>
          </p:nvPr>
        </p:nvSpPr>
        <p:spPr>
          <a:xfrm>
            <a:off x="604157" y="2153987"/>
            <a:ext cx="4786993" cy="2386263"/>
          </a:xfrm>
        </p:spPr>
        <p:txBody>
          <a:bodyPr vert="horz" wrap="square" lIns="68580" tIns="34290" rIns="68580" bIns="34290" rtlCol="0" anchor="t">
            <a:normAutofit fontScale="92500"/>
          </a:bodyPr>
          <a:lstStyle/>
          <a:p>
            <a:pPr marL="342900" indent="-171450" defTabSz="685800">
              <a:lnSpc>
                <a:spcPct val="90000"/>
              </a:lnSpc>
              <a:buFont typeface="Arial" panose="020B0604020202020204" pitchFamily="34" charset="0"/>
              <a:buChar char="•"/>
            </a:pPr>
            <a:r>
              <a:rPr lang="en-US" dirty="0">
                <a:solidFill>
                  <a:schemeClr val="tx1"/>
                </a:solidFill>
                <a:latin typeface="+mn-lt"/>
                <a:cs typeface="+mn-cs"/>
              </a:rPr>
              <a:t>Service Encrypts Data Automatically</a:t>
            </a:r>
          </a:p>
          <a:p>
            <a:pPr marL="342900" indent="-171450" defTabSz="685800">
              <a:lnSpc>
                <a:spcPct val="90000"/>
              </a:lnSpc>
              <a:buFont typeface="Arial" panose="020B0604020202020204" pitchFamily="34" charset="0"/>
              <a:buChar char="•"/>
            </a:pPr>
            <a:r>
              <a:rPr lang="en-US" dirty="0">
                <a:solidFill>
                  <a:schemeClr val="tx1"/>
                </a:solidFill>
                <a:latin typeface="+mn-lt"/>
                <a:cs typeface="+mn-cs"/>
              </a:rPr>
              <a:t>Support for Block Blobs, Append Blobs and Page Blobs (Standard and Premium storage)</a:t>
            </a:r>
          </a:p>
          <a:p>
            <a:pPr marL="342900" indent="-171450" defTabSz="685800">
              <a:lnSpc>
                <a:spcPct val="90000"/>
              </a:lnSpc>
              <a:buFont typeface="Arial" panose="020B0604020202020204" pitchFamily="34" charset="0"/>
              <a:buChar char="•"/>
            </a:pPr>
            <a:r>
              <a:rPr lang="en-US" dirty="0">
                <a:solidFill>
                  <a:schemeClr val="tx1"/>
                </a:solidFill>
                <a:latin typeface="+mn-lt"/>
                <a:cs typeface="+mn-cs"/>
              </a:rPr>
              <a:t>Storage Account level one-click setting for enabling encryption both for new and existing storage accounts</a:t>
            </a:r>
          </a:p>
          <a:p>
            <a:pPr marL="342900" indent="-171450" defTabSz="685800">
              <a:lnSpc>
                <a:spcPct val="90000"/>
              </a:lnSpc>
              <a:buFont typeface="Arial" panose="020B0604020202020204" pitchFamily="34" charset="0"/>
              <a:buChar char="•"/>
            </a:pPr>
            <a:r>
              <a:rPr lang="en-US" dirty="0">
                <a:solidFill>
                  <a:schemeClr val="tx1"/>
                </a:solidFill>
                <a:latin typeface="+mn-lt"/>
                <a:cs typeface="+mn-cs"/>
              </a:rPr>
              <a:t>AES 256 cipher</a:t>
            </a:r>
          </a:p>
        </p:txBody>
      </p:sp>
      <p:sp>
        <p:nvSpPr>
          <p:cNvPr id="17" name="Freeform: Shape 11">
            <a:extLst>
              <a:ext uri="{FF2B5EF4-FFF2-40B4-BE49-F238E27FC236}">
                <a16:creationId xmlns:a16="http://schemas.microsoft.com/office/drawing/2014/main" id="{2C6A2225-94AF-4BC4-98F4-77746E7B10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43831" y="1"/>
            <a:ext cx="3500169" cy="2709703"/>
          </a:xfrm>
          <a:custGeom>
            <a:avLst/>
            <a:gdLst>
              <a:gd name="connsiteX0" fmla="*/ 192227 w 4666892"/>
              <a:gd name="connsiteY0" fmla="*/ 0 h 3612937"/>
              <a:gd name="connsiteX1" fmla="*/ 4666892 w 4666892"/>
              <a:gd name="connsiteY1" fmla="*/ 0 h 3612937"/>
              <a:gd name="connsiteX2" fmla="*/ 4666892 w 4666892"/>
              <a:gd name="connsiteY2" fmla="*/ 2643684 h 3612937"/>
              <a:gd name="connsiteX3" fmla="*/ 4657487 w 4666892"/>
              <a:gd name="connsiteY3" fmla="*/ 2656262 h 3612937"/>
              <a:gd name="connsiteX4" fmla="*/ 2628900 w 4666892"/>
              <a:gd name="connsiteY4" fmla="*/ 3612937 h 3612937"/>
              <a:gd name="connsiteX5" fmla="*/ 0 w 4666892"/>
              <a:gd name="connsiteY5" fmla="*/ 984037 h 3612937"/>
              <a:gd name="connsiteX6" fmla="*/ 118190 w 4666892"/>
              <a:gd name="connsiteY6" fmla="*/ 202283 h 361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6892" h="3612937">
                <a:moveTo>
                  <a:pt x="192227" y="0"/>
                </a:moveTo>
                <a:lnTo>
                  <a:pt x="4666892" y="0"/>
                </a:lnTo>
                <a:lnTo>
                  <a:pt x="4666892" y="2643684"/>
                </a:lnTo>
                <a:lnTo>
                  <a:pt x="4657487" y="2656262"/>
                </a:lnTo>
                <a:cubicBezTo>
                  <a:pt x="4175308" y="3240527"/>
                  <a:pt x="3445594" y="3612937"/>
                  <a:pt x="2628900" y="3612937"/>
                </a:cubicBezTo>
                <a:cubicBezTo>
                  <a:pt x="1176999" y="3612937"/>
                  <a:pt x="0" y="2435938"/>
                  <a:pt x="0" y="984037"/>
                </a:cubicBezTo>
                <a:cubicBezTo>
                  <a:pt x="0" y="711806"/>
                  <a:pt x="41379" y="449239"/>
                  <a:pt x="118190" y="202283"/>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Calibri" panose="020F0502020204030204"/>
            </a:endParaRPr>
          </a:p>
        </p:txBody>
      </p:sp>
      <p:sp>
        <p:nvSpPr>
          <p:cNvPr id="19" name="Freeform: Shape 13">
            <a:extLst>
              <a:ext uri="{FF2B5EF4-FFF2-40B4-BE49-F238E27FC236}">
                <a16:creationId xmlns:a16="http://schemas.microsoft.com/office/drawing/2014/main" id="{46EA0402-5843-4D53-BF9C-BE72058120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7373" y="1"/>
            <a:ext cx="3376630" cy="2586164"/>
          </a:xfrm>
          <a:custGeom>
            <a:avLst/>
            <a:gdLst>
              <a:gd name="connsiteX0" fmla="*/ 205627 w 4502173"/>
              <a:gd name="connsiteY0" fmla="*/ 0 h 3448219"/>
              <a:gd name="connsiteX1" fmla="*/ 4502173 w 4502173"/>
              <a:gd name="connsiteY1" fmla="*/ 0 h 3448219"/>
              <a:gd name="connsiteX2" fmla="*/ 4502173 w 4502173"/>
              <a:gd name="connsiteY2" fmla="*/ 2368934 h 3448219"/>
              <a:gd name="connsiteX3" fmla="*/ 4365663 w 4502173"/>
              <a:gd name="connsiteY3" fmla="*/ 2551486 h 3448219"/>
              <a:gd name="connsiteX4" fmla="*/ 2464181 w 4502173"/>
              <a:gd name="connsiteY4" fmla="*/ 3448219 h 3448219"/>
              <a:gd name="connsiteX5" fmla="*/ 0 w 4502173"/>
              <a:gd name="connsiteY5" fmla="*/ 984038 h 3448219"/>
              <a:gd name="connsiteX6" fmla="*/ 193648 w 4502173"/>
              <a:gd name="connsiteY6" fmla="*/ 24867 h 3448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2173" h="3448219">
                <a:moveTo>
                  <a:pt x="205627" y="0"/>
                </a:moveTo>
                <a:lnTo>
                  <a:pt x="4502173" y="0"/>
                </a:lnTo>
                <a:lnTo>
                  <a:pt x="4502173" y="2368934"/>
                </a:lnTo>
                <a:lnTo>
                  <a:pt x="4365663" y="2551486"/>
                </a:lnTo>
                <a:cubicBezTo>
                  <a:pt x="3913696" y="3099144"/>
                  <a:pt x="3229704" y="3448219"/>
                  <a:pt x="2464181" y="3448219"/>
                </a:cubicBezTo>
                <a:cubicBezTo>
                  <a:pt x="1103251" y="3448219"/>
                  <a:pt x="0" y="2344968"/>
                  <a:pt x="0" y="984038"/>
                </a:cubicBezTo>
                <a:cubicBezTo>
                  <a:pt x="0" y="643806"/>
                  <a:pt x="68954" y="319678"/>
                  <a:pt x="193648" y="24867"/>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Calibri" panose="020F0502020204030204"/>
            </a:endParaRPr>
          </a:p>
        </p:txBody>
      </p:sp>
      <p:pic>
        <p:nvPicPr>
          <p:cNvPr id="7" name="Graphic 6">
            <a:extLst>
              <a:ext uri="{FF2B5EF4-FFF2-40B4-BE49-F238E27FC236}">
                <a16:creationId xmlns:a16="http://schemas.microsoft.com/office/drawing/2014/main" id="{CDD107B9-645D-4AB0-AAEF-2B1C1FE2D26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76620" y="183392"/>
            <a:ext cx="1935554" cy="1935554"/>
          </a:xfrm>
          <a:prstGeom prst="rect">
            <a:avLst/>
          </a:prstGeom>
        </p:spPr>
      </p:pic>
      <p:sp>
        <p:nvSpPr>
          <p:cNvPr id="16" name="Freeform: Shape 15">
            <a:extLst>
              <a:ext uri="{FF2B5EF4-FFF2-40B4-BE49-F238E27FC236}">
                <a16:creationId xmlns:a16="http://schemas.microsoft.com/office/drawing/2014/main" id="{648F5915-2CE1-4F74-88C5-D4366893D2D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53553" y="2938538"/>
            <a:ext cx="2690447" cy="2204961"/>
          </a:xfrm>
          <a:custGeom>
            <a:avLst/>
            <a:gdLst>
              <a:gd name="connsiteX0" fmla="*/ 2070613 w 3587263"/>
              <a:gd name="connsiteY0" fmla="*/ 0 h 2939948"/>
              <a:gd name="connsiteX1" fmla="*/ 3534758 w 3587263"/>
              <a:gd name="connsiteY1" fmla="*/ 606469 h 2939948"/>
              <a:gd name="connsiteX2" fmla="*/ 3587263 w 3587263"/>
              <a:gd name="connsiteY2" fmla="*/ 664240 h 2939948"/>
              <a:gd name="connsiteX3" fmla="*/ 3587263 w 3587263"/>
              <a:gd name="connsiteY3" fmla="*/ 2939948 h 2939948"/>
              <a:gd name="connsiteX4" fmla="*/ 193241 w 3587263"/>
              <a:gd name="connsiteY4" fmla="*/ 2939948 h 2939948"/>
              <a:gd name="connsiteX5" fmla="*/ 162719 w 3587263"/>
              <a:gd name="connsiteY5" fmla="*/ 2876589 h 2939948"/>
              <a:gd name="connsiteX6" fmla="*/ 0 w 3587263"/>
              <a:gd name="connsiteY6" fmla="*/ 2070613 h 2939948"/>
              <a:gd name="connsiteX7" fmla="*/ 2070613 w 3587263"/>
              <a:gd name="connsiteY7" fmla="*/ 0 h 293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7263" h="2939948">
                <a:moveTo>
                  <a:pt x="2070613" y="0"/>
                </a:moveTo>
                <a:cubicBezTo>
                  <a:pt x="2642397" y="0"/>
                  <a:pt x="3160050" y="231761"/>
                  <a:pt x="3534758" y="606469"/>
                </a:cubicBezTo>
                <a:lnTo>
                  <a:pt x="3587263" y="664240"/>
                </a:lnTo>
                <a:lnTo>
                  <a:pt x="3587263" y="2939948"/>
                </a:lnTo>
                <a:lnTo>
                  <a:pt x="193241" y="2939948"/>
                </a:lnTo>
                <a:lnTo>
                  <a:pt x="162719" y="2876589"/>
                </a:lnTo>
                <a:cubicBezTo>
                  <a:pt x="57940" y="2628865"/>
                  <a:pt x="0" y="2356505"/>
                  <a:pt x="0" y="2070613"/>
                </a:cubicBezTo>
                <a:cubicBezTo>
                  <a:pt x="0" y="927045"/>
                  <a:pt x="927045" y="0"/>
                  <a:pt x="2070613"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Calibri" panose="020F0502020204030204"/>
            </a:endParaRPr>
          </a:p>
        </p:txBody>
      </p:sp>
      <p:sp>
        <p:nvSpPr>
          <p:cNvPr id="18" name="Freeform: Shape 17">
            <a:extLst>
              <a:ext uri="{FF2B5EF4-FFF2-40B4-BE49-F238E27FC236}">
                <a16:creationId xmlns:a16="http://schemas.microsoft.com/office/drawing/2014/main" id="{91B43EC4-7D6F-44CA-82DD-103883D2366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76621" y="3061607"/>
            <a:ext cx="2567381" cy="2081894"/>
          </a:xfrm>
          <a:custGeom>
            <a:avLst/>
            <a:gdLst>
              <a:gd name="connsiteX0" fmla="*/ 1906524 w 3423175"/>
              <a:gd name="connsiteY0" fmla="*/ 0 h 2775859"/>
              <a:gd name="connsiteX1" fmla="*/ 3377691 w 3423175"/>
              <a:gd name="connsiteY1" fmla="*/ 693798 h 2775859"/>
              <a:gd name="connsiteX2" fmla="*/ 3423175 w 3423175"/>
              <a:gd name="connsiteY2" fmla="*/ 754624 h 2775859"/>
              <a:gd name="connsiteX3" fmla="*/ 3423175 w 3423175"/>
              <a:gd name="connsiteY3" fmla="*/ 2775859 h 2775859"/>
              <a:gd name="connsiteX4" fmla="*/ 211114 w 3423175"/>
              <a:gd name="connsiteY4" fmla="*/ 2775859 h 2775859"/>
              <a:gd name="connsiteX5" fmla="*/ 149824 w 3423175"/>
              <a:gd name="connsiteY5" fmla="*/ 2648629 h 2775859"/>
              <a:gd name="connsiteX6" fmla="*/ 0 w 3423175"/>
              <a:gd name="connsiteY6" fmla="*/ 1906524 h 2775859"/>
              <a:gd name="connsiteX7" fmla="*/ 1906524 w 3423175"/>
              <a:gd name="connsiteY7" fmla="*/ 0 h 2775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3175" h="2775859">
                <a:moveTo>
                  <a:pt x="1906524" y="0"/>
                </a:moveTo>
                <a:cubicBezTo>
                  <a:pt x="2498805" y="0"/>
                  <a:pt x="3028006" y="270078"/>
                  <a:pt x="3377691" y="693798"/>
                </a:cubicBezTo>
                <a:lnTo>
                  <a:pt x="3423175" y="754624"/>
                </a:lnTo>
                <a:lnTo>
                  <a:pt x="3423175" y="2775859"/>
                </a:lnTo>
                <a:lnTo>
                  <a:pt x="211114" y="2775859"/>
                </a:lnTo>
                <a:lnTo>
                  <a:pt x="149824" y="2648629"/>
                </a:lnTo>
                <a:cubicBezTo>
                  <a:pt x="53349" y="2420536"/>
                  <a:pt x="0" y="2169760"/>
                  <a:pt x="0" y="1906524"/>
                </a:cubicBezTo>
                <a:cubicBezTo>
                  <a:pt x="0" y="853580"/>
                  <a:pt x="853580" y="0"/>
                  <a:pt x="190652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Calibri" panose="020F0502020204030204"/>
            </a:endParaRPr>
          </a:p>
        </p:txBody>
      </p:sp>
      <p:pic>
        <p:nvPicPr>
          <p:cNvPr id="6" name="Picture 5">
            <a:extLst>
              <a:ext uri="{FF2B5EF4-FFF2-40B4-BE49-F238E27FC236}">
                <a16:creationId xmlns:a16="http://schemas.microsoft.com/office/drawing/2014/main" id="{85CE2BBB-6EFC-493B-B209-889CD0B8D032}"/>
              </a:ext>
            </a:extLst>
          </p:cNvPr>
          <p:cNvPicPr>
            <a:picLocks noChangeAspect="1"/>
          </p:cNvPicPr>
          <p:nvPr/>
        </p:nvPicPr>
        <p:blipFill>
          <a:blip r:embed="rId4"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7253976" y="3577472"/>
            <a:ext cx="1442202" cy="1442202"/>
          </a:xfrm>
          <a:prstGeom prst="rect">
            <a:avLst/>
          </a:prstGeom>
        </p:spPr>
      </p:pic>
    </p:spTree>
    <p:extLst>
      <p:ext uri="{BB962C8B-B14F-4D97-AF65-F5344CB8AC3E}">
        <p14:creationId xmlns:p14="http://schemas.microsoft.com/office/powerpoint/2010/main" val="3209075416"/>
      </p:ext>
    </p:extLst>
  </p:cSld>
  <p:clrMapOvr>
    <a:overrideClrMapping bg1="dk1" tx1="lt1" bg2="dk2" tx2="lt2" accent1="accent1" accent2="accent2" accent3="accent3" accent4="accent4" accent5="accent5" accent6="accent6" hlink="hlink" folHlink="folHlink"/>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1DE31-5433-443F-8653-F1535588A467}"/>
              </a:ext>
            </a:extLst>
          </p:cNvPr>
          <p:cNvSpPr>
            <a:spLocks noGrp="1"/>
          </p:cNvSpPr>
          <p:nvPr>
            <p:ph type="title"/>
          </p:nvPr>
        </p:nvSpPr>
        <p:spPr>
          <a:xfrm>
            <a:off x="486696" y="471949"/>
            <a:ext cx="2629122" cy="1216741"/>
          </a:xfrm>
        </p:spPr>
        <p:txBody>
          <a:bodyPr vert="horz" lIns="91440" tIns="45720" rIns="91440" bIns="45720" rtlCol="0" anchor="ctr">
            <a:normAutofit fontScale="90000"/>
          </a:bodyPr>
          <a:lstStyle/>
          <a:p>
            <a:pPr defTabSz="914400">
              <a:lnSpc>
                <a:spcPct val="90000"/>
              </a:lnSpc>
            </a:pPr>
            <a:r>
              <a:rPr lang="en-US" sz="4100" kern="1200" dirty="0">
                <a:solidFill>
                  <a:schemeClr val="tx1"/>
                </a:solidFill>
                <a:latin typeface="+mj-lt"/>
                <a:ea typeface="+mj-ea"/>
                <a:cs typeface="+mj-cs"/>
              </a:rPr>
              <a:t>Storage</a:t>
            </a:r>
            <a:br>
              <a:rPr lang="en-US" sz="4100" kern="1200" dirty="0">
                <a:solidFill>
                  <a:schemeClr val="tx1"/>
                </a:solidFill>
                <a:latin typeface="+mj-lt"/>
                <a:ea typeface="+mj-ea"/>
                <a:cs typeface="+mj-cs"/>
              </a:rPr>
            </a:br>
            <a:r>
              <a:rPr lang="en-US" sz="4100" kern="1200" dirty="0">
                <a:solidFill>
                  <a:schemeClr val="tx1"/>
                </a:solidFill>
                <a:latin typeface="+mj-lt"/>
                <a:ea typeface="+mj-ea"/>
                <a:cs typeface="+mj-cs"/>
              </a:rPr>
              <a:t>Threat Protection</a:t>
            </a:r>
          </a:p>
        </p:txBody>
      </p:sp>
      <p:sp>
        <p:nvSpPr>
          <p:cNvPr id="3" name="Text Placeholder 2">
            <a:extLst>
              <a:ext uri="{FF2B5EF4-FFF2-40B4-BE49-F238E27FC236}">
                <a16:creationId xmlns:a16="http://schemas.microsoft.com/office/drawing/2014/main" id="{E720B40F-4F37-40B6-8146-03C347275B68}"/>
              </a:ext>
            </a:extLst>
          </p:cNvPr>
          <p:cNvSpPr>
            <a:spLocks noGrp="1"/>
          </p:cNvSpPr>
          <p:nvPr>
            <p:ph type="body" sz="quarter" idx="10"/>
          </p:nvPr>
        </p:nvSpPr>
        <p:spPr>
          <a:xfrm>
            <a:off x="152400" y="1828800"/>
            <a:ext cx="2963418" cy="2839064"/>
          </a:xfrm>
        </p:spPr>
        <p:txBody>
          <a:bodyPr vert="horz" lIns="91440" tIns="45720" rIns="91440" bIns="45720" rtlCol="0">
            <a:normAutofit fontScale="92500" lnSpcReduction="10000"/>
          </a:bodyPr>
          <a:lstStyle/>
          <a:p>
            <a:pPr marL="342900" indent="-342900" defTabSz="914400">
              <a:lnSpc>
                <a:spcPct val="90000"/>
              </a:lnSpc>
              <a:buFont typeface="Arial" panose="020B0604020202020204" pitchFamily="34" charset="0"/>
              <a:buChar char="•"/>
            </a:pPr>
            <a:r>
              <a:rPr lang="en-US" sz="2400" dirty="0">
                <a:solidFill>
                  <a:schemeClr val="tx1"/>
                </a:solidFill>
                <a:latin typeface="+mn-lt"/>
                <a:cs typeface="+mn-cs"/>
              </a:rPr>
              <a:t>Detects unusual and harmful attempts to exploit storage</a:t>
            </a:r>
          </a:p>
          <a:p>
            <a:pPr marL="342900" indent="-342900" defTabSz="914400">
              <a:lnSpc>
                <a:spcPct val="90000"/>
              </a:lnSpc>
              <a:buFont typeface="Arial" panose="020B0604020202020204" pitchFamily="34" charset="0"/>
              <a:buChar char="•"/>
            </a:pPr>
            <a:r>
              <a:rPr lang="en-US" sz="2400" dirty="0">
                <a:solidFill>
                  <a:schemeClr val="tx1"/>
                </a:solidFill>
                <a:latin typeface="+mn-lt"/>
                <a:cs typeface="+mn-cs"/>
              </a:rPr>
              <a:t>Alerts sent to Azure Security Center</a:t>
            </a:r>
          </a:p>
          <a:p>
            <a:pPr marL="342900" indent="-342900" defTabSz="914400">
              <a:lnSpc>
                <a:spcPct val="90000"/>
              </a:lnSpc>
              <a:buFont typeface="Arial" panose="020B0604020202020204" pitchFamily="34" charset="0"/>
              <a:buChar char="•"/>
            </a:pPr>
            <a:r>
              <a:rPr lang="en-US" sz="2400" dirty="0">
                <a:solidFill>
                  <a:schemeClr val="tx1"/>
                </a:solidFill>
                <a:latin typeface="+mn-lt"/>
                <a:cs typeface="+mn-cs"/>
              </a:rPr>
              <a:t>Email alerts send to subscription administrators </a:t>
            </a:r>
          </a:p>
        </p:txBody>
      </p:sp>
      <p:sp>
        <p:nvSpPr>
          <p:cNvPr id="77" name="Rectangle 76">
            <a:extLst>
              <a:ext uri="{FF2B5EF4-FFF2-40B4-BE49-F238E27FC236}">
                <a16:creationId xmlns:a16="http://schemas.microsoft.com/office/drawing/2014/main" id="{5E39A796-BE83-48B1-B33F-35C4A32AAB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79292" y="0"/>
            <a:ext cx="5664708" cy="51435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ounded Rectangle 9">
            <a:extLst>
              <a:ext uri="{FF2B5EF4-FFF2-40B4-BE49-F238E27FC236}">
                <a16:creationId xmlns:a16="http://schemas.microsoft.com/office/drawing/2014/main" id="{72F84B47-E267-4194-8194-831DB7B55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42766" y="363474"/>
            <a:ext cx="4938073" cy="4304390"/>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4" name="Picture 6" descr="Turn on Azure Storage advanced threat protection">
            <a:extLst>
              <a:ext uri="{FF2B5EF4-FFF2-40B4-BE49-F238E27FC236}">
                <a16:creationId xmlns:a16="http://schemas.microsoft.com/office/drawing/2014/main" id="{5BD42A23-917F-41B1-A43A-5145EFA9D6D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206239" y="1103566"/>
            <a:ext cx="4211126" cy="2821453"/>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299418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Freeform: Shape 8">
            <a:extLst>
              <a:ext uri="{FF2B5EF4-FFF2-40B4-BE49-F238E27FC236}">
                <a16:creationId xmlns:a16="http://schemas.microsoft.com/office/drawing/2014/main" id="{F60FCA6E-0894-46CD-BD49-5955A51E00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3967" y="4010022"/>
            <a:ext cx="4020034" cy="1133478"/>
          </a:xfrm>
          <a:custGeom>
            <a:avLst/>
            <a:gdLst>
              <a:gd name="connsiteX0" fmla="*/ 4545473 w 5360045"/>
              <a:gd name="connsiteY0" fmla="*/ 0 h 1511304"/>
              <a:gd name="connsiteX1" fmla="*/ 5360045 w 5360045"/>
              <a:gd name="connsiteY1" fmla="*/ 0 h 1511304"/>
              <a:gd name="connsiteX2" fmla="*/ 5360045 w 5360045"/>
              <a:gd name="connsiteY2" fmla="*/ 1046730 h 1511304"/>
              <a:gd name="connsiteX3" fmla="*/ 5360045 w 5360045"/>
              <a:gd name="connsiteY3" fmla="*/ 1508760 h 1511304"/>
              <a:gd name="connsiteX4" fmla="*/ 5360045 w 5360045"/>
              <a:gd name="connsiteY4" fmla="*/ 1511304 h 1511304"/>
              <a:gd name="connsiteX5" fmla="*/ 4545474 w 5360045"/>
              <a:gd name="connsiteY5" fmla="*/ 1511304 h 1511304"/>
              <a:gd name="connsiteX6" fmla="*/ 2525897 w 5360045"/>
              <a:gd name="connsiteY6" fmla="*/ 1511304 h 1511304"/>
              <a:gd name="connsiteX7" fmla="*/ 0 w 5360045"/>
              <a:gd name="connsiteY7" fmla="*/ 1511304 h 1511304"/>
              <a:gd name="connsiteX8" fmla="*/ 697617 w 5360045"/>
              <a:gd name="connsiteY8" fmla="*/ 3 h 1511304"/>
              <a:gd name="connsiteX9" fmla="*/ 4545473 w 5360045"/>
              <a:gd name="connsiteY9" fmla="*/ 3 h 15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60045" h="1511304">
                <a:moveTo>
                  <a:pt x="4545473" y="0"/>
                </a:moveTo>
                <a:lnTo>
                  <a:pt x="5360045" y="0"/>
                </a:lnTo>
                <a:lnTo>
                  <a:pt x="5360045" y="1046730"/>
                </a:lnTo>
                <a:lnTo>
                  <a:pt x="5360045" y="1508760"/>
                </a:lnTo>
                <a:lnTo>
                  <a:pt x="5360045" y="1511304"/>
                </a:lnTo>
                <a:lnTo>
                  <a:pt x="4545474" y="1511304"/>
                </a:lnTo>
                <a:lnTo>
                  <a:pt x="2525897" y="1511304"/>
                </a:lnTo>
                <a:lnTo>
                  <a:pt x="0" y="1511304"/>
                </a:lnTo>
                <a:lnTo>
                  <a:pt x="697617" y="3"/>
                </a:lnTo>
                <a:lnTo>
                  <a:pt x="4545473" y="3"/>
                </a:lnTo>
                <a:close/>
              </a:path>
            </a:pathLst>
          </a:custGeom>
          <a:solidFill>
            <a:srgbClr val="404040">
              <a:alpha val="8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775" eaLnBrk="1" fontAlgn="auto" hangingPunct="1">
              <a:spcBef>
                <a:spcPts val="0"/>
              </a:spcBef>
              <a:spcAft>
                <a:spcPts val="0"/>
              </a:spcAft>
            </a:pPr>
            <a:endParaRPr lang="en-US" sz="1324">
              <a:solidFill>
                <a:srgbClr val="FFFFFF"/>
              </a:solidFill>
              <a:latin typeface="Segoe UI"/>
            </a:endParaRPr>
          </a:p>
        </p:txBody>
      </p:sp>
      <p:sp>
        <p:nvSpPr>
          <p:cNvPr id="14" name="Freeform: Shape 10">
            <a:extLst>
              <a:ext uri="{FF2B5EF4-FFF2-40B4-BE49-F238E27FC236}">
                <a16:creationId xmlns:a16="http://schemas.microsoft.com/office/drawing/2014/main" id="{E78C6E4B-A1F1-4B6C-97EC-BE997495D6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010020"/>
            <a:ext cx="5509954" cy="1133480"/>
          </a:xfrm>
          <a:custGeom>
            <a:avLst/>
            <a:gdLst>
              <a:gd name="connsiteX0" fmla="*/ 0 w 7346605"/>
              <a:gd name="connsiteY0" fmla="*/ 0 h 1511306"/>
              <a:gd name="connsiteX1" fmla="*/ 239486 w 7346605"/>
              <a:gd name="connsiteY1" fmla="*/ 0 h 1511306"/>
              <a:gd name="connsiteX2" fmla="*/ 1209568 w 7346605"/>
              <a:gd name="connsiteY2" fmla="*/ 0 h 1511306"/>
              <a:gd name="connsiteX3" fmla="*/ 2405743 w 7346605"/>
              <a:gd name="connsiteY3" fmla="*/ 0 h 1511306"/>
              <a:gd name="connsiteX4" fmla="*/ 2405743 w 7346605"/>
              <a:gd name="connsiteY4" fmla="*/ 2544 h 1511306"/>
              <a:gd name="connsiteX5" fmla="*/ 2801131 w 7346605"/>
              <a:gd name="connsiteY5" fmla="*/ 2544 h 1511306"/>
              <a:gd name="connsiteX6" fmla="*/ 2801131 w 7346605"/>
              <a:gd name="connsiteY6" fmla="*/ 0 h 1511306"/>
              <a:gd name="connsiteX7" fmla="*/ 7346605 w 7346605"/>
              <a:gd name="connsiteY7" fmla="*/ 0 h 1511306"/>
              <a:gd name="connsiteX8" fmla="*/ 6648988 w 7346605"/>
              <a:gd name="connsiteY8" fmla="*/ 1511301 h 1511306"/>
              <a:gd name="connsiteX9" fmla="*/ 2801132 w 7346605"/>
              <a:gd name="connsiteY9" fmla="*/ 1511301 h 1511306"/>
              <a:gd name="connsiteX10" fmla="*/ 2801132 w 7346605"/>
              <a:gd name="connsiteY10" fmla="*/ 1511304 h 1511306"/>
              <a:gd name="connsiteX11" fmla="*/ 2405743 w 7346605"/>
              <a:gd name="connsiteY11" fmla="*/ 1511304 h 1511306"/>
              <a:gd name="connsiteX12" fmla="*/ 2405743 w 7346605"/>
              <a:gd name="connsiteY12" fmla="*/ 1511306 h 1511306"/>
              <a:gd name="connsiteX13" fmla="*/ 1333411 w 7346605"/>
              <a:gd name="connsiteY13" fmla="*/ 1511306 h 1511306"/>
              <a:gd name="connsiteX14" fmla="*/ 1219208 w 7346605"/>
              <a:gd name="connsiteY14" fmla="*/ 1511306 h 1511306"/>
              <a:gd name="connsiteX15" fmla="*/ 1209568 w 7346605"/>
              <a:gd name="connsiteY15" fmla="*/ 1511306 h 1511306"/>
              <a:gd name="connsiteX16" fmla="*/ 239486 w 7346605"/>
              <a:gd name="connsiteY16" fmla="*/ 1511306 h 1511306"/>
              <a:gd name="connsiteX17" fmla="*/ 0 w 7346605"/>
              <a:gd name="connsiteY17" fmla="*/ 1511306 h 151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46605" h="1511306">
                <a:moveTo>
                  <a:pt x="0" y="0"/>
                </a:moveTo>
                <a:lnTo>
                  <a:pt x="239486" y="0"/>
                </a:lnTo>
                <a:lnTo>
                  <a:pt x="1209568" y="0"/>
                </a:lnTo>
                <a:lnTo>
                  <a:pt x="2405743" y="0"/>
                </a:lnTo>
                <a:lnTo>
                  <a:pt x="2405743" y="2544"/>
                </a:lnTo>
                <a:lnTo>
                  <a:pt x="2801131" y="2544"/>
                </a:lnTo>
                <a:lnTo>
                  <a:pt x="2801131" y="0"/>
                </a:lnTo>
                <a:lnTo>
                  <a:pt x="7346605" y="0"/>
                </a:lnTo>
                <a:lnTo>
                  <a:pt x="6648988" y="1511301"/>
                </a:lnTo>
                <a:lnTo>
                  <a:pt x="2801132" y="1511301"/>
                </a:lnTo>
                <a:lnTo>
                  <a:pt x="2801132" y="1511304"/>
                </a:lnTo>
                <a:lnTo>
                  <a:pt x="2405743" y="1511304"/>
                </a:lnTo>
                <a:lnTo>
                  <a:pt x="2405743" y="1511306"/>
                </a:lnTo>
                <a:lnTo>
                  <a:pt x="1333411" y="1511306"/>
                </a:lnTo>
                <a:lnTo>
                  <a:pt x="1219208" y="1511306"/>
                </a:lnTo>
                <a:lnTo>
                  <a:pt x="1209568" y="1511306"/>
                </a:lnTo>
                <a:lnTo>
                  <a:pt x="239486" y="1511306"/>
                </a:lnTo>
                <a:lnTo>
                  <a:pt x="0" y="1511306"/>
                </a:lnTo>
                <a:close/>
              </a:path>
            </a:pathLst>
          </a:custGeom>
          <a:solidFill>
            <a:srgbClr val="D0C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5" eaLnBrk="1" fontAlgn="auto" hangingPunct="1">
              <a:spcBef>
                <a:spcPts val="0"/>
              </a:spcBef>
              <a:spcAft>
                <a:spcPts val="0"/>
              </a:spcAft>
            </a:pPr>
            <a:endParaRPr lang="en-US" sz="1324">
              <a:solidFill>
                <a:srgbClr val="FFFFFF">
                  <a:lumMod val="95000"/>
                </a:srgbClr>
              </a:solidFill>
              <a:latin typeface="Segoe UI"/>
            </a:endParaRPr>
          </a:p>
        </p:txBody>
      </p:sp>
      <p:sp>
        <p:nvSpPr>
          <p:cNvPr id="2" name="Title 1">
            <a:extLst>
              <a:ext uri="{FF2B5EF4-FFF2-40B4-BE49-F238E27FC236}">
                <a16:creationId xmlns:a16="http://schemas.microsoft.com/office/drawing/2014/main" id="{2658326C-F81B-4809-837A-0E00607318DB}"/>
              </a:ext>
            </a:extLst>
          </p:cNvPr>
          <p:cNvSpPr>
            <a:spLocks noGrp="1"/>
          </p:cNvSpPr>
          <p:nvPr>
            <p:ph type="title"/>
          </p:nvPr>
        </p:nvSpPr>
        <p:spPr>
          <a:xfrm>
            <a:off x="712591" y="4147414"/>
            <a:ext cx="4270337" cy="822248"/>
          </a:xfrm>
        </p:spPr>
        <p:txBody>
          <a:bodyPr vert="horz" wrap="square" lIns="68580" tIns="34290" rIns="68580" bIns="34290" rtlCol="0" anchor="ctr">
            <a:normAutofit/>
          </a:bodyPr>
          <a:lstStyle/>
          <a:p>
            <a:pPr defTabSz="685800">
              <a:lnSpc>
                <a:spcPct val="90000"/>
              </a:lnSpc>
            </a:pPr>
            <a:r>
              <a:rPr lang="en-US" sz="2550" dirty="0">
                <a:solidFill>
                  <a:srgbClr val="303030"/>
                </a:solidFill>
                <a:ea typeface="+mj-ea"/>
                <a:cs typeface="+mj-cs"/>
              </a:rPr>
              <a:t>Storage &amp; Azure AD</a:t>
            </a:r>
          </a:p>
        </p:txBody>
      </p:sp>
      <p:pic>
        <p:nvPicPr>
          <p:cNvPr id="4" name="Picture 3">
            <a:extLst>
              <a:ext uri="{FF2B5EF4-FFF2-40B4-BE49-F238E27FC236}">
                <a16:creationId xmlns:a16="http://schemas.microsoft.com/office/drawing/2014/main" id="{1A3902F9-D56E-4D60-A8FB-9B3A5EDD3BF7}"/>
              </a:ext>
            </a:extLst>
          </p:cNvPr>
          <p:cNvPicPr>
            <a:picLocks noChangeAspect="1"/>
          </p:cNvPicPr>
          <p:nvPr/>
        </p:nvPicPr>
        <p:blipFill>
          <a:blip r:embed="rId3"/>
          <a:stretch>
            <a:fillRect/>
          </a:stretch>
        </p:blipFill>
        <p:spPr>
          <a:xfrm>
            <a:off x="712591" y="927618"/>
            <a:ext cx="4455801" cy="2584364"/>
          </a:xfrm>
          <a:prstGeom prst="rect">
            <a:avLst/>
          </a:prstGeom>
        </p:spPr>
      </p:pic>
      <p:sp>
        <p:nvSpPr>
          <p:cNvPr id="3" name="Text Placeholder 2">
            <a:extLst>
              <a:ext uri="{FF2B5EF4-FFF2-40B4-BE49-F238E27FC236}">
                <a16:creationId xmlns:a16="http://schemas.microsoft.com/office/drawing/2014/main" id="{0754AFAC-ED22-4AE0-B24C-2DD530A8DC52}"/>
              </a:ext>
            </a:extLst>
          </p:cNvPr>
          <p:cNvSpPr>
            <a:spLocks noGrp="1"/>
          </p:cNvSpPr>
          <p:nvPr>
            <p:ph type="body" sz="quarter" idx="10"/>
          </p:nvPr>
        </p:nvSpPr>
        <p:spPr>
          <a:xfrm>
            <a:off x="5650992" y="723899"/>
            <a:ext cx="3006076" cy="3015344"/>
          </a:xfrm>
        </p:spPr>
        <p:txBody>
          <a:bodyPr vert="horz" wrap="square" lIns="68580" tIns="34290" rIns="68580" bIns="34290" rtlCol="0" anchor="ctr">
            <a:normAutofit/>
          </a:bodyPr>
          <a:lstStyle/>
          <a:p>
            <a:pPr defTabSz="685800">
              <a:lnSpc>
                <a:spcPct val="90000"/>
              </a:lnSpc>
              <a:buFont typeface="Arial" panose="020B0604020202020204" pitchFamily="34" charset="0"/>
              <a:buChar char="•"/>
            </a:pPr>
            <a:r>
              <a:rPr lang="en-US" dirty="0"/>
              <a:t>Azure Storage supports using Azure Active Directory (AD) to authorize requests to Blob and Queue storage</a:t>
            </a:r>
          </a:p>
          <a:p>
            <a:pPr marL="0" indent="0" defTabSz="685800">
              <a:lnSpc>
                <a:spcPct val="90000"/>
              </a:lnSpc>
              <a:buNone/>
            </a:pPr>
            <a:endParaRPr lang="en-US" sz="1500" dirty="0">
              <a:solidFill>
                <a:schemeClr val="tx1"/>
              </a:solidFill>
              <a:latin typeface="+mn-lt"/>
              <a:cs typeface="+mn-cs"/>
            </a:endParaRPr>
          </a:p>
        </p:txBody>
      </p:sp>
    </p:spTree>
    <p:extLst>
      <p:ext uri="{BB962C8B-B14F-4D97-AF65-F5344CB8AC3E}">
        <p14:creationId xmlns:p14="http://schemas.microsoft.com/office/powerpoint/2010/main" val="212303900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 name="Rectangle 8">
            <a:extLst>
              <a:ext uri="{FF2B5EF4-FFF2-40B4-BE49-F238E27FC236}">
                <a16:creationId xmlns:a16="http://schemas.microsoft.com/office/drawing/2014/main" id="{867D4867-5BA7-4462-B2F6-A23F4A622A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490722" cy="5143500"/>
          </a:xfrm>
          <a:prstGeom prst="rect">
            <a:avLst/>
          </a:prstGeom>
          <a:solidFill>
            <a:srgbClr val="3F3F3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925563F-3223-464E-8F0A-645251E44C56}"/>
              </a:ext>
            </a:extLst>
          </p:cNvPr>
          <p:cNvSpPr>
            <a:spLocks noGrp="1"/>
          </p:cNvSpPr>
          <p:nvPr>
            <p:ph type="title"/>
          </p:nvPr>
        </p:nvSpPr>
        <p:spPr>
          <a:xfrm>
            <a:off x="482601" y="467544"/>
            <a:ext cx="2522980" cy="1205295"/>
          </a:xfrm>
          <a:noFill/>
          <a:ln w="19050">
            <a:solidFill>
              <a:schemeClr val="tx1"/>
            </a:solidFill>
          </a:ln>
        </p:spPr>
        <p:txBody>
          <a:bodyPr vert="horz" wrap="square" lIns="91440" tIns="45720" rIns="91440" bIns="45720" rtlCol="0" anchor="ctr">
            <a:normAutofit/>
          </a:bodyPr>
          <a:lstStyle/>
          <a:p>
            <a:pPr algn="ctr" defTabSz="914400">
              <a:lnSpc>
                <a:spcPct val="90000"/>
              </a:lnSpc>
            </a:pPr>
            <a:r>
              <a:rPr lang="en-US" sz="2100" kern="1200">
                <a:solidFill>
                  <a:schemeClr val="tx1"/>
                </a:solidFill>
                <a:latin typeface="+mj-lt"/>
                <a:ea typeface="+mj-ea"/>
                <a:cs typeface="+mj-cs"/>
              </a:rPr>
              <a:t>SQL PaaS Firewalls</a:t>
            </a:r>
          </a:p>
        </p:txBody>
      </p:sp>
      <p:sp>
        <p:nvSpPr>
          <p:cNvPr id="3" name="Text Placeholder 2">
            <a:extLst>
              <a:ext uri="{FF2B5EF4-FFF2-40B4-BE49-F238E27FC236}">
                <a16:creationId xmlns:a16="http://schemas.microsoft.com/office/drawing/2014/main" id="{21F3B279-F3BF-41F8-97A6-7D27306C5EDF}"/>
              </a:ext>
            </a:extLst>
          </p:cNvPr>
          <p:cNvSpPr>
            <a:spLocks noGrp="1"/>
          </p:cNvSpPr>
          <p:nvPr>
            <p:ph type="body" sz="quarter" idx="10"/>
          </p:nvPr>
        </p:nvSpPr>
        <p:spPr>
          <a:xfrm>
            <a:off x="482601" y="1978532"/>
            <a:ext cx="2522980" cy="2561717"/>
          </a:xfrm>
        </p:spPr>
        <p:txBody>
          <a:bodyPr vert="horz" lIns="91440" tIns="45720" rIns="91440" bIns="45720" rtlCol="0">
            <a:normAutofit/>
          </a:bodyPr>
          <a:lstStyle/>
          <a:p>
            <a:pPr indent="-228600" defTabSz="914400">
              <a:lnSpc>
                <a:spcPct val="90000"/>
              </a:lnSpc>
              <a:buFont typeface="Arial" panose="020B0604020202020204" pitchFamily="34" charset="0"/>
              <a:buChar char="•"/>
            </a:pPr>
            <a:r>
              <a:rPr lang="en-US" sz="1500">
                <a:solidFill>
                  <a:schemeClr val="tx1"/>
                </a:solidFill>
                <a:latin typeface="+mn-lt"/>
                <a:cs typeface="+mn-cs"/>
              </a:rPr>
              <a:t>Configure Service Endpoints to integrate with VNETs</a:t>
            </a:r>
          </a:p>
          <a:p>
            <a:pPr indent="-228600" defTabSz="914400">
              <a:lnSpc>
                <a:spcPct val="90000"/>
              </a:lnSpc>
              <a:buFont typeface="Arial" panose="020B0604020202020204" pitchFamily="34" charset="0"/>
              <a:buChar char="•"/>
            </a:pPr>
            <a:r>
              <a:rPr lang="en-US" sz="1500">
                <a:solidFill>
                  <a:schemeClr val="tx1"/>
                </a:solidFill>
                <a:latin typeface="+mn-lt"/>
                <a:cs typeface="+mn-cs"/>
              </a:rPr>
              <a:t>Allowed IP Ranges</a:t>
            </a:r>
          </a:p>
          <a:p>
            <a:pPr indent="-228600" defTabSz="914400">
              <a:lnSpc>
                <a:spcPct val="90000"/>
              </a:lnSpc>
              <a:buFont typeface="Arial" panose="020B0604020202020204" pitchFamily="34" charset="0"/>
              <a:buChar char="•"/>
            </a:pPr>
            <a:r>
              <a:rPr lang="en-US" sz="1500">
                <a:solidFill>
                  <a:schemeClr val="tx1"/>
                </a:solidFill>
                <a:latin typeface="+mn-lt"/>
                <a:cs typeface="+mn-cs"/>
              </a:rPr>
              <a:t>Allow access to Azure Services</a:t>
            </a:r>
          </a:p>
          <a:p>
            <a:pPr indent="-228600" defTabSz="914400">
              <a:lnSpc>
                <a:spcPct val="90000"/>
              </a:lnSpc>
              <a:buFont typeface="Arial" panose="020B0604020202020204" pitchFamily="34" charset="0"/>
              <a:buChar char="•"/>
            </a:pPr>
            <a:endParaRPr lang="en-US" sz="1500">
              <a:solidFill>
                <a:schemeClr val="tx1"/>
              </a:solidFill>
              <a:latin typeface="+mn-lt"/>
              <a:cs typeface="+mn-cs"/>
            </a:endParaRPr>
          </a:p>
        </p:txBody>
      </p:sp>
      <p:pic>
        <p:nvPicPr>
          <p:cNvPr id="4" name="Picture 3">
            <a:extLst>
              <a:ext uri="{FF2B5EF4-FFF2-40B4-BE49-F238E27FC236}">
                <a16:creationId xmlns:a16="http://schemas.microsoft.com/office/drawing/2014/main" id="{61AFDC6B-35EB-45BF-AC70-217886146D8E}"/>
              </a:ext>
            </a:extLst>
          </p:cNvPr>
          <p:cNvPicPr>
            <a:picLocks noChangeAspect="1"/>
          </p:cNvPicPr>
          <p:nvPr/>
        </p:nvPicPr>
        <p:blipFill>
          <a:blip r:embed="rId2"/>
          <a:stretch>
            <a:fillRect/>
          </a:stretch>
        </p:blipFill>
        <p:spPr>
          <a:xfrm>
            <a:off x="4257640" y="482600"/>
            <a:ext cx="4119440" cy="4057649"/>
          </a:xfrm>
          <a:prstGeom prst="rect">
            <a:avLst/>
          </a:prstGeom>
        </p:spPr>
      </p:pic>
    </p:spTree>
    <p:extLst>
      <p:ext uri="{BB962C8B-B14F-4D97-AF65-F5344CB8AC3E}">
        <p14:creationId xmlns:p14="http://schemas.microsoft.com/office/powerpoint/2010/main" val="2795033955"/>
      </p:ext>
    </p:extLst>
  </p:cSld>
  <p:clrMapOvr>
    <a:overrideClrMapping bg1="dk1" tx1="lt1" bg2="dk2" tx2="lt2" accent1="accent1" accent2="accent2" accent3="accent3" accent4="accent4" accent5="accent5" accent6="accent6" hlink="hlink" folHlink="folHlink"/>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67D4867-5BA7-4462-B2F6-A23F4A622A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490722" cy="5143500"/>
          </a:xfrm>
          <a:prstGeom prst="rect">
            <a:avLst/>
          </a:prstGeom>
          <a:solidFill>
            <a:srgbClr val="3F3F3F"/>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AF2F278-3CF7-4E15-9548-4C0BFD0564D5}"/>
              </a:ext>
            </a:extLst>
          </p:cNvPr>
          <p:cNvSpPr>
            <a:spLocks noGrp="1"/>
          </p:cNvSpPr>
          <p:nvPr>
            <p:ph type="title"/>
          </p:nvPr>
        </p:nvSpPr>
        <p:spPr>
          <a:xfrm>
            <a:off x="482601" y="467544"/>
            <a:ext cx="2522980" cy="1205295"/>
          </a:xfrm>
          <a:noFill/>
          <a:ln w="19050">
            <a:solidFill>
              <a:schemeClr val="tx1"/>
            </a:solidFill>
          </a:ln>
        </p:spPr>
        <p:txBody>
          <a:bodyPr vert="horz" wrap="square" lIns="91440" tIns="45720" rIns="91440" bIns="45720" rtlCol="0" anchor="ctr">
            <a:normAutofit/>
          </a:bodyPr>
          <a:lstStyle/>
          <a:p>
            <a:pPr algn="ctr" defTabSz="914400">
              <a:lnSpc>
                <a:spcPct val="90000"/>
              </a:lnSpc>
            </a:pPr>
            <a:r>
              <a:rPr lang="en-US" sz="2100" kern="1200">
                <a:solidFill>
                  <a:schemeClr val="tx1"/>
                </a:solidFill>
                <a:latin typeface="+mj-lt"/>
                <a:ea typeface="+mj-ea"/>
                <a:cs typeface="+mj-cs"/>
              </a:rPr>
              <a:t>SQL Advanced Data Security</a:t>
            </a:r>
          </a:p>
        </p:txBody>
      </p:sp>
      <p:sp>
        <p:nvSpPr>
          <p:cNvPr id="3" name="Text Placeholder 2">
            <a:extLst>
              <a:ext uri="{FF2B5EF4-FFF2-40B4-BE49-F238E27FC236}">
                <a16:creationId xmlns:a16="http://schemas.microsoft.com/office/drawing/2014/main" id="{91EBEA15-37ED-4555-BDF2-7135178003D9}"/>
              </a:ext>
            </a:extLst>
          </p:cNvPr>
          <p:cNvSpPr>
            <a:spLocks noGrp="1"/>
          </p:cNvSpPr>
          <p:nvPr>
            <p:ph type="body" sz="quarter" idx="10"/>
          </p:nvPr>
        </p:nvSpPr>
        <p:spPr>
          <a:xfrm>
            <a:off x="482601" y="1978532"/>
            <a:ext cx="2522980" cy="2561717"/>
          </a:xfrm>
        </p:spPr>
        <p:txBody>
          <a:bodyPr vert="horz" lIns="91440" tIns="45720" rIns="91440" bIns="45720" rtlCol="0">
            <a:normAutofit/>
          </a:bodyPr>
          <a:lstStyle/>
          <a:p>
            <a:pPr indent="-228600" defTabSz="914400">
              <a:lnSpc>
                <a:spcPct val="90000"/>
              </a:lnSpc>
              <a:buFont typeface="Arial" panose="020B0604020202020204" pitchFamily="34" charset="0"/>
              <a:buChar char="•"/>
            </a:pPr>
            <a:r>
              <a:rPr lang="en-US" sz="2400" dirty="0">
                <a:solidFill>
                  <a:schemeClr val="tx1"/>
                </a:solidFill>
                <a:latin typeface="+mn-lt"/>
                <a:cs typeface="+mn-cs"/>
              </a:rPr>
              <a:t>Threat Assessment</a:t>
            </a:r>
          </a:p>
          <a:p>
            <a:pPr indent="-228600" defTabSz="914400">
              <a:lnSpc>
                <a:spcPct val="90000"/>
              </a:lnSpc>
              <a:buFont typeface="Arial" panose="020B0604020202020204" pitchFamily="34" charset="0"/>
              <a:buChar char="•"/>
            </a:pPr>
            <a:r>
              <a:rPr lang="en-US" sz="2400" dirty="0">
                <a:solidFill>
                  <a:schemeClr val="tx1"/>
                </a:solidFill>
                <a:latin typeface="+mn-lt"/>
                <a:cs typeface="+mn-cs"/>
              </a:rPr>
              <a:t>Data Discovery &amp; Classification</a:t>
            </a:r>
          </a:p>
          <a:p>
            <a:pPr indent="-228600" defTabSz="914400">
              <a:lnSpc>
                <a:spcPct val="90000"/>
              </a:lnSpc>
              <a:buFont typeface="Arial" panose="020B0604020202020204" pitchFamily="34" charset="0"/>
              <a:buChar char="•"/>
            </a:pPr>
            <a:r>
              <a:rPr lang="en-US" sz="2400" dirty="0">
                <a:solidFill>
                  <a:schemeClr val="tx1"/>
                </a:solidFill>
                <a:latin typeface="+mn-lt"/>
                <a:cs typeface="+mn-cs"/>
              </a:rPr>
              <a:t>Advanced Threat Protection</a:t>
            </a:r>
          </a:p>
        </p:txBody>
      </p:sp>
      <p:pic>
        <p:nvPicPr>
          <p:cNvPr id="7" name="Picture 2" descr="View your customized report">
            <a:extLst>
              <a:ext uri="{FF2B5EF4-FFF2-40B4-BE49-F238E27FC236}">
                <a16:creationId xmlns:a16="http://schemas.microsoft.com/office/drawing/2014/main" id="{DAE941CB-6AE3-4D4C-AAC8-A30D9A039EE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973322" y="1128442"/>
            <a:ext cx="4688077" cy="27659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2036154"/>
      </p:ext>
    </p:extLst>
  </p:cSld>
  <p:clrMapOvr>
    <a:overrideClrMapping bg1="dk1" tx1="lt1" bg2="dk2" tx2="lt2" accent1="accent1" accent2="accent2" accent3="accent3" accent4="accent4" accent5="accent5" accent6="accent6" hlink="hlink" folHlink="folHlink"/>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56A75-5C3F-46EE-8720-51E51A3D6E67}"/>
              </a:ext>
            </a:extLst>
          </p:cNvPr>
          <p:cNvSpPr>
            <a:spLocks noGrp="1"/>
          </p:cNvSpPr>
          <p:nvPr>
            <p:ph type="title"/>
          </p:nvPr>
        </p:nvSpPr>
        <p:spPr>
          <a:xfrm>
            <a:off x="571500" y="602493"/>
            <a:ext cx="3985902" cy="994173"/>
          </a:xfrm>
        </p:spPr>
        <p:txBody>
          <a:bodyPr vert="horz" lIns="91440" tIns="45720" rIns="91440" bIns="45720" rtlCol="0" anchor="ctr">
            <a:normAutofit/>
          </a:bodyPr>
          <a:lstStyle/>
          <a:p>
            <a:pPr defTabSz="914400">
              <a:lnSpc>
                <a:spcPct val="90000"/>
              </a:lnSpc>
            </a:pPr>
            <a:r>
              <a:rPr lang="en-US" sz="4400" kern="1200">
                <a:solidFill>
                  <a:schemeClr val="tx1"/>
                </a:solidFill>
                <a:latin typeface="+mj-lt"/>
                <a:ea typeface="+mj-ea"/>
                <a:cs typeface="+mj-cs"/>
              </a:rPr>
              <a:t>AKS Security</a:t>
            </a:r>
          </a:p>
        </p:txBody>
      </p:sp>
      <p:sp>
        <p:nvSpPr>
          <p:cNvPr id="4" name="Text Placeholder 3">
            <a:extLst>
              <a:ext uri="{FF2B5EF4-FFF2-40B4-BE49-F238E27FC236}">
                <a16:creationId xmlns:a16="http://schemas.microsoft.com/office/drawing/2014/main" id="{16BAC652-CB37-445C-BB97-2EA510BF64EE}"/>
              </a:ext>
            </a:extLst>
          </p:cNvPr>
          <p:cNvSpPr>
            <a:spLocks noGrp="1"/>
          </p:cNvSpPr>
          <p:nvPr>
            <p:ph type="body" sz="quarter" idx="10"/>
          </p:nvPr>
        </p:nvSpPr>
        <p:spPr>
          <a:xfrm>
            <a:off x="571500" y="1709263"/>
            <a:ext cx="3985907" cy="2531940"/>
          </a:xfrm>
        </p:spPr>
        <p:txBody>
          <a:bodyPr vert="horz" lIns="91440" tIns="45720" rIns="91440" bIns="45720" rtlCol="0" anchor="t">
            <a:normAutofit fontScale="92500" lnSpcReduction="10000"/>
          </a:bodyPr>
          <a:lstStyle/>
          <a:p>
            <a:pPr indent="-228600" defTabSz="914400">
              <a:lnSpc>
                <a:spcPct val="90000"/>
              </a:lnSpc>
              <a:buFont typeface="Arial" panose="020B0604020202020204" pitchFamily="34" charset="0"/>
              <a:buChar char="•"/>
            </a:pPr>
            <a:r>
              <a:rPr lang="en-US" sz="2800" b="1" dirty="0">
                <a:solidFill>
                  <a:schemeClr val="tx1"/>
                </a:solidFill>
                <a:latin typeface="+mn-lt"/>
                <a:cs typeface="+mn-cs"/>
              </a:rPr>
              <a:t>Master Security</a:t>
            </a:r>
          </a:p>
          <a:p>
            <a:pPr indent="-228600" defTabSz="914400">
              <a:lnSpc>
                <a:spcPct val="90000"/>
              </a:lnSpc>
              <a:buFont typeface="Arial" panose="020B0604020202020204" pitchFamily="34" charset="0"/>
              <a:buChar char="•"/>
            </a:pPr>
            <a:r>
              <a:rPr lang="en-US" sz="2800" b="1" dirty="0">
                <a:solidFill>
                  <a:schemeClr val="tx1"/>
                </a:solidFill>
                <a:latin typeface="+mn-lt"/>
                <a:cs typeface="+mn-cs"/>
              </a:rPr>
              <a:t>Node Security</a:t>
            </a:r>
          </a:p>
          <a:p>
            <a:pPr indent="-228600" defTabSz="914400">
              <a:lnSpc>
                <a:spcPct val="90000"/>
              </a:lnSpc>
              <a:buFont typeface="Arial" panose="020B0604020202020204" pitchFamily="34" charset="0"/>
              <a:buChar char="•"/>
            </a:pPr>
            <a:r>
              <a:rPr lang="en-US" sz="2800" b="1" dirty="0">
                <a:solidFill>
                  <a:schemeClr val="tx1"/>
                </a:solidFill>
                <a:latin typeface="+mn-lt"/>
                <a:cs typeface="+mn-cs"/>
              </a:rPr>
              <a:t>Cluster Updates</a:t>
            </a:r>
          </a:p>
          <a:p>
            <a:pPr indent="-228600" defTabSz="914400">
              <a:lnSpc>
                <a:spcPct val="90000"/>
              </a:lnSpc>
              <a:buFont typeface="Arial" panose="020B0604020202020204" pitchFamily="34" charset="0"/>
              <a:buChar char="•"/>
            </a:pPr>
            <a:r>
              <a:rPr lang="en-US" sz="2800" b="1" dirty="0">
                <a:solidFill>
                  <a:schemeClr val="tx1"/>
                </a:solidFill>
                <a:latin typeface="+mn-lt"/>
                <a:cs typeface="+mn-cs"/>
              </a:rPr>
              <a:t>Network Security</a:t>
            </a:r>
          </a:p>
          <a:p>
            <a:pPr indent="-228600" defTabSz="914400">
              <a:lnSpc>
                <a:spcPct val="90000"/>
              </a:lnSpc>
              <a:buFont typeface="Arial" panose="020B0604020202020204" pitchFamily="34" charset="0"/>
              <a:buChar char="•"/>
            </a:pPr>
            <a:r>
              <a:rPr lang="en-US" sz="2800" b="1" dirty="0">
                <a:solidFill>
                  <a:schemeClr val="tx1"/>
                </a:solidFill>
                <a:latin typeface="+mn-lt"/>
                <a:cs typeface="+mn-cs"/>
              </a:rPr>
              <a:t>Kubernetes Secrets</a:t>
            </a:r>
          </a:p>
          <a:p>
            <a:pPr indent="-228600" defTabSz="914400">
              <a:lnSpc>
                <a:spcPct val="90000"/>
              </a:lnSpc>
              <a:buFont typeface="Arial" panose="020B0604020202020204" pitchFamily="34" charset="0"/>
              <a:buChar char="•"/>
            </a:pPr>
            <a:r>
              <a:rPr lang="en-US" sz="2800" b="1" dirty="0">
                <a:solidFill>
                  <a:schemeClr val="tx1"/>
                </a:solidFill>
                <a:latin typeface="+mn-lt"/>
                <a:cs typeface="+mn-cs"/>
              </a:rPr>
              <a:t>Private Cluster</a:t>
            </a:r>
          </a:p>
        </p:txBody>
      </p:sp>
      <p:sp>
        <p:nvSpPr>
          <p:cNvPr id="9" name="Freeform: Shape 8">
            <a:extLst>
              <a:ext uri="{FF2B5EF4-FFF2-40B4-BE49-F238E27FC236}">
                <a16:creationId xmlns:a16="http://schemas.microsoft.com/office/drawing/2014/main" id="{CF62D2A7-8207-488C-9F46-316BA81A16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937085" y="-1506"/>
            <a:ext cx="4206915" cy="438020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52AC6D7F-F068-4E11-BB06-F601D89BB9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62605" y="-1"/>
            <a:ext cx="4081395" cy="4241204"/>
          </a:xfrm>
          <a:custGeom>
            <a:avLst/>
            <a:gdLst>
              <a:gd name="connsiteX0" fmla="*/ 1041368 w 5441859"/>
              <a:gd name="connsiteY0" fmla="*/ 0 h 5654940"/>
              <a:gd name="connsiteX1" fmla="*/ 5441859 w 5441859"/>
              <a:gd name="connsiteY1" fmla="*/ 0 h 5654940"/>
              <a:gd name="connsiteX2" fmla="*/ 5441859 w 5441859"/>
              <a:gd name="connsiteY2" fmla="*/ 4820612 h 5654940"/>
              <a:gd name="connsiteX3" fmla="*/ 5285166 w 5441859"/>
              <a:gd name="connsiteY3" fmla="*/ 4957981 h 5654940"/>
              <a:gd name="connsiteX4" fmla="*/ 3267719 w 5441859"/>
              <a:gd name="connsiteY4" fmla="*/ 5654940 h 5654940"/>
              <a:gd name="connsiteX5" fmla="*/ 0 w 5441859"/>
              <a:gd name="connsiteY5" fmla="*/ 2387221 h 5654940"/>
              <a:gd name="connsiteX6" fmla="*/ 957093 w 5441859"/>
              <a:gd name="connsiteY6" fmla="*/ 76595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Graphic 2">
            <a:extLst>
              <a:ext uri="{FF2B5EF4-FFF2-40B4-BE49-F238E27FC236}">
                <a16:creationId xmlns:a16="http://schemas.microsoft.com/office/drawing/2014/main" id="{9D605535-54AE-4550-AB11-6C98C58F28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13042" y="482251"/>
            <a:ext cx="2847593" cy="2847593"/>
          </a:xfrm>
          <a:prstGeom prst="rect">
            <a:avLst/>
          </a:prstGeom>
        </p:spPr>
      </p:pic>
    </p:spTree>
    <p:extLst>
      <p:ext uri="{BB962C8B-B14F-4D97-AF65-F5344CB8AC3E}">
        <p14:creationId xmlns:p14="http://schemas.microsoft.com/office/powerpoint/2010/main" val="1313047211"/>
      </p:ext>
    </p:extLst>
  </p:cSld>
  <p:clrMapOvr>
    <a:overrideClrMapping bg1="dk1" tx1="lt1" bg2="dk2" tx2="lt2" accent1="accent1" accent2="accent2" accent3="accent3" accent4="accent4" accent5="accent5" accent6="accent6" hlink="hlink" folHlink="folHlink"/>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C1A2D-BF8B-4DCB-AC20-67969908CD7C}"/>
              </a:ext>
            </a:extLst>
          </p:cNvPr>
          <p:cNvSpPr>
            <a:spLocks noGrp="1"/>
          </p:cNvSpPr>
          <p:nvPr>
            <p:ph type="title"/>
          </p:nvPr>
        </p:nvSpPr>
        <p:spPr/>
        <p:txBody>
          <a:bodyPr/>
          <a:lstStyle/>
          <a:p>
            <a:r>
              <a:rPr lang="en-US" dirty="0"/>
              <a:t>Azure Container Registry</a:t>
            </a:r>
          </a:p>
        </p:txBody>
      </p:sp>
      <p:sp>
        <p:nvSpPr>
          <p:cNvPr id="3" name="Content Placeholder 2">
            <a:extLst>
              <a:ext uri="{FF2B5EF4-FFF2-40B4-BE49-F238E27FC236}">
                <a16:creationId xmlns:a16="http://schemas.microsoft.com/office/drawing/2014/main" id="{453D60F5-D125-4602-AE98-1DB435E672C7}"/>
              </a:ext>
            </a:extLst>
          </p:cNvPr>
          <p:cNvSpPr>
            <a:spLocks noGrp="1"/>
          </p:cNvSpPr>
          <p:nvPr>
            <p:ph idx="1"/>
          </p:nvPr>
        </p:nvSpPr>
        <p:spPr>
          <a:xfrm>
            <a:off x="457200" y="1028700"/>
            <a:ext cx="1981200" cy="3200400"/>
          </a:xfrm>
        </p:spPr>
        <p:txBody>
          <a:bodyPr/>
          <a:lstStyle/>
          <a:p>
            <a:r>
              <a:rPr lang="en-US" dirty="0"/>
              <a:t>Scanning Containers</a:t>
            </a:r>
          </a:p>
          <a:p>
            <a:r>
              <a:rPr lang="en-US" dirty="0"/>
              <a:t>Dealing with Vendor published Container Images with CVEs</a:t>
            </a:r>
          </a:p>
        </p:txBody>
      </p:sp>
      <p:pic>
        <p:nvPicPr>
          <p:cNvPr id="4" name="Picture 3">
            <a:extLst>
              <a:ext uri="{FF2B5EF4-FFF2-40B4-BE49-F238E27FC236}">
                <a16:creationId xmlns:a16="http://schemas.microsoft.com/office/drawing/2014/main" id="{4A6D5EA1-7825-48F9-8589-D5297508CEED}"/>
              </a:ext>
            </a:extLst>
          </p:cNvPr>
          <p:cNvPicPr>
            <a:picLocks noChangeAspect="1"/>
          </p:cNvPicPr>
          <p:nvPr/>
        </p:nvPicPr>
        <p:blipFill>
          <a:blip r:embed="rId3"/>
          <a:stretch>
            <a:fillRect/>
          </a:stretch>
        </p:blipFill>
        <p:spPr>
          <a:xfrm>
            <a:off x="2854779" y="1200150"/>
            <a:ext cx="6289221" cy="3429459"/>
          </a:xfrm>
          <a:prstGeom prst="rect">
            <a:avLst/>
          </a:prstGeom>
        </p:spPr>
      </p:pic>
      <p:pic>
        <p:nvPicPr>
          <p:cNvPr id="8" name="Picture 7">
            <a:extLst>
              <a:ext uri="{FF2B5EF4-FFF2-40B4-BE49-F238E27FC236}">
                <a16:creationId xmlns:a16="http://schemas.microsoft.com/office/drawing/2014/main" id="{14581750-BBC3-45F0-86B5-4B15668807F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990600" y="-28611"/>
            <a:ext cx="8153400" cy="5486400"/>
          </a:xfrm>
          <a:prstGeom prst="rect">
            <a:avLst/>
          </a:prstGeom>
        </p:spPr>
      </p:pic>
    </p:spTree>
    <p:extLst>
      <p:ext uri="{BB962C8B-B14F-4D97-AF65-F5344CB8AC3E}">
        <p14:creationId xmlns:p14="http://schemas.microsoft.com/office/powerpoint/2010/main" val="3627123783"/>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3416F6-87A9-435C-947A-D76BB5DC28AD}"/>
              </a:ext>
            </a:extLst>
          </p:cNvPr>
          <p:cNvSpPr>
            <a:spLocks noGrp="1"/>
          </p:cNvSpPr>
          <p:nvPr>
            <p:ph type="title"/>
          </p:nvPr>
        </p:nvSpPr>
        <p:spPr/>
        <p:txBody>
          <a:bodyPr/>
          <a:lstStyle/>
          <a:p>
            <a:r>
              <a:rPr lang="en-US" dirty="0"/>
              <a:t>Networking</a:t>
            </a:r>
          </a:p>
        </p:txBody>
      </p:sp>
      <p:pic>
        <p:nvPicPr>
          <p:cNvPr id="4" name="Graphic 3">
            <a:extLst>
              <a:ext uri="{FF2B5EF4-FFF2-40B4-BE49-F238E27FC236}">
                <a16:creationId xmlns:a16="http://schemas.microsoft.com/office/drawing/2014/main" id="{0BE4DBCF-D4D9-44B7-B988-067C8CD701D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43600" y="742950"/>
            <a:ext cx="2362200" cy="2362200"/>
          </a:xfrm>
          <a:prstGeom prst="rect">
            <a:avLst/>
          </a:prstGeom>
        </p:spPr>
      </p:pic>
    </p:spTree>
    <p:extLst>
      <p:ext uri="{BB962C8B-B14F-4D97-AF65-F5344CB8AC3E}">
        <p14:creationId xmlns:p14="http://schemas.microsoft.com/office/powerpoint/2010/main" val="51335041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 name="Rectangle 250">
            <a:extLst>
              <a:ext uri="{FF2B5EF4-FFF2-40B4-BE49-F238E27FC236}">
                <a16:creationId xmlns:a16="http://schemas.microsoft.com/office/drawing/2014/main" id="{AF1E18D4-0A9D-4B5C-82FC-E0BDF78E049A}"/>
              </a:ext>
            </a:extLst>
          </p:cNvPr>
          <p:cNvSpPr/>
          <p:nvPr/>
        </p:nvSpPr>
        <p:spPr bwMode="auto">
          <a:xfrm>
            <a:off x="4660981" y="2537460"/>
            <a:ext cx="4471812" cy="2606040"/>
          </a:xfrm>
          <a:prstGeom prst="rect">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a:extLst>
              <a:ext uri="{FF2B5EF4-FFF2-40B4-BE49-F238E27FC236}">
                <a16:creationId xmlns:a16="http://schemas.microsoft.com/office/drawing/2014/main" id="{0B6222FF-ED7F-4F4F-BA0F-972DF1E51A1C}"/>
              </a:ext>
            </a:extLst>
          </p:cNvPr>
          <p:cNvSpPr/>
          <p:nvPr/>
        </p:nvSpPr>
        <p:spPr bwMode="auto">
          <a:xfrm>
            <a:off x="-11207" y="2187288"/>
            <a:ext cx="9144000" cy="2926895"/>
          </a:xfrm>
          <a:prstGeom prst="rect">
            <a:avLst/>
          </a:prstGeom>
          <a:solidFill>
            <a:schemeClr val="bg1"/>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endParaRPr lang="en-US" sz="15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CFD4B366-E6FD-45FD-9B24-02189214EA28}"/>
              </a:ext>
            </a:extLst>
          </p:cNvPr>
          <p:cNvSpPr/>
          <p:nvPr/>
        </p:nvSpPr>
        <p:spPr>
          <a:xfrm>
            <a:off x="441197" y="826459"/>
            <a:ext cx="8263890" cy="184666"/>
          </a:xfrm>
          <a:prstGeom prst="rect">
            <a:avLst/>
          </a:prstGeom>
        </p:spPr>
        <p:txBody>
          <a:bodyPr wrap="square" lIns="0" tIns="0" rIns="0" bIns="0">
            <a:spAutoFit/>
          </a:bodyPr>
          <a:lstStyle/>
          <a:p>
            <a:pPr defTabSz="699288">
              <a:spcBef>
                <a:spcPts val="450"/>
              </a:spcBef>
              <a:buSzPct val="90000"/>
            </a:pPr>
            <a:r>
              <a:rPr lang="en-US" sz="1200" dirty="0">
                <a:solidFill>
                  <a:schemeClr val="tx2"/>
                </a:solidFill>
                <a:latin typeface="Segoe UI Semibold"/>
                <a:cs typeface="Segoe UI Semilight" panose="020B0402040204020203" pitchFamily="34" charset="0"/>
              </a:rPr>
              <a:t>Cloud scale DDoS protection for Azure</a:t>
            </a:r>
          </a:p>
        </p:txBody>
      </p:sp>
      <p:sp>
        <p:nvSpPr>
          <p:cNvPr id="6" name="Title 5">
            <a:extLst>
              <a:ext uri="{FF2B5EF4-FFF2-40B4-BE49-F238E27FC236}">
                <a16:creationId xmlns:a16="http://schemas.microsoft.com/office/drawing/2014/main" id="{EC362ABD-A453-4DC8-A348-A3E900AF3592}"/>
              </a:ext>
            </a:extLst>
          </p:cNvPr>
          <p:cNvSpPr>
            <a:spLocks noGrp="1"/>
          </p:cNvSpPr>
          <p:nvPr>
            <p:ph type="title"/>
          </p:nvPr>
        </p:nvSpPr>
        <p:spPr>
          <a:xfrm>
            <a:off x="441197" y="342900"/>
            <a:ext cx="8263890" cy="415499"/>
          </a:xfrm>
        </p:spPr>
        <p:txBody>
          <a:bodyPr/>
          <a:lstStyle/>
          <a:p>
            <a:r>
              <a:rPr lang="en-US">
                <a:solidFill>
                  <a:srgbClr val="0070C0"/>
                </a:solidFill>
              </a:rPr>
              <a:t>Azure DDoS Protection Standard</a:t>
            </a:r>
          </a:p>
        </p:txBody>
      </p:sp>
      <p:sp>
        <p:nvSpPr>
          <p:cNvPr id="127" name="Rectangle 126">
            <a:extLst>
              <a:ext uri="{FF2B5EF4-FFF2-40B4-BE49-F238E27FC236}">
                <a16:creationId xmlns:a16="http://schemas.microsoft.com/office/drawing/2014/main" id="{16568DA1-1FF4-46FD-99D4-FD12DECC40DF}"/>
              </a:ext>
            </a:extLst>
          </p:cNvPr>
          <p:cNvSpPr/>
          <p:nvPr/>
        </p:nvSpPr>
        <p:spPr bwMode="auto">
          <a:xfrm>
            <a:off x="966136" y="2803191"/>
            <a:ext cx="4609418" cy="1997409"/>
          </a:xfrm>
          <a:prstGeom prst="rect">
            <a:avLst/>
          </a:prstGeom>
          <a:noFill/>
          <a:ln w="19050" cap="rnd" cmpd="sng" algn="ctr">
            <a:solidFill>
              <a:srgbClr val="0078D3"/>
            </a:solidFill>
            <a:prstDash val="sysDot"/>
          </a:ln>
          <a:effectLst/>
        </p:spPr>
        <p:txBody>
          <a:bodyPr rot="0" spcFirstLastPara="0" vert="horz" wrap="square" lIns="139891" tIns="111913" rIns="139891" bIns="111913" numCol="1" spcCol="0" rtlCol="0" fromWordArt="0" anchor="ctr" anchorCtr="0" forceAA="0" compatLnSpc="1">
            <a:prstTxWarp prst="textNoShape">
              <a:avLst/>
            </a:prstTxWarp>
            <a:noAutofit/>
          </a:bodyPr>
          <a:lstStyle/>
          <a:p>
            <a:pPr defTabSz="713271" eaLnBrk="1" hangingPunct="1">
              <a:defRPr/>
            </a:pPr>
            <a:endParaRPr lang="en-US" sz="1500" kern="0">
              <a:gradFill>
                <a:gsLst>
                  <a:gs pos="0">
                    <a:srgbClr val="FFFFFF"/>
                  </a:gs>
                  <a:gs pos="100000">
                    <a:srgbClr val="FFFFFF"/>
                  </a:gs>
                </a:gsLst>
                <a:lin ang="5400000" scaled="0"/>
              </a:gradFill>
              <a:cs typeface="Segoe UI" pitchFamily="34" charset="0"/>
            </a:endParaRPr>
          </a:p>
        </p:txBody>
      </p:sp>
      <p:sp>
        <p:nvSpPr>
          <p:cNvPr id="128" name="Oval 127">
            <a:extLst>
              <a:ext uri="{FF2B5EF4-FFF2-40B4-BE49-F238E27FC236}">
                <a16:creationId xmlns:a16="http://schemas.microsoft.com/office/drawing/2014/main" id="{2FBEE362-CEA1-47FC-9EFC-51669AD8BBEA}"/>
              </a:ext>
            </a:extLst>
          </p:cNvPr>
          <p:cNvSpPr/>
          <p:nvPr/>
        </p:nvSpPr>
        <p:spPr bwMode="auto">
          <a:xfrm>
            <a:off x="2976353" y="2475626"/>
            <a:ext cx="588984" cy="588984"/>
          </a:xfrm>
          <a:prstGeom prst="ellipse">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5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cloud">
            <a:extLst>
              <a:ext uri="{FF2B5EF4-FFF2-40B4-BE49-F238E27FC236}">
                <a16:creationId xmlns:a16="http://schemas.microsoft.com/office/drawing/2014/main" id="{EAB374A0-55D3-4A7B-8199-E815B17A4A18}"/>
              </a:ext>
            </a:extLst>
          </p:cNvPr>
          <p:cNvSpPr>
            <a:spLocks noChangeAspect="1"/>
          </p:cNvSpPr>
          <p:nvPr/>
        </p:nvSpPr>
        <p:spPr bwMode="auto">
          <a:xfrm flipH="1">
            <a:off x="1133843" y="2548025"/>
            <a:ext cx="587676" cy="37206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026"/>
              <a:gd name="connsiteX1" fmla="*/ 8169 w 10000"/>
              <a:gd name="connsiteY1" fmla="*/ 10000 h 10026"/>
              <a:gd name="connsiteX2" fmla="*/ 2558 w 10000"/>
              <a:gd name="connsiteY2" fmla="*/ 10000 h 10026"/>
              <a:gd name="connsiteX3" fmla="*/ 2558 w 10000"/>
              <a:gd name="connsiteY3" fmla="*/ 10000 h 10026"/>
              <a:gd name="connsiteX4" fmla="*/ 2500 w 10000"/>
              <a:gd name="connsiteY4" fmla="*/ 10000 h 10026"/>
              <a:gd name="connsiteX5" fmla="*/ 0 w 10000"/>
              <a:gd name="connsiteY5" fmla="*/ 5991 h 10026"/>
              <a:gd name="connsiteX6" fmla="*/ 2500 w 10000"/>
              <a:gd name="connsiteY6" fmla="*/ 2028 h 10026"/>
              <a:gd name="connsiteX7" fmla="*/ 3023 w 10000"/>
              <a:gd name="connsiteY7" fmla="*/ 2074 h 10026"/>
              <a:gd name="connsiteX8" fmla="*/ 5349 w 10000"/>
              <a:gd name="connsiteY8" fmla="*/ 0 h 10026"/>
              <a:gd name="connsiteX9" fmla="*/ 8081 w 10000"/>
              <a:gd name="connsiteY9" fmla="*/ 3917 h 10026"/>
              <a:gd name="connsiteX10" fmla="*/ 8081 w 10000"/>
              <a:gd name="connsiteY10" fmla="*/ 3917 h 10026"/>
              <a:gd name="connsiteX11" fmla="*/ 10000 w 10000"/>
              <a:gd name="connsiteY11" fmla="*/ 6959 h 10026"/>
              <a:gd name="connsiteX0" fmla="*/ 10000 w 10000"/>
              <a:gd name="connsiteY0" fmla="*/ 6959 h 10026"/>
              <a:gd name="connsiteX1" fmla="*/ 8169 w 10000"/>
              <a:gd name="connsiteY1" fmla="*/ 10000 h 10026"/>
              <a:gd name="connsiteX2" fmla="*/ 2558 w 10000"/>
              <a:gd name="connsiteY2" fmla="*/ 10000 h 10026"/>
              <a:gd name="connsiteX3" fmla="*/ 2558 w 10000"/>
              <a:gd name="connsiteY3" fmla="*/ 10000 h 10026"/>
              <a:gd name="connsiteX4" fmla="*/ 2500 w 10000"/>
              <a:gd name="connsiteY4" fmla="*/ 10000 h 10026"/>
              <a:gd name="connsiteX5" fmla="*/ 0 w 10000"/>
              <a:gd name="connsiteY5" fmla="*/ 5991 h 10026"/>
              <a:gd name="connsiteX6" fmla="*/ 2500 w 10000"/>
              <a:gd name="connsiteY6" fmla="*/ 2028 h 10026"/>
              <a:gd name="connsiteX7" fmla="*/ 3023 w 10000"/>
              <a:gd name="connsiteY7" fmla="*/ 2074 h 10026"/>
              <a:gd name="connsiteX8" fmla="*/ 5349 w 10000"/>
              <a:gd name="connsiteY8" fmla="*/ 0 h 10026"/>
              <a:gd name="connsiteX9" fmla="*/ 8081 w 10000"/>
              <a:gd name="connsiteY9" fmla="*/ 3917 h 10026"/>
              <a:gd name="connsiteX10" fmla="*/ 8081 w 10000"/>
              <a:gd name="connsiteY10" fmla="*/ 3917 h 10026"/>
              <a:gd name="connsiteX11" fmla="*/ 10000 w 10000"/>
              <a:gd name="connsiteY11" fmla="*/ 6959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26">
                <a:moveTo>
                  <a:pt x="10000" y="6959"/>
                </a:moveTo>
                <a:cubicBezTo>
                  <a:pt x="10015" y="7973"/>
                  <a:pt x="9409" y="9962"/>
                  <a:pt x="8169" y="10000"/>
                </a:cubicBezTo>
                <a:cubicBezTo>
                  <a:pt x="6915" y="10060"/>
                  <a:pt x="2558" y="10000"/>
                  <a:pt x="2558" y="10000"/>
                </a:cubicBez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solidFill>
            <a:srgbClr val="FFFFFF"/>
          </a:solidFill>
          <a:ln w="28575" cap="sq">
            <a:noFill/>
            <a:prstDash val="solid"/>
            <a:miter lim="800000"/>
            <a:headEnd/>
            <a:tailEnd/>
          </a:ln>
          <a:effectLst>
            <a:outerShdw blurRad="127000" algn="ctr" rotWithShape="0">
              <a:prstClr val="black">
                <a:alpha val="20000"/>
              </a:prstClr>
            </a:outerShdw>
          </a:effectLst>
        </p:spPr>
        <p:txBody>
          <a:bodyPr vert="horz" wrap="square" lIns="0" tIns="68580" rIns="0" bIns="0" numCol="1" anchor="ctr"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699288" fontAlgn="auto">
              <a:spcBef>
                <a:spcPts val="0"/>
              </a:spcBef>
              <a:spcAft>
                <a:spcPts val="0"/>
              </a:spcAft>
              <a:defRPr/>
            </a:pPr>
            <a:r>
              <a:rPr lang="en-US" sz="900" kern="0">
                <a:solidFill>
                  <a:srgbClr val="0078D3"/>
                </a:solidFill>
                <a:latin typeface="Segoe UI Semibold"/>
                <a:ea typeface="Segoe UI Black" panose="020B0A02040204020203" pitchFamily="34" charset="0"/>
              </a:rPr>
              <a:t>Azure</a:t>
            </a:r>
          </a:p>
        </p:txBody>
      </p:sp>
      <p:sp>
        <p:nvSpPr>
          <p:cNvPr id="130" name="04R">
            <a:extLst>
              <a:ext uri="{FF2B5EF4-FFF2-40B4-BE49-F238E27FC236}">
                <a16:creationId xmlns:a16="http://schemas.microsoft.com/office/drawing/2014/main" id="{405A9E03-EF94-4C48-8F66-C742891E4D54}"/>
              </a:ext>
            </a:extLst>
          </p:cNvPr>
          <p:cNvSpPr/>
          <p:nvPr/>
        </p:nvSpPr>
        <p:spPr bwMode="auto">
          <a:xfrm>
            <a:off x="1133842" y="2995379"/>
            <a:ext cx="913508" cy="1657554"/>
          </a:xfrm>
          <a:prstGeom prst="rect">
            <a:avLst/>
          </a:prstGeom>
          <a:solidFill>
            <a:srgbClr val="FFFFFF"/>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139891" tIns="137160" rIns="139891" bIns="205740" numCol="1" spcCol="0" rtlCol="0" fromWordArt="0" anchor="t" anchorCtr="0" forceAA="0" compatLnSpc="1">
            <a:prstTxWarp prst="textNoShape">
              <a:avLst/>
            </a:prstTxWarp>
            <a:noAutofit/>
          </a:bodyPr>
          <a:lstStyle/>
          <a:p>
            <a:pPr algn="ctr" defTabSz="685800" eaLnBrk="1" fontAlgn="auto" hangingPunct="1">
              <a:spcAft>
                <a:spcPts val="0"/>
              </a:spcAft>
              <a:defRPr/>
            </a:pPr>
            <a:r>
              <a:rPr lang="en-US" sz="900" kern="0">
                <a:ln w="3175">
                  <a:noFill/>
                </a:ln>
                <a:solidFill>
                  <a:srgbClr val="000000"/>
                </a:solidFill>
                <a:latin typeface="Segoe UI Semibold"/>
                <a:cs typeface="Segoe UI Semilight" panose="020B0402040204020203" pitchFamily="34" charset="0"/>
              </a:rPr>
              <a:t>Spoke VNET</a:t>
            </a:r>
          </a:p>
        </p:txBody>
      </p:sp>
      <p:sp>
        <p:nvSpPr>
          <p:cNvPr id="133" name="04R">
            <a:extLst>
              <a:ext uri="{FF2B5EF4-FFF2-40B4-BE49-F238E27FC236}">
                <a16:creationId xmlns:a16="http://schemas.microsoft.com/office/drawing/2014/main" id="{B0B279F9-937D-4D01-B658-E2E026B914DE}"/>
              </a:ext>
            </a:extLst>
          </p:cNvPr>
          <p:cNvSpPr/>
          <p:nvPr/>
        </p:nvSpPr>
        <p:spPr bwMode="auto">
          <a:xfrm>
            <a:off x="2146063" y="2995380"/>
            <a:ext cx="2249567" cy="1655866"/>
          </a:xfrm>
          <a:prstGeom prst="rect">
            <a:avLst/>
          </a:prstGeom>
          <a:solidFill>
            <a:srgbClr val="FFFFFF"/>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139891" tIns="137160" rIns="139891" bIns="137160" numCol="1" spcCol="0" rtlCol="0" fromWordArt="0" anchor="t" anchorCtr="0" forceAA="0" compatLnSpc="1">
            <a:prstTxWarp prst="textNoShape">
              <a:avLst/>
            </a:prstTxWarp>
            <a:noAutofit/>
          </a:bodyPr>
          <a:lstStyle/>
          <a:p>
            <a:pPr defTabSz="685800" eaLnBrk="1" fontAlgn="auto" hangingPunct="1">
              <a:spcAft>
                <a:spcPts val="0"/>
              </a:spcAft>
              <a:defRPr/>
            </a:pPr>
            <a:r>
              <a:rPr lang="en-US" sz="900" kern="0">
                <a:ln w="3175">
                  <a:noFill/>
                </a:ln>
                <a:solidFill>
                  <a:srgbClr val="000000"/>
                </a:solidFill>
                <a:latin typeface="Segoe UI Semibold"/>
                <a:cs typeface="Segoe UI Semilight" panose="020B0402040204020203" pitchFamily="34" charset="0"/>
              </a:rPr>
              <a:t>Central VNET</a:t>
            </a:r>
          </a:p>
        </p:txBody>
      </p:sp>
      <p:sp>
        <p:nvSpPr>
          <p:cNvPr id="134" name="04R">
            <a:extLst>
              <a:ext uri="{FF2B5EF4-FFF2-40B4-BE49-F238E27FC236}">
                <a16:creationId xmlns:a16="http://schemas.microsoft.com/office/drawing/2014/main" id="{5F8C81DB-D1C8-45C5-A495-317BB38101DB}"/>
              </a:ext>
            </a:extLst>
          </p:cNvPr>
          <p:cNvSpPr/>
          <p:nvPr/>
        </p:nvSpPr>
        <p:spPr bwMode="auto">
          <a:xfrm>
            <a:off x="2231269" y="3843161"/>
            <a:ext cx="2079155" cy="726543"/>
          </a:xfrm>
          <a:prstGeom prst="rect">
            <a:avLst/>
          </a:prstGeom>
          <a:solidFill>
            <a:srgbClr val="EBEBEB"/>
          </a:solidFill>
          <a:ln w="9525" cap="flat" cmpd="sng" algn="ctr">
            <a:noFill/>
            <a:prstDash val="solid"/>
          </a:ln>
          <a:effectLst/>
        </p:spPr>
        <p:txBody>
          <a:bodyPr rot="0" spcFirstLastPara="0" vert="horz" wrap="square" lIns="139891" tIns="137160" rIns="139891" bIns="137160" numCol="1" spcCol="0" rtlCol="0" fromWordArt="0" anchor="b" anchorCtr="0" forceAA="0" compatLnSpc="1">
            <a:prstTxWarp prst="textNoShape">
              <a:avLst/>
            </a:prstTxWarp>
            <a:noAutofit/>
          </a:bodyPr>
          <a:lstStyle/>
          <a:p>
            <a:pPr algn="ctr" defTabSz="685800" eaLnBrk="1" fontAlgn="auto" hangingPunct="1">
              <a:spcAft>
                <a:spcPts val="0"/>
              </a:spcAft>
              <a:defRPr/>
            </a:pPr>
            <a:endParaRPr lang="en-US" sz="1050" kern="0">
              <a:ln w="3175">
                <a:noFill/>
              </a:ln>
              <a:solidFill>
                <a:srgbClr val="000000"/>
              </a:solidFill>
              <a:latin typeface="Segoe UI Semibold"/>
              <a:cs typeface="Segoe UI Semilight" panose="020B0402040204020203" pitchFamily="34" charset="0"/>
            </a:endParaRPr>
          </a:p>
        </p:txBody>
      </p:sp>
      <p:sp>
        <p:nvSpPr>
          <p:cNvPr id="136" name="TextBox 135">
            <a:extLst>
              <a:ext uri="{FF2B5EF4-FFF2-40B4-BE49-F238E27FC236}">
                <a16:creationId xmlns:a16="http://schemas.microsoft.com/office/drawing/2014/main" id="{E561D700-1249-462D-A48C-28B348ED09CB}"/>
              </a:ext>
            </a:extLst>
          </p:cNvPr>
          <p:cNvSpPr txBox="1"/>
          <p:nvPr/>
        </p:nvSpPr>
        <p:spPr>
          <a:xfrm>
            <a:off x="2330353" y="4346810"/>
            <a:ext cx="906410" cy="138499"/>
          </a:xfrm>
          <a:prstGeom prst="rect">
            <a:avLst/>
          </a:prstGeom>
          <a:noFill/>
        </p:spPr>
        <p:txBody>
          <a:bodyPr wrap="square" lIns="0" tIns="0" rIns="0" bIns="0" rtlCol="0" anchor="ctr">
            <a:spAutoFit/>
          </a:bodyPr>
          <a:lstStyle/>
          <a:p>
            <a:pPr algn="ctr" defTabSz="699557" eaLnBrk="1" fontAlgn="auto" hangingPunct="1">
              <a:spcBef>
                <a:spcPts val="0"/>
              </a:spcBef>
              <a:spcAft>
                <a:spcPts val="0"/>
              </a:spcAft>
              <a:defRPr/>
            </a:pPr>
            <a:r>
              <a:rPr lang="en-US" sz="900" b="1" kern="0">
                <a:solidFill>
                  <a:srgbClr val="000000"/>
                </a:solidFill>
                <a:latin typeface="Segoe UI Semibold"/>
              </a:rPr>
              <a:t>Azure Firewall</a:t>
            </a:r>
          </a:p>
        </p:txBody>
      </p:sp>
      <p:sp>
        <p:nvSpPr>
          <p:cNvPr id="163" name="04R">
            <a:extLst>
              <a:ext uri="{FF2B5EF4-FFF2-40B4-BE49-F238E27FC236}">
                <a16:creationId xmlns:a16="http://schemas.microsoft.com/office/drawing/2014/main" id="{C1853F96-CF8B-4D87-AD99-654DC72C1017}"/>
              </a:ext>
            </a:extLst>
          </p:cNvPr>
          <p:cNvSpPr/>
          <p:nvPr/>
        </p:nvSpPr>
        <p:spPr bwMode="auto">
          <a:xfrm>
            <a:off x="4494340" y="2995379"/>
            <a:ext cx="913508" cy="1657554"/>
          </a:xfrm>
          <a:prstGeom prst="rect">
            <a:avLst/>
          </a:prstGeom>
          <a:solidFill>
            <a:srgbClr val="FFFFFF"/>
          </a:solidFill>
          <a:ln w="9525" cap="flat" cmpd="sng" algn="ctr">
            <a:noFill/>
            <a:prstDash val="solid"/>
          </a:ln>
          <a:effectLst>
            <a:outerShdw blurRad="127000" algn="tl" rotWithShape="0">
              <a:srgbClr val="FFFFFF">
                <a:lumMod val="50000"/>
                <a:alpha val="20000"/>
              </a:srgbClr>
            </a:outerShdw>
          </a:effectLst>
        </p:spPr>
        <p:txBody>
          <a:bodyPr rot="0" spcFirstLastPara="0" vert="horz" wrap="square" lIns="139891" tIns="137160" rIns="139891" bIns="205740" numCol="1" spcCol="0" rtlCol="0" fromWordArt="0" anchor="t" anchorCtr="0" forceAA="0" compatLnSpc="1">
            <a:prstTxWarp prst="textNoShape">
              <a:avLst/>
            </a:prstTxWarp>
            <a:noAutofit/>
          </a:bodyPr>
          <a:lstStyle/>
          <a:p>
            <a:pPr algn="ctr" defTabSz="685800" eaLnBrk="1" fontAlgn="auto" hangingPunct="1">
              <a:spcAft>
                <a:spcPts val="0"/>
              </a:spcAft>
              <a:defRPr/>
            </a:pPr>
            <a:r>
              <a:rPr lang="en-US" sz="900" kern="0">
                <a:ln w="3175">
                  <a:noFill/>
                </a:ln>
                <a:solidFill>
                  <a:srgbClr val="000000"/>
                </a:solidFill>
                <a:latin typeface="Segoe UI Semibold"/>
                <a:cs typeface="Segoe UI Semilight" panose="020B0402040204020203" pitchFamily="34" charset="0"/>
              </a:rPr>
              <a:t>Spoke VNET</a:t>
            </a:r>
          </a:p>
        </p:txBody>
      </p:sp>
      <p:sp>
        <p:nvSpPr>
          <p:cNvPr id="138" name="TextBox 137">
            <a:extLst>
              <a:ext uri="{FF2B5EF4-FFF2-40B4-BE49-F238E27FC236}">
                <a16:creationId xmlns:a16="http://schemas.microsoft.com/office/drawing/2014/main" id="{30187749-94EA-46F3-9BDD-527D5DB66CD6}"/>
              </a:ext>
            </a:extLst>
          </p:cNvPr>
          <p:cNvSpPr txBox="1"/>
          <p:nvPr/>
        </p:nvSpPr>
        <p:spPr>
          <a:xfrm>
            <a:off x="3320388" y="4346810"/>
            <a:ext cx="906410" cy="138499"/>
          </a:xfrm>
          <a:prstGeom prst="rect">
            <a:avLst/>
          </a:prstGeom>
          <a:noFill/>
        </p:spPr>
        <p:txBody>
          <a:bodyPr wrap="square" lIns="0" tIns="0" rIns="0" bIns="0" rtlCol="0" anchor="ctr">
            <a:spAutoFit/>
          </a:bodyPr>
          <a:lstStyle/>
          <a:p>
            <a:pPr algn="ctr" defTabSz="699557" eaLnBrk="1" fontAlgn="auto" hangingPunct="1">
              <a:spcBef>
                <a:spcPts val="0"/>
              </a:spcBef>
              <a:spcAft>
                <a:spcPts val="0"/>
              </a:spcAft>
              <a:defRPr/>
            </a:pPr>
            <a:r>
              <a:rPr lang="en-US" sz="900" b="1" kern="0">
                <a:solidFill>
                  <a:srgbClr val="000000"/>
                </a:solidFill>
                <a:latin typeface="Segoe UI Semibold"/>
              </a:rPr>
              <a:t>Azure WAF</a:t>
            </a:r>
          </a:p>
        </p:txBody>
      </p:sp>
      <p:sp>
        <p:nvSpPr>
          <p:cNvPr id="139" name="TextBox 138">
            <a:extLst>
              <a:ext uri="{FF2B5EF4-FFF2-40B4-BE49-F238E27FC236}">
                <a16:creationId xmlns:a16="http://schemas.microsoft.com/office/drawing/2014/main" id="{AE0F84FD-75E0-44BC-A83F-84A837153AAA}"/>
              </a:ext>
            </a:extLst>
          </p:cNvPr>
          <p:cNvSpPr txBox="1"/>
          <p:nvPr/>
        </p:nvSpPr>
        <p:spPr>
          <a:xfrm>
            <a:off x="2955055" y="3640921"/>
            <a:ext cx="631583" cy="138499"/>
          </a:xfrm>
          <a:prstGeom prst="rect">
            <a:avLst/>
          </a:prstGeom>
          <a:noFill/>
        </p:spPr>
        <p:txBody>
          <a:bodyPr wrap="none" lIns="0" tIns="0" rIns="0" bIns="0" rtlCol="0" anchor="ctr">
            <a:spAutoFit/>
          </a:bodyPr>
          <a:lstStyle/>
          <a:p>
            <a:pPr algn="ctr" defTabSz="699557" eaLnBrk="1" fontAlgn="auto" hangingPunct="1">
              <a:spcBef>
                <a:spcPts val="0"/>
              </a:spcBef>
              <a:spcAft>
                <a:spcPts val="0"/>
              </a:spcAft>
              <a:defRPr/>
            </a:pPr>
            <a:r>
              <a:rPr lang="en-US" sz="900" b="1" kern="0">
                <a:solidFill>
                  <a:srgbClr val="000000"/>
                </a:solidFill>
                <a:latin typeface="Segoe UI Semibold"/>
              </a:rPr>
              <a:t>Azure DDoS</a:t>
            </a:r>
          </a:p>
        </p:txBody>
      </p:sp>
      <p:grpSp>
        <p:nvGrpSpPr>
          <p:cNvPr id="140" name="Group 139">
            <a:extLst>
              <a:ext uri="{FF2B5EF4-FFF2-40B4-BE49-F238E27FC236}">
                <a16:creationId xmlns:a16="http://schemas.microsoft.com/office/drawing/2014/main" id="{3D04FB0D-F695-4473-927B-91499B59C530}"/>
              </a:ext>
            </a:extLst>
          </p:cNvPr>
          <p:cNvGrpSpPr/>
          <p:nvPr/>
        </p:nvGrpSpPr>
        <p:grpSpPr>
          <a:xfrm>
            <a:off x="2780415" y="3709555"/>
            <a:ext cx="980863" cy="133607"/>
            <a:chOff x="5303639" y="2894140"/>
            <a:chExt cx="1583215" cy="665292"/>
          </a:xfrm>
        </p:grpSpPr>
        <p:sp>
          <p:nvSpPr>
            <p:cNvPr id="161" name="Freeform: Shape 160">
              <a:extLst>
                <a:ext uri="{FF2B5EF4-FFF2-40B4-BE49-F238E27FC236}">
                  <a16:creationId xmlns:a16="http://schemas.microsoft.com/office/drawing/2014/main" id="{F242AC30-7A00-480F-9FD0-E8969E8C461E}"/>
                </a:ext>
              </a:extLst>
            </p:cNvPr>
            <p:cNvSpPr/>
            <p:nvPr/>
          </p:nvSpPr>
          <p:spPr bwMode="auto">
            <a:xfrm>
              <a:off x="6710935" y="2894140"/>
              <a:ext cx="175919" cy="665292"/>
            </a:xfrm>
            <a:custGeom>
              <a:avLst/>
              <a:gdLst>
                <a:gd name="connsiteX0" fmla="*/ 0 w 449943"/>
                <a:gd name="connsiteY0" fmla="*/ 0 h 696686"/>
                <a:gd name="connsiteX1" fmla="*/ 449943 w 449943"/>
                <a:gd name="connsiteY1" fmla="*/ 0 h 696686"/>
                <a:gd name="connsiteX2" fmla="*/ 449943 w 449943"/>
                <a:gd name="connsiteY2" fmla="*/ 696686 h 696686"/>
              </a:gdLst>
              <a:ahLst/>
              <a:cxnLst>
                <a:cxn ang="0">
                  <a:pos x="connsiteX0" y="connsiteY0"/>
                </a:cxn>
                <a:cxn ang="0">
                  <a:pos x="connsiteX1" y="connsiteY1"/>
                </a:cxn>
                <a:cxn ang="0">
                  <a:pos x="connsiteX2" y="connsiteY2"/>
                </a:cxn>
              </a:cxnLst>
              <a:rect l="l" t="t" r="r" b="b"/>
              <a:pathLst>
                <a:path w="449943" h="696686">
                  <a:moveTo>
                    <a:pt x="0" y="0"/>
                  </a:moveTo>
                  <a:lnTo>
                    <a:pt x="449943" y="0"/>
                  </a:lnTo>
                  <a:lnTo>
                    <a:pt x="449943" y="696686"/>
                  </a:lnTo>
                </a:path>
              </a:pathLst>
            </a:custGeom>
            <a:noFill/>
            <a:ln w="25400" cap="rnd" cmpd="sng" algn="ctr">
              <a:solidFill>
                <a:srgbClr val="75757A"/>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1200" kern="0">
                <a:solidFill>
                  <a:srgbClr val="FFFFFF"/>
                </a:solidFill>
                <a:latin typeface="Segoe UI"/>
              </a:endParaRPr>
            </a:p>
          </p:txBody>
        </p:sp>
        <p:sp>
          <p:nvSpPr>
            <p:cNvPr id="162" name="Freeform: Shape 161">
              <a:extLst>
                <a:ext uri="{FF2B5EF4-FFF2-40B4-BE49-F238E27FC236}">
                  <a16:creationId xmlns:a16="http://schemas.microsoft.com/office/drawing/2014/main" id="{DDD4DC41-BD6A-468B-A6DD-0B9CFAC9FB58}"/>
                </a:ext>
              </a:extLst>
            </p:cNvPr>
            <p:cNvSpPr/>
            <p:nvPr/>
          </p:nvSpPr>
          <p:spPr bwMode="auto">
            <a:xfrm flipH="1">
              <a:off x="5303639" y="2894140"/>
              <a:ext cx="173736" cy="665292"/>
            </a:xfrm>
            <a:custGeom>
              <a:avLst/>
              <a:gdLst>
                <a:gd name="connsiteX0" fmla="*/ 0 w 449943"/>
                <a:gd name="connsiteY0" fmla="*/ 0 h 696686"/>
                <a:gd name="connsiteX1" fmla="*/ 449943 w 449943"/>
                <a:gd name="connsiteY1" fmla="*/ 0 h 696686"/>
                <a:gd name="connsiteX2" fmla="*/ 449943 w 449943"/>
                <a:gd name="connsiteY2" fmla="*/ 696686 h 696686"/>
              </a:gdLst>
              <a:ahLst/>
              <a:cxnLst>
                <a:cxn ang="0">
                  <a:pos x="connsiteX0" y="connsiteY0"/>
                </a:cxn>
                <a:cxn ang="0">
                  <a:pos x="connsiteX1" y="connsiteY1"/>
                </a:cxn>
                <a:cxn ang="0">
                  <a:pos x="connsiteX2" y="connsiteY2"/>
                </a:cxn>
              </a:cxnLst>
              <a:rect l="l" t="t" r="r" b="b"/>
              <a:pathLst>
                <a:path w="449943" h="696686">
                  <a:moveTo>
                    <a:pt x="0" y="0"/>
                  </a:moveTo>
                  <a:lnTo>
                    <a:pt x="449943" y="0"/>
                  </a:lnTo>
                  <a:lnTo>
                    <a:pt x="449943" y="696686"/>
                  </a:lnTo>
                </a:path>
              </a:pathLst>
            </a:custGeom>
            <a:noFill/>
            <a:ln w="25400" cap="rnd" cmpd="sng" algn="ctr">
              <a:solidFill>
                <a:srgbClr val="75757A"/>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1200" kern="0">
                <a:solidFill>
                  <a:srgbClr val="FFFFFF"/>
                </a:solidFill>
                <a:latin typeface="Segoe UI"/>
              </a:endParaRPr>
            </a:p>
          </p:txBody>
        </p:sp>
      </p:grpSp>
      <p:grpSp>
        <p:nvGrpSpPr>
          <p:cNvPr id="141" name="Group 140">
            <a:extLst>
              <a:ext uri="{FF2B5EF4-FFF2-40B4-BE49-F238E27FC236}">
                <a16:creationId xmlns:a16="http://schemas.microsoft.com/office/drawing/2014/main" id="{EF360268-0E99-459D-BBFC-1285F6F3CBEE}"/>
              </a:ext>
            </a:extLst>
          </p:cNvPr>
          <p:cNvGrpSpPr/>
          <p:nvPr/>
        </p:nvGrpSpPr>
        <p:grpSpPr>
          <a:xfrm>
            <a:off x="1956562" y="3360472"/>
            <a:ext cx="280289" cy="280286"/>
            <a:chOff x="3973020" y="2706224"/>
            <a:chExt cx="452416" cy="452412"/>
          </a:xfrm>
        </p:grpSpPr>
        <p:sp>
          <p:nvSpPr>
            <p:cNvPr id="159" name="Oval 158">
              <a:extLst>
                <a:ext uri="{FF2B5EF4-FFF2-40B4-BE49-F238E27FC236}">
                  <a16:creationId xmlns:a16="http://schemas.microsoft.com/office/drawing/2014/main" id="{ABEB1293-545A-4469-9075-F39337557083}"/>
                </a:ext>
              </a:extLst>
            </p:cNvPr>
            <p:cNvSpPr/>
            <p:nvPr/>
          </p:nvSpPr>
          <p:spPr bwMode="auto">
            <a:xfrm>
              <a:off x="3973020" y="2706224"/>
              <a:ext cx="452416" cy="452412"/>
            </a:xfrm>
            <a:prstGeom prst="ellipse">
              <a:avLst/>
            </a:prstGeom>
            <a:solidFill>
              <a:srgbClr val="FFFFFF"/>
            </a:solidFill>
            <a:ln w="9525" cap="flat" cmpd="sng" algn="ctr">
              <a:no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5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60" name="Graphic 159" descr="Virtual Network">
              <a:extLst>
                <a:ext uri="{FF2B5EF4-FFF2-40B4-BE49-F238E27FC236}">
                  <a16:creationId xmlns:a16="http://schemas.microsoft.com/office/drawing/2014/main" id="{86AA61B0-942B-491A-AA36-A3C565D093D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30158" y="2763360"/>
              <a:ext cx="338141" cy="338141"/>
            </a:xfrm>
            <a:prstGeom prst="rect">
              <a:avLst/>
            </a:prstGeom>
          </p:spPr>
        </p:pic>
      </p:grpSp>
      <p:grpSp>
        <p:nvGrpSpPr>
          <p:cNvPr id="142" name="Group 141">
            <a:extLst>
              <a:ext uri="{FF2B5EF4-FFF2-40B4-BE49-F238E27FC236}">
                <a16:creationId xmlns:a16="http://schemas.microsoft.com/office/drawing/2014/main" id="{EE646577-C01E-4A9B-8B1E-206C09DAC007}"/>
              </a:ext>
            </a:extLst>
          </p:cNvPr>
          <p:cNvGrpSpPr/>
          <p:nvPr/>
        </p:nvGrpSpPr>
        <p:grpSpPr>
          <a:xfrm>
            <a:off x="4304842" y="3360472"/>
            <a:ext cx="280289" cy="280286"/>
            <a:chOff x="7763389" y="2706224"/>
            <a:chExt cx="452416" cy="452412"/>
          </a:xfrm>
        </p:grpSpPr>
        <p:sp>
          <p:nvSpPr>
            <p:cNvPr id="157" name="Oval 156">
              <a:extLst>
                <a:ext uri="{FF2B5EF4-FFF2-40B4-BE49-F238E27FC236}">
                  <a16:creationId xmlns:a16="http://schemas.microsoft.com/office/drawing/2014/main" id="{ED5B9B8C-472A-484A-882D-EE5998DF9591}"/>
                </a:ext>
              </a:extLst>
            </p:cNvPr>
            <p:cNvSpPr/>
            <p:nvPr/>
          </p:nvSpPr>
          <p:spPr bwMode="auto">
            <a:xfrm>
              <a:off x="7763389" y="2706224"/>
              <a:ext cx="452416" cy="452412"/>
            </a:xfrm>
            <a:prstGeom prst="ellipse">
              <a:avLst/>
            </a:prstGeom>
            <a:solidFill>
              <a:srgbClr val="FFFFFF"/>
            </a:solidFill>
            <a:ln w="9525" cap="flat" cmpd="sng" algn="ctr">
              <a:noFill/>
              <a:prstDash val="solid"/>
              <a:headEnd type="none" w="med" len="med"/>
              <a:tailEnd type="none" w="med" len="med"/>
            </a:ln>
            <a:effectLst>
              <a:outerShdw blurRad="127000" algn="ctr" rotWithShape="0">
                <a:prstClr val="black">
                  <a:alpha val="20000"/>
                </a:prstClr>
              </a:outerShdw>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5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58" name="Graphic 157" descr="Virtual Network">
              <a:extLst>
                <a:ext uri="{FF2B5EF4-FFF2-40B4-BE49-F238E27FC236}">
                  <a16:creationId xmlns:a16="http://schemas.microsoft.com/office/drawing/2014/main" id="{3C769FF6-E5AF-4428-9D6D-D03317579AC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820527" y="2763360"/>
              <a:ext cx="338141" cy="338141"/>
            </a:xfrm>
            <a:prstGeom prst="rect">
              <a:avLst/>
            </a:prstGeom>
          </p:spPr>
        </p:pic>
      </p:grpSp>
      <p:grpSp>
        <p:nvGrpSpPr>
          <p:cNvPr id="143" name="Group 142">
            <a:extLst>
              <a:ext uri="{FF2B5EF4-FFF2-40B4-BE49-F238E27FC236}">
                <a16:creationId xmlns:a16="http://schemas.microsoft.com/office/drawing/2014/main" id="{ED15BFC9-3393-45A7-923C-1F14C7D67C8D}"/>
              </a:ext>
            </a:extLst>
          </p:cNvPr>
          <p:cNvGrpSpPr/>
          <p:nvPr/>
        </p:nvGrpSpPr>
        <p:grpSpPr>
          <a:xfrm>
            <a:off x="2967923" y="2500108"/>
            <a:ext cx="1518789" cy="667247"/>
            <a:chOff x="5605462" y="1486578"/>
            <a:chExt cx="2451485" cy="1077006"/>
          </a:xfrm>
        </p:grpSpPr>
        <p:cxnSp>
          <p:nvCxnSpPr>
            <p:cNvPr id="148" name="Straight Connector 147">
              <a:extLst>
                <a:ext uri="{FF2B5EF4-FFF2-40B4-BE49-F238E27FC236}">
                  <a16:creationId xmlns:a16="http://schemas.microsoft.com/office/drawing/2014/main" id="{1E8E72B8-FE0D-47F0-BCF6-718EF573CDD5}"/>
                </a:ext>
              </a:extLst>
            </p:cNvPr>
            <p:cNvCxnSpPr>
              <a:cxnSpLocks/>
              <a:stCxn id="156" idx="0"/>
            </p:cNvCxnSpPr>
            <p:nvPr/>
          </p:nvCxnSpPr>
          <p:spPr>
            <a:xfrm flipV="1">
              <a:off x="6094412" y="2090382"/>
              <a:ext cx="0" cy="291786"/>
            </a:xfrm>
            <a:prstGeom prst="line">
              <a:avLst/>
            </a:prstGeom>
            <a:noFill/>
            <a:ln w="25400" cap="rnd" cmpd="sng" algn="ctr">
              <a:solidFill>
                <a:srgbClr val="75757A"/>
              </a:solidFill>
              <a:prstDash val="solid"/>
              <a:headEnd type="none"/>
              <a:tailEnd type="none"/>
            </a:ln>
            <a:effectLst/>
          </p:spPr>
        </p:cxnSp>
        <p:grpSp>
          <p:nvGrpSpPr>
            <p:cNvPr id="149" name="Group 148">
              <a:extLst>
                <a:ext uri="{FF2B5EF4-FFF2-40B4-BE49-F238E27FC236}">
                  <a16:creationId xmlns:a16="http://schemas.microsoft.com/office/drawing/2014/main" id="{0ED9CCFA-C420-479F-860D-7E85FE0B25E3}"/>
                </a:ext>
              </a:extLst>
            </p:cNvPr>
            <p:cNvGrpSpPr/>
            <p:nvPr/>
          </p:nvGrpSpPr>
          <p:grpSpPr>
            <a:xfrm>
              <a:off x="5605462" y="1486578"/>
              <a:ext cx="2451485" cy="1077006"/>
              <a:chOff x="5605462" y="1486578"/>
              <a:chExt cx="2451485" cy="1077006"/>
            </a:xfrm>
          </p:grpSpPr>
          <p:sp>
            <p:nvSpPr>
              <p:cNvPr id="150" name="TextBox 149">
                <a:extLst>
                  <a:ext uri="{FF2B5EF4-FFF2-40B4-BE49-F238E27FC236}">
                    <a16:creationId xmlns:a16="http://schemas.microsoft.com/office/drawing/2014/main" id="{BCAC3856-CFCB-406D-BEBC-FF26BFA1B7F6}"/>
                  </a:ext>
                </a:extLst>
              </p:cNvPr>
              <p:cNvSpPr txBox="1"/>
              <p:nvPr/>
            </p:nvSpPr>
            <p:spPr>
              <a:xfrm>
                <a:off x="6575631" y="1644200"/>
                <a:ext cx="1481316" cy="223552"/>
              </a:xfrm>
              <a:prstGeom prst="rect">
                <a:avLst/>
              </a:prstGeom>
              <a:noFill/>
            </p:spPr>
            <p:txBody>
              <a:bodyPr wrap="square" lIns="0" tIns="0" rIns="0" bIns="0" rtlCol="0">
                <a:spAutoFit/>
              </a:bodyPr>
              <a:lstStyle/>
              <a:p>
                <a:pPr defTabSz="685800" eaLnBrk="1" fontAlgn="auto" hangingPunct="1">
                  <a:spcBef>
                    <a:spcPts val="0"/>
                  </a:spcBef>
                  <a:spcAft>
                    <a:spcPts val="0"/>
                  </a:spcAft>
                  <a:defRPr/>
                </a:pPr>
                <a:r>
                  <a:rPr lang="en-US" sz="900" kern="0">
                    <a:solidFill>
                      <a:srgbClr val="0078D3"/>
                    </a:solidFill>
                    <a:latin typeface="Segoe UI Semibold"/>
                    <a:cs typeface="Segoe UI" panose="020B0502040204020203" pitchFamily="34" charset="0"/>
                  </a:rPr>
                  <a:t>Public Internet</a:t>
                </a:r>
              </a:p>
            </p:txBody>
          </p:sp>
          <p:grpSp>
            <p:nvGrpSpPr>
              <p:cNvPr id="151" name="Group 150">
                <a:extLst>
                  <a:ext uri="{FF2B5EF4-FFF2-40B4-BE49-F238E27FC236}">
                    <a16:creationId xmlns:a16="http://schemas.microsoft.com/office/drawing/2014/main" id="{5349E85D-73F4-470B-9EE1-D2CD1C2692B5}"/>
                  </a:ext>
                </a:extLst>
              </p:cNvPr>
              <p:cNvGrpSpPr/>
              <p:nvPr/>
            </p:nvGrpSpPr>
            <p:grpSpPr>
              <a:xfrm>
                <a:off x="5605462" y="1486578"/>
                <a:ext cx="977901" cy="1077006"/>
                <a:chOff x="2467981" y="1641377"/>
                <a:chExt cx="1399358" cy="1541174"/>
              </a:xfrm>
            </p:grpSpPr>
            <p:sp>
              <p:nvSpPr>
                <p:cNvPr id="152" name="Oval 151">
                  <a:extLst>
                    <a:ext uri="{FF2B5EF4-FFF2-40B4-BE49-F238E27FC236}">
                      <a16:creationId xmlns:a16="http://schemas.microsoft.com/office/drawing/2014/main" id="{7095AB01-9BB2-4E00-B468-06E54A46B701}"/>
                    </a:ext>
                  </a:extLst>
                </p:cNvPr>
                <p:cNvSpPr/>
                <p:nvPr/>
              </p:nvSpPr>
              <p:spPr bwMode="auto">
                <a:xfrm>
                  <a:off x="3072409" y="2245805"/>
                  <a:ext cx="190499" cy="190501"/>
                </a:xfrm>
                <a:prstGeom prst="ellipse">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5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3" name="Arc 152">
                  <a:extLst>
                    <a:ext uri="{FF2B5EF4-FFF2-40B4-BE49-F238E27FC236}">
                      <a16:creationId xmlns:a16="http://schemas.microsoft.com/office/drawing/2014/main" id="{33B2E3D2-F1C6-4437-9B12-DC44027DDC19}"/>
                    </a:ext>
                  </a:extLst>
                </p:cNvPr>
                <p:cNvSpPr/>
                <p:nvPr/>
              </p:nvSpPr>
              <p:spPr>
                <a:xfrm rot="18900000">
                  <a:off x="2467981" y="1641377"/>
                  <a:ext cx="1399358" cy="1399356"/>
                </a:xfrm>
                <a:prstGeom prst="arc">
                  <a:avLst/>
                </a:prstGeom>
                <a:noFill/>
                <a:ln w="38100" cap="rnd" cmpd="sng" algn="ctr">
                  <a:solidFill>
                    <a:srgbClr val="0078D3"/>
                  </a:solidFill>
                  <a:prstDash val="solid"/>
                  <a:headEnd type="none"/>
                  <a:tailEnd type="none"/>
                </a:ln>
                <a:effectLst/>
              </p:spPr>
              <p:txBody>
                <a:bodyPr rtlCol="0" anchor="ctr"/>
                <a:lstStyle/>
                <a:p>
                  <a:pPr algn="ctr" defTabSz="699557" eaLnBrk="1" fontAlgn="auto" hangingPunct="1">
                    <a:spcBef>
                      <a:spcPts val="0"/>
                    </a:spcBef>
                    <a:spcAft>
                      <a:spcPts val="0"/>
                    </a:spcAft>
                    <a:defRPr/>
                  </a:pPr>
                  <a:endParaRPr lang="en-US" sz="1200" kern="0">
                    <a:solidFill>
                      <a:srgbClr val="3C3C41"/>
                    </a:solidFill>
                    <a:latin typeface="Segoe UI"/>
                  </a:endParaRPr>
                </a:p>
              </p:txBody>
            </p:sp>
            <p:sp>
              <p:nvSpPr>
                <p:cNvPr id="154" name="Arc 153">
                  <a:extLst>
                    <a:ext uri="{FF2B5EF4-FFF2-40B4-BE49-F238E27FC236}">
                      <a16:creationId xmlns:a16="http://schemas.microsoft.com/office/drawing/2014/main" id="{4ECE04DE-AC73-46CA-8C86-26D85A762CD2}"/>
                    </a:ext>
                  </a:extLst>
                </p:cNvPr>
                <p:cNvSpPr/>
                <p:nvPr/>
              </p:nvSpPr>
              <p:spPr>
                <a:xfrm rot="18900000">
                  <a:off x="2647586" y="1820982"/>
                  <a:ext cx="1040148" cy="1040146"/>
                </a:xfrm>
                <a:prstGeom prst="arc">
                  <a:avLst/>
                </a:prstGeom>
                <a:noFill/>
                <a:ln w="38100" cap="rnd" cmpd="sng" algn="ctr">
                  <a:solidFill>
                    <a:srgbClr val="0078D3"/>
                  </a:solidFill>
                  <a:prstDash val="solid"/>
                  <a:headEnd type="none"/>
                  <a:tailEnd type="none"/>
                </a:ln>
                <a:effectLst/>
              </p:spPr>
              <p:txBody>
                <a:bodyPr rtlCol="0" anchor="ctr"/>
                <a:lstStyle/>
                <a:p>
                  <a:pPr algn="ctr" defTabSz="699557" eaLnBrk="1" fontAlgn="auto" hangingPunct="1">
                    <a:spcBef>
                      <a:spcPts val="0"/>
                    </a:spcBef>
                    <a:spcAft>
                      <a:spcPts val="0"/>
                    </a:spcAft>
                    <a:defRPr/>
                  </a:pPr>
                  <a:endParaRPr lang="en-US" sz="1200" kern="0">
                    <a:solidFill>
                      <a:srgbClr val="3C3C41"/>
                    </a:solidFill>
                    <a:latin typeface="Segoe UI"/>
                  </a:endParaRPr>
                </a:p>
              </p:txBody>
            </p:sp>
            <p:sp>
              <p:nvSpPr>
                <p:cNvPr id="155" name="Arc 154">
                  <a:extLst>
                    <a:ext uri="{FF2B5EF4-FFF2-40B4-BE49-F238E27FC236}">
                      <a16:creationId xmlns:a16="http://schemas.microsoft.com/office/drawing/2014/main" id="{0E086921-61D6-4476-8418-601CCD74BF5C}"/>
                    </a:ext>
                  </a:extLst>
                </p:cNvPr>
                <p:cNvSpPr/>
                <p:nvPr/>
              </p:nvSpPr>
              <p:spPr>
                <a:xfrm rot="18900000">
                  <a:off x="2846553" y="2019948"/>
                  <a:ext cx="642212" cy="642212"/>
                </a:xfrm>
                <a:prstGeom prst="arc">
                  <a:avLst/>
                </a:prstGeom>
                <a:noFill/>
                <a:ln w="38100" cap="rnd" cmpd="sng" algn="ctr">
                  <a:solidFill>
                    <a:srgbClr val="0078D3"/>
                  </a:solidFill>
                  <a:prstDash val="solid"/>
                  <a:headEnd type="none"/>
                  <a:tailEnd type="none"/>
                </a:ln>
                <a:effectLst/>
              </p:spPr>
              <p:txBody>
                <a:bodyPr rtlCol="0" anchor="ctr"/>
                <a:lstStyle/>
                <a:p>
                  <a:pPr algn="ctr" defTabSz="699557" eaLnBrk="1" fontAlgn="auto" hangingPunct="1">
                    <a:spcBef>
                      <a:spcPts val="0"/>
                    </a:spcBef>
                    <a:spcAft>
                      <a:spcPts val="0"/>
                    </a:spcAft>
                    <a:defRPr/>
                  </a:pPr>
                  <a:endParaRPr lang="en-US" sz="1200" kern="0">
                    <a:solidFill>
                      <a:srgbClr val="3C3C41"/>
                    </a:solidFill>
                    <a:latin typeface="Segoe UI"/>
                  </a:endParaRPr>
                </a:p>
              </p:txBody>
            </p:sp>
            <p:sp>
              <p:nvSpPr>
                <p:cNvPr id="156" name="Oval 155">
                  <a:extLst>
                    <a:ext uri="{FF2B5EF4-FFF2-40B4-BE49-F238E27FC236}">
                      <a16:creationId xmlns:a16="http://schemas.microsoft.com/office/drawing/2014/main" id="{14384A12-E1E7-45B6-B1F7-7C399624AFC4}"/>
                    </a:ext>
                  </a:extLst>
                </p:cNvPr>
                <p:cNvSpPr/>
                <p:nvPr/>
              </p:nvSpPr>
              <p:spPr bwMode="auto">
                <a:xfrm>
                  <a:off x="3072409" y="2992052"/>
                  <a:ext cx="190499" cy="190499"/>
                </a:xfrm>
                <a:prstGeom prst="ellipse">
                  <a:avLst/>
                </a:prstGeom>
                <a:solidFill>
                  <a:srgbClr val="34486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5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sp>
        <p:nvSpPr>
          <p:cNvPr id="144" name="TextBox 143">
            <a:extLst>
              <a:ext uri="{FF2B5EF4-FFF2-40B4-BE49-F238E27FC236}">
                <a16:creationId xmlns:a16="http://schemas.microsoft.com/office/drawing/2014/main" id="{57B5E74A-70C0-4CD3-8CC6-113E834A3C6C}"/>
              </a:ext>
            </a:extLst>
          </p:cNvPr>
          <p:cNvSpPr txBox="1"/>
          <p:nvPr/>
        </p:nvSpPr>
        <p:spPr>
          <a:xfrm>
            <a:off x="3624161" y="3396994"/>
            <a:ext cx="453205" cy="103875"/>
          </a:xfrm>
          <a:prstGeom prst="rect">
            <a:avLst/>
          </a:prstGeom>
          <a:noFill/>
        </p:spPr>
        <p:txBody>
          <a:bodyPr wrap="square" lIns="0" tIns="0" rIns="0" bIns="0" rtlCol="0" anchor="ctr">
            <a:spAutoFit/>
          </a:bodyPr>
          <a:lstStyle/>
          <a:p>
            <a:pPr algn="ctr" defTabSz="685800" eaLnBrk="1" fontAlgn="auto" hangingPunct="1">
              <a:spcBef>
                <a:spcPts val="0"/>
              </a:spcBef>
              <a:spcAft>
                <a:spcPts val="0"/>
              </a:spcAft>
              <a:defRPr/>
            </a:pPr>
            <a:r>
              <a:rPr lang="en-US" sz="675" kern="0">
                <a:solidFill>
                  <a:srgbClr val="000000"/>
                </a:solidFill>
                <a:cs typeface="Segoe UI" panose="020B0502040204020203" pitchFamily="34" charset="0"/>
              </a:rPr>
              <a:t>Inbound</a:t>
            </a:r>
          </a:p>
        </p:txBody>
      </p:sp>
      <p:sp>
        <p:nvSpPr>
          <p:cNvPr id="145" name="TextBox 144">
            <a:extLst>
              <a:ext uri="{FF2B5EF4-FFF2-40B4-BE49-F238E27FC236}">
                <a16:creationId xmlns:a16="http://schemas.microsoft.com/office/drawing/2014/main" id="{B672F793-80F7-422D-A739-7FF38A3133B6}"/>
              </a:ext>
            </a:extLst>
          </p:cNvPr>
          <p:cNvSpPr txBox="1"/>
          <p:nvPr/>
        </p:nvSpPr>
        <p:spPr>
          <a:xfrm>
            <a:off x="2464326" y="3345057"/>
            <a:ext cx="453205" cy="207749"/>
          </a:xfrm>
          <a:prstGeom prst="rect">
            <a:avLst/>
          </a:prstGeom>
          <a:noFill/>
        </p:spPr>
        <p:txBody>
          <a:bodyPr wrap="square" lIns="0" tIns="0" rIns="0" bIns="0" rtlCol="0" anchor="ctr">
            <a:spAutoFit/>
          </a:bodyPr>
          <a:lstStyle/>
          <a:p>
            <a:pPr algn="ctr" defTabSz="685800" eaLnBrk="1" fontAlgn="auto" hangingPunct="1">
              <a:spcBef>
                <a:spcPts val="0"/>
              </a:spcBef>
              <a:spcAft>
                <a:spcPts val="0"/>
              </a:spcAft>
              <a:defRPr/>
            </a:pPr>
            <a:r>
              <a:rPr lang="en-US" sz="675" kern="0">
                <a:solidFill>
                  <a:srgbClr val="000000"/>
                </a:solidFill>
                <a:cs typeface="Segoe UI" panose="020B0502040204020203" pitchFamily="34" charset="0"/>
              </a:rPr>
              <a:t>Inbound /</a:t>
            </a:r>
          </a:p>
          <a:p>
            <a:pPr algn="ctr" defTabSz="685800" eaLnBrk="1" fontAlgn="auto" hangingPunct="1">
              <a:spcBef>
                <a:spcPts val="0"/>
              </a:spcBef>
              <a:spcAft>
                <a:spcPts val="0"/>
              </a:spcAft>
              <a:defRPr/>
            </a:pPr>
            <a:r>
              <a:rPr lang="en-US" sz="675" kern="0">
                <a:solidFill>
                  <a:srgbClr val="000000"/>
                </a:solidFill>
                <a:cs typeface="Segoe UI" panose="020B0502040204020203" pitchFamily="34" charset="0"/>
              </a:rPr>
              <a:t>Outbound</a:t>
            </a:r>
          </a:p>
        </p:txBody>
      </p:sp>
      <p:sp>
        <p:nvSpPr>
          <p:cNvPr id="173" name="cloud">
            <a:extLst>
              <a:ext uri="{FF2B5EF4-FFF2-40B4-BE49-F238E27FC236}">
                <a16:creationId xmlns:a16="http://schemas.microsoft.com/office/drawing/2014/main" id="{DA5F9120-3D39-4C33-B0B6-A45A9D3E4EC1}"/>
              </a:ext>
            </a:extLst>
          </p:cNvPr>
          <p:cNvSpPr>
            <a:spLocks noChangeAspect="1"/>
          </p:cNvSpPr>
          <p:nvPr/>
        </p:nvSpPr>
        <p:spPr bwMode="auto">
          <a:xfrm flipH="1">
            <a:off x="5904406" y="2387147"/>
            <a:ext cx="649162" cy="41098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 name="connsiteX0" fmla="*/ 10000 w 10000"/>
              <a:gd name="connsiteY0" fmla="*/ 6959 h 10225"/>
              <a:gd name="connsiteX1" fmla="*/ 8169 w 10000"/>
              <a:gd name="connsiteY1" fmla="*/ 10000 h 10225"/>
              <a:gd name="connsiteX2" fmla="*/ 2558 w 10000"/>
              <a:gd name="connsiteY2" fmla="*/ 10000 h 10225"/>
              <a:gd name="connsiteX3" fmla="*/ 2558 w 10000"/>
              <a:gd name="connsiteY3" fmla="*/ 10000 h 10225"/>
              <a:gd name="connsiteX4" fmla="*/ 2500 w 10000"/>
              <a:gd name="connsiteY4" fmla="*/ 10000 h 10225"/>
              <a:gd name="connsiteX5" fmla="*/ 0 w 10000"/>
              <a:gd name="connsiteY5" fmla="*/ 5991 h 10225"/>
              <a:gd name="connsiteX6" fmla="*/ 2500 w 10000"/>
              <a:gd name="connsiteY6" fmla="*/ 2028 h 10225"/>
              <a:gd name="connsiteX7" fmla="*/ 3023 w 10000"/>
              <a:gd name="connsiteY7" fmla="*/ 2074 h 10225"/>
              <a:gd name="connsiteX8" fmla="*/ 5349 w 10000"/>
              <a:gd name="connsiteY8" fmla="*/ 0 h 10225"/>
              <a:gd name="connsiteX9" fmla="*/ 8081 w 10000"/>
              <a:gd name="connsiteY9" fmla="*/ 3917 h 10225"/>
              <a:gd name="connsiteX10" fmla="*/ 8081 w 10000"/>
              <a:gd name="connsiteY10" fmla="*/ 3917 h 10225"/>
              <a:gd name="connsiteX11" fmla="*/ 10000 w 10000"/>
              <a:gd name="connsiteY11" fmla="*/ 6959 h 10225"/>
              <a:gd name="connsiteX0" fmla="*/ 10000 w 10000"/>
              <a:gd name="connsiteY0" fmla="*/ 6959 h 10026"/>
              <a:gd name="connsiteX1" fmla="*/ 8169 w 10000"/>
              <a:gd name="connsiteY1" fmla="*/ 10000 h 10026"/>
              <a:gd name="connsiteX2" fmla="*/ 2558 w 10000"/>
              <a:gd name="connsiteY2" fmla="*/ 10000 h 10026"/>
              <a:gd name="connsiteX3" fmla="*/ 2558 w 10000"/>
              <a:gd name="connsiteY3" fmla="*/ 10000 h 10026"/>
              <a:gd name="connsiteX4" fmla="*/ 2500 w 10000"/>
              <a:gd name="connsiteY4" fmla="*/ 10000 h 10026"/>
              <a:gd name="connsiteX5" fmla="*/ 0 w 10000"/>
              <a:gd name="connsiteY5" fmla="*/ 5991 h 10026"/>
              <a:gd name="connsiteX6" fmla="*/ 2500 w 10000"/>
              <a:gd name="connsiteY6" fmla="*/ 2028 h 10026"/>
              <a:gd name="connsiteX7" fmla="*/ 3023 w 10000"/>
              <a:gd name="connsiteY7" fmla="*/ 2074 h 10026"/>
              <a:gd name="connsiteX8" fmla="*/ 5349 w 10000"/>
              <a:gd name="connsiteY8" fmla="*/ 0 h 10026"/>
              <a:gd name="connsiteX9" fmla="*/ 8081 w 10000"/>
              <a:gd name="connsiteY9" fmla="*/ 3917 h 10026"/>
              <a:gd name="connsiteX10" fmla="*/ 8081 w 10000"/>
              <a:gd name="connsiteY10" fmla="*/ 3917 h 10026"/>
              <a:gd name="connsiteX11" fmla="*/ 10000 w 10000"/>
              <a:gd name="connsiteY11" fmla="*/ 6959 h 10026"/>
              <a:gd name="connsiteX0" fmla="*/ 10000 w 10000"/>
              <a:gd name="connsiteY0" fmla="*/ 6959 h 10026"/>
              <a:gd name="connsiteX1" fmla="*/ 8169 w 10000"/>
              <a:gd name="connsiteY1" fmla="*/ 10000 h 10026"/>
              <a:gd name="connsiteX2" fmla="*/ 2558 w 10000"/>
              <a:gd name="connsiteY2" fmla="*/ 10000 h 10026"/>
              <a:gd name="connsiteX3" fmla="*/ 2558 w 10000"/>
              <a:gd name="connsiteY3" fmla="*/ 10000 h 10026"/>
              <a:gd name="connsiteX4" fmla="*/ 2500 w 10000"/>
              <a:gd name="connsiteY4" fmla="*/ 10000 h 10026"/>
              <a:gd name="connsiteX5" fmla="*/ 0 w 10000"/>
              <a:gd name="connsiteY5" fmla="*/ 5991 h 10026"/>
              <a:gd name="connsiteX6" fmla="*/ 2500 w 10000"/>
              <a:gd name="connsiteY6" fmla="*/ 2028 h 10026"/>
              <a:gd name="connsiteX7" fmla="*/ 3023 w 10000"/>
              <a:gd name="connsiteY7" fmla="*/ 2074 h 10026"/>
              <a:gd name="connsiteX8" fmla="*/ 5349 w 10000"/>
              <a:gd name="connsiteY8" fmla="*/ 0 h 10026"/>
              <a:gd name="connsiteX9" fmla="*/ 8081 w 10000"/>
              <a:gd name="connsiteY9" fmla="*/ 3917 h 10026"/>
              <a:gd name="connsiteX10" fmla="*/ 8081 w 10000"/>
              <a:gd name="connsiteY10" fmla="*/ 3917 h 10026"/>
              <a:gd name="connsiteX11" fmla="*/ 10000 w 10000"/>
              <a:gd name="connsiteY11" fmla="*/ 6959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26">
                <a:moveTo>
                  <a:pt x="10000" y="6959"/>
                </a:moveTo>
                <a:cubicBezTo>
                  <a:pt x="10015" y="7973"/>
                  <a:pt x="9409" y="9962"/>
                  <a:pt x="8169" y="10000"/>
                </a:cubicBezTo>
                <a:cubicBezTo>
                  <a:pt x="6915" y="10060"/>
                  <a:pt x="2558" y="10000"/>
                  <a:pt x="2558" y="10000"/>
                </a:cubicBezTo>
                <a:lnTo>
                  <a:pt x="2558" y="10000"/>
                </a:lnTo>
                <a:lnTo>
                  <a:pt x="2500" y="10000"/>
                </a:lnTo>
                <a:cubicBezTo>
                  <a:pt x="1134" y="10000"/>
                  <a:pt x="0" y="8203"/>
                  <a:pt x="0" y="5991"/>
                </a:cubicBezTo>
                <a:cubicBezTo>
                  <a:pt x="0" y="3779"/>
                  <a:pt x="1134" y="2028"/>
                  <a:pt x="2500" y="2028"/>
                </a:cubicBezTo>
                <a:cubicBezTo>
                  <a:pt x="2674" y="2028"/>
                  <a:pt x="2849" y="2028"/>
                  <a:pt x="3023" y="2074"/>
                </a:cubicBezTo>
                <a:cubicBezTo>
                  <a:pt x="3517" y="829"/>
                  <a:pt x="4360" y="0"/>
                  <a:pt x="5349" y="0"/>
                </a:cubicBezTo>
                <a:cubicBezTo>
                  <a:pt x="6773" y="0"/>
                  <a:pt x="7936" y="1705"/>
                  <a:pt x="8081" y="3917"/>
                </a:cubicBezTo>
                <a:lnTo>
                  <a:pt x="8081" y="3917"/>
                </a:lnTo>
                <a:cubicBezTo>
                  <a:pt x="9157" y="3917"/>
                  <a:pt x="10000" y="5253"/>
                  <a:pt x="10000" y="6959"/>
                </a:cubicBezTo>
                <a:close/>
              </a:path>
            </a:pathLst>
          </a:custGeom>
          <a:solidFill>
            <a:srgbClr val="FFFFFF"/>
          </a:solidFill>
          <a:ln w="28575" cap="sq">
            <a:noFill/>
            <a:prstDash val="solid"/>
            <a:miter lim="800000"/>
            <a:headEnd/>
            <a:tailEnd/>
          </a:ln>
          <a:effectLst>
            <a:outerShdw blurRad="127000" algn="ctr" rotWithShape="0">
              <a:prstClr val="black">
                <a:alpha val="20000"/>
              </a:prstClr>
            </a:outerShdw>
          </a:effectLst>
        </p:spPr>
        <p:txBody>
          <a:bodyPr vert="horz" wrap="square" lIns="0" tIns="68580" rIns="0" bIns="0" numCol="1" anchor="ctr"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699288" fontAlgn="auto">
              <a:spcBef>
                <a:spcPts val="0"/>
              </a:spcBef>
              <a:spcAft>
                <a:spcPts val="0"/>
              </a:spcAft>
              <a:defRPr/>
            </a:pPr>
            <a:r>
              <a:rPr lang="en-US" sz="788" kern="0">
                <a:solidFill>
                  <a:srgbClr val="0078D3"/>
                </a:solidFill>
                <a:latin typeface="Segoe UI Semibold"/>
                <a:ea typeface="Segoe UI Black" panose="020B0A02040204020203" pitchFamily="34" charset="0"/>
              </a:rPr>
              <a:t>Internet</a:t>
            </a:r>
          </a:p>
        </p:txBody>
      </p:sp>
      <p:cxnSp>
        <p:nvCxnSpPr>
          <p:cNvPr id="174" name="Straight Connector 173">
            <a:extLst>
              <a:ext uri="{FF2B5EF4-FFF2-40B4-BE49-F238E27FC236}">
                <a16:creationId xmlns:a16="http://schemas.microsoft.com/office/drawing/2014/main" id="{2A506B7B-0E9B-4ED3-9DB8-FF9EC93FE52E}"/>
              </a:ext>
            </a:extLst>
          </p:cNvPr>
          <p:cNvCxnSpPr>
            <a:cxnSpLocks/>
          </p:cNvCxnSpPr>
          <p:nvPr/>
        </p:nvCxnSpPr>
        <p:spPr>
          <a:xfrm flipV="1">
            <a:off x="6039889" y="2941876"/>
            <a:ext cx="0" cy="161087"/>
          </a:xfrm>
          <a:prstGeom prst="line">
            <a:avLst/>
          </a:prstGeom>
          <a:noFill/>
          <a:ln w="19050" cap="rnd" cmpd="sng" algn="ctr">
            <a:solidFill>
              <a:srgbClr val="0078D3"/>
            </a:solidFill>
            <a:prstDash val="sysDot"/>
          </a:ln>
          <a:effectLst/>
        </p:spPr>
      </p:cxnSp>
      <p:cxnSp>
        <p:nvCxnSpPr>
          <p:cNvPr id="175" name="Straight Connector 174">
            <a:extLst>
              <a:ext uri="{FF2B5EF4-FFF2-40B4-BE49-F238E27FC236}">
                <a16:creationId xmlns:a16="http://schemas.microsoft.com/office/drawing/2014/main" id="{683424EF-59B0-4893-9F92-96A6E330E931}"/>
              </a:ext>
            </a:extLst>
          </p:cNvPr>
          <p:cNvCxnSpPr>
            <a:cxnSpLocks/>
          </p:cNvCxnSpPr>
          <p:nvPr/>
        </p:nvCxnSpPr>
        <p:spPr>
          <a:xfrm flipV="1">
            <a:off x="6418086" y="2941876"/>
            <a:ext cx="0" cy="161087"/>
          </a:xfrm>
          <a:prstGeom prst="line">
            <a:avLst/>
          </a:prstGeom>
          <a:noFill/>
          <a:ln w="19050" cap="rnd" cmpd="sng" algn="ctr">
            <a:solidFill>
              <a:srgbClr val="0078D3"/>
            </a:solidFill>
            <a:prstDash val="sysDot"/>
          </a:ln>
          <a:effectLst/>
        </p:spPr>
      </p:cxnSp>
      <p:sp>
        <p:nvSpPr>
          <p:cNvPr id="176" name="TextBox 175">
            <a:extLst>
              <a:ext uri="{FF2B5EF4-FFF2-40B4-BE49-F238E27FC236}">
                <a16:creationId xmlns:a16="http://schemas.microsoft.com/office/drawing/2014/main" id="{AFCB9993-B52C-4F1E-8CF7-BE30BFD02297}"/>
              </a:ext>
            </a:extLst>
          </p:cNvPr>
          <p:cNvSpPr txBox="1"/>
          <p:nvPr/>
        </p:nvSpPr>
        <p:spPr>
          <a:xfrm>
            <a:off x="5855544" y="2847801"/>
            <a:ext cx="368691" cy="92333"/>
          </a:xfrm>
          <a:prstGeom prst="rect">
            <a:avLst/>
          </a:prstGeom>
          <a:noFill/>
        </p:spPr>
        <p:txBody>
          <a:bodyPr wrap="none" lIns="0" tIns="0" rIns="0" bIns="0" rtlCol="0">
            <a:spAutoFit/>
          </a:bodyPr>
          <a:lstStyle/>
          <a:p>
            <a:pPr algn="ctr" defTabSz="685800" eaLnBrk="1" fontAlgn="auto" hangingPunct="1">
              <a:spcBef>
                <a:spcPts val="0"/>
              </a:spcBef>
              <a:spcAft>
                <a:spcPts val="0"/>
              </a:spcAft>
              <a:defRPr/>
            </a:pPr>
            <a:r>
              <a:rPr lang="en-US" sz="600" kern="0">
                <a:solidFill>
                  <a:srgbClr val="000000"/>
                </a:solidFill>
              </a:rPr>
              <a:t>Public IP 1</a:t>
            </a:r>
          </a:p>
        </p:txBody>
      </p:sp>
      <p:sp>
        <p:nvSpPr>
          <p:cNvPr id="177" name="TextBox 176">
            <a:extLst>
              <a:ext uri="{FF2B5EF4-FFF2-40B4-BE49-F238E27FC236}">
                <a16:creationId xmlns:a16="http://schemas.microsoft.com/office/drawing/2014/main" id="{1AE55C5A-E571-4C19-B978-7F8544C5D77E}"/>
              </a:ext>
            </a:extLst>
          </p:cNvPr>
          <p:cNvSpPr txBox="1"/>
          <p:nvPr/>
        </p:nvSpPr>
        <p:spPr>
          <a:xfrm>
            <a:off x="6233742" y="2847801"/>
            <a:ext cx="368691" cy="92333"/>
          </a:xfrm>
          <a:prstGeom prst="rect">
            <a:avLst/>
          </a:prstGeom>
          <a:noFill/>
        </p:spPr>
        <p:txBody>
          <a:bodyPr wrap="none" lIns="0" tIns="0" rIns="0" bIns="0" rtlCol="0">
            <a:spAutoFit/>
          </a:bodyPr>
          <a:lstStyle/>
          <a:p>
            <a:pPr algn="ctr" defTabSz="685800" eaLnBrk="1" fontAlgn="auto" hangingPunct="1">
              <a:spcBef>
                <a:spcPts val="0"/>
              </a:spcBef>
              <a:spcAft>
                <a:spcPts val="0"/>
              </a:spcAft>
              <a:defRPr/>
            </a:pPr>
            <a:r>
              <a:rPr lang="en-US" sz="600" kern="0">
                <a:solidFill>
                  <a:srgbClr val="000000"/>
                </a:solidFill>
              </a:rPr>
              <a:t>Public IP 2</a:t>
            </a:r>
          </a:p>
        </p:txBody>
      </p:sp>
      <p:sp>
        <p:nvSpPr>
          <p:cNvPr id="178" name="04R">
            <a:extLst>
              <a:ext uri="{FF2B5EF4-FFF2-40B4-BE49-F238E27FC236}">
                <a16:creationId xmlns:a16="http://schemas.microsoft.com/office/drawing/2014/main" id="{B7B79ED2-6514-4EF3-8166-0CD0A9530918}"/>
              </a:ext>
            </a:extLst>
          </p:cNvPr>
          <p:cNvSpPr/>
          <p:nvPr/>
        </p:nvSpPr>
        <p:spPr bwMode="auto">
          <a:xfrm>
            <a:off x="5843214" y="3102961"/>
            <a:ext cx="764932" cy="1697639"/>
          </a:xfrm>
          <a:prstGeom prst="rect">
            <a:avLst/>
          </a:prstGeom>
          <a:solidFill>
            <a:srgbClr val="E6E6E6"/>
          </a:solidFill>
          <a:ln w="9525" cap="flat" cmpd="sng" algn="ctr">
            <a:noFill/>
            <a:prstDash val="solid"/>
          </a:ln>
          <a:effectLst/>
        </p:spPr>
        <p:txBody>
          <a:bodyPr rot="0" spcFirstLastPara="0" vert="horz" wrap="square" lIns="139891" tIns="137160" rIns="139891" bIns="137160" numCol="1" spcCol="0" rtlCol="0" fromWordArt="0" anchor="b" anchorCtr="0" forceAA="0" compatLnSpc="1">
            <a:prstTxWarp prst="textNoShape">
              <a:avLst/>
            </a:prstTxWarp>
            <a:noAutofit/>
          </a:bodyPr>
          <a:lstStyle/>
          <a:p>
            <a:pPr algn="ctr" defTabSz="685800" eaLnBrk="1" fontAlgn="auto" hangingPunct="1">
              <a:spcAft>
                <a:spcPts val="0"/>
              </a:spcAft>
              <a:defRPr/>
            </a:pPr>
            <a:endParaRPr lang="en-US" sz="750" kern="0">
              <a:ln w="3175">
                <a:noFill/>
              </a:ln>
              <a:solidFill>
                <a:srgbClr val="000000"/>
              </a:solidFill>
              <a:latin typeface="Segoe UI Semibold"/>
              <a:cs typeface="Segoe UI Semilight" panose="020B0402040204020203" pitchFamily="34" charset="0"/>
            </a:endParaRPr>
          </a:p>
        </p:txBody>
      </p:sp>
      <p:sp>
        <p:nvSpPr>
          <p:cNvPr id="180" name="TextBox 179">
            <a:extLst>
              <a:ext uri="{FF2B5EF4-FFF2-40B4-BE49-F238E27FC236}">
                <a16:creationId xmlns:a16="http://schemas.microsoft.com/office/drawing/2014/main" id="{5C93E3ED-14F1-405C-9E58-ACD3EABA792C}"/>
              </a:ext>
            </a:extLst>
          </p:cNvPr>
          <p:cNvSpPr txBox="1"/>
          <p:nvPr/>
        </p:nvSpPr>
        <p:spPr>
          <a:xfrm>
            <a:off x="5892418" y="3168342"/>
            <a:ext cx="666524" cy="184666"/>
          </a:xfrm>
          <a:prstGeom prst="rect">
            <a:avLst/>
          </a:prstGeom>
          <a:noFill/>
        </p:spPr>
        <p:txBody>
          <a:bodyPr wrap="square" lIns="0" tIns="0" rIns="0" bIns="0" rtlCol="0" anchor="ctr">
            <a:spAutoFit/>
          </a:bodyPr>
          <a:lstStyle/>
          <a:p>
            <a:pPr algn="ctr" defTabSz="685800" eaLnBrk="1" fontAlgn="auto" hangingPunct="1">
              <a:spcBef>
                <a:spcPts val="0"/>
              </a:spcBef>
              <a:spcAft>
                <a:spcPts val="0"/>
              </a:spcAft>
              <a:defRPr/>
            </a:pPr>
            <a:r>
              <a:rPr lang="en-US" sz="600" kern="0">
                <a:solidFill>
                  <a:srgbClr val="000000"/>
                </a:solidFill>
                <a:cs typeface="Segoe UI" panose="020B0502040204020203" pitchFamily="34" charset="0"/>
              </a:rPr>
              <a:t>DDoS Protection Standard</a:t>
            </a:r>
          </a:p>
        </p:txBody>
      </p:sp>
      <p:sp>
        <p:nvSpPr>
          <p:cNvPr id="181" name="04R">
            <a:extLst>
              <a:ext uri="{FF2B5EF4-FFF2-40B4-BE49-F238E27FC236}">
                <a16:creationId xmlns:a16="http://schemas.microsoft.com/office/drawing/2014/main" id="{E342290D-8859-411F-A91A-D952C7978A12}"/>
              </a:ext>
            </a:extLst>
          </p:cNvPr>
          <p:cNvSpPr/>
          <p:nvPr/>
        </p:nvSpPr>
        <p:spPr bwMode="auto">
          <a:xfrm>
            <a:off x="5959052" y="3766265"/>
            <a:ext cx="533257" cy="914757"/>
          </a:xfrm>
          <a:prstGeom prst="rect">
            <a:avLst/>
          </a:prstGeom>
          <a:solidFill>
            <a:srgbClr val="FFFFFF"/>
          </a:solidFill>
          <a:ln w="19050" cap="rnd" cmpd="sng" algn="ctr">
            <a:solidFill>
              <a:srgbClr val="0078D3"/>
            </a:solidFill>
            <a:prstDash val="sysDot"/>
          </a:ln>
          <a:effectLst/>
        </p:spPr>
        <p:txBody>
          <a:bodyPr rot="0" spcFirstLastPara="0" vert="horz" wrap="square" lIns="68580" tIns="68580" rIns="68580" bIns="68580" numCol="1" spcCol="0" rtlCol="0" fromWordArt="0" anchor="b" anchorCtr="0" forceAA="0" compatLnSpc="1">
            <a:prstTxWarp prst="textNoShape">
              <a:avLst/>
            </a:prstTxWarp>
            <a:noAutofit/>
          </a:bodyPr>
          <a:lstStyle/>
          <a:p>
            <a:pPr algn="ctr" defTabSz="685800" eaLnBrk="1" hangingPunct="1">
              <a:defRPr/>
            </a:pPr>
            <a:r>
              <a:rPr lang="en-US" sz="600" kern="0">
                <a:ln w="3175">
                  <a:noFill/>
                </a:ln>
                <a:solidFill>
                  <a:srgbClr val="000000"/>
                </a:solidFill>
                <a:latin typeface="Segoe UI Semibold"/>
                <a:cs typeface="Segoe UI Semilight" panose="020B0402040204020203" pitchFamily="34" charset="0"/>
              </a:rPr>
              <a:t>Adaptive </a:t>
            </a:r>
          </a:p>
          <a:p>
            <a:pPr algn="ctr" defTabSz="685800" eaLnBrk="1" hangingPunct="1">
              <a:defRPr/>
            </a:pPr>
            <a:r>
              <a:rPr lang="en-US" sz="600" kern="0">
                <a:ln w="3175">
                  <a:noFill/>
                </a:ln>
                <a:solidFill>
                  <a:srgbClr val="000000"/>
                </a:solidFill>
                <a:latin typeface="Segoe UI Semibold"/>
                <a:cs typeface="Segoe UI Semilight" panose="020B0402040204020203" pitchFamily="34" charset="0"/>
              </a:rPr>
              <a:t>Tuning</a:t>
            </a:r>
          </a:p>
          <a:p>
            <a:pPr algn="ctr" defTabSz="685800" eaLnBrk="1" hangingPunct="1">
              <a:defRPr/>
            </a:pPr>
            <a:r>
              <a:rPr lang="en-US" sz="600" kern="0">
                <a:ln w="3175">
                  <a:noFill/>
                </a:ln>
                <a:solidFill>
                  <a:srgbClr val="000000"/>
                </a:solidFill>
                <a:latin typeface="Segoe UI Semibold"/>
                <a:cs typeface="Segoe UI Semilight" panose="020B0402040204020203" pitchFamily="34" charset="0"/>
              </a:rPr>
              <a:t>Engine</a:t>
            </a:r>
          </a:p>
        </p:txBody>
      </p:sp>
      <p:grpSp>
        <p:nvGrpSpPr>
          <p:cNvPr id="182" name="Group 181" descr="alert, insights, speedometer, magnifying glass">
            <a:extLst>
              <a:ext uri="{FF2B5EF4-FFF2-40B4-BE49-F238E27FC236}">
                <a16:creationId xmlns:a16="http://schemas.microsoft.com/office/drawing/2014/main" id="{D187E4F8-2B1F-4D7C-AE49-609DF1F82BC0}"/>
              </a:ext>
            </a:extLst>
          </p:cNvPr>
          <p:cNvGrpSpPr/>
          <p:nvPr/>
        </p:nvGrpSpPr>
        <p:grpSpPr>
          <a:xfrm>
            <a:off x="6101051" y="4007027"/>
            <a:ext cx="249259" cy="263735"/>
            <a:chOff x="8244368" y="2145573"/>
            <a:chExt cx="438875" cy="441987"/>
          </a:xfrm>
        </p:grpSpPr>
        <p:sp>
          <p:nvSpPr>
            <p:cNvPr id="232" name="Freeform 213">
              <a:extLst>
                <a:ext uri="{FF2B5EF4-FFF2-40B4-BE49-F238E27FC236}">
                  <a16:creationId xmlns:a16="http://schemas.microsoft.com/office/drawing/2014/main" id="{AA65FAA3-C5BF-4488-9100-81C2C49FDDBD}"/>
                </a:ext>
              </a:extLst>
            </p:cNvPr>
            <p:cNvSpPr>
              <a:spLocks/>
            </p:cNvSpPr>
            <p:nvPr/>
          </p:nvSpPr>
          <p:spPr bwMode="auto">
            <a:xfrm>
              <a:off x="8361091" y="2201600"/>
              <a:ext cx="70034" cy="99603"/>
            </a:xfrm>
            <a:custGeom>
              <a:avLst/>
              <a:gdLst>
                <a:gd name="T0" fmla="*/ 38 w 61"/>
                <a:gd name="T1" fmla="*/ 82 h 87"/>
                <a:gd name="T2" fmla="*/ 61 w 61"/>
                <a:gd name="T3" fmla="*/ 28 h 87"/>
                <a:gd name="T4" fmla="*/ 33 w 61"/>
                <a:gd name="T5" fmla="*/ 0 h 87"/>
                <a:gd name="T6" fmla="*/ 0 w 61"/>
                <a:gd name="T7" fmla="*/ 76 h 87"/>
                <a:gd name="T8" fmla="*/ 38 w 61"/>
                <a:gd name="T9" fmla="*/ 87 h 87"/>
                <a:gd name="T10" fmla="*/ 38 w 61"/>
                <a:gd name="T11" fmla="*/ 82 h 87"/>
              </a:gdLst>
              <a:ahLst/>
              <a:cxnLst>
                <a:cxn ang="0">
                  <a:pos x="T0" y="T1"/>
                </a:cxn>
                <a:cxn ang="0">
                  <a:pos x="T2" y="T3"/>
                </a:cxn>
                <a:cxn ang="0">
                  <a:pos x="T4" y="T5"/>
                </a:cxn>
                <a:cxn ang="0">
                  <a:pos x="T6" y="T7"/>
                </a:cxn>
                <a:cxn ang="0">
                  <a:pos x="T8" y="T9"/>
                </a:cxn>
                <a:cxn ang="0">
                  <a:pos x="T10" y="T11"/>
                </a:cxn>
              </a:cxnLst>
              <a:rect l="0" t="0" r="r" b="b"/>
              <a:pathLst>
                <a:path w="61" h="87">
                  <a:moveTo>
                    <a:pt x="38" y="82"/>
                  </a:moveTo>
                  <a:cubicBezTo>
                    <a:pt x="40" y="61"/>
                    <a:pt x="48" y="43"/>
                    <a:pt x="61" y="28"/>
                  </a:cubicBezTo>
                  <a:cubicBezTo>
                    <a:pt x="33" y="0"/>
                    <a:pt x="33" y="0"/>
                    <a:pt x="33" y="0"/>
                  </a:cubicBezTo>
                  <a:cubicBezTo>
                    <a:pt x="15" y="21"/>
                    <a:pt x="3" y="47"/>
                    <a:pt x="0" y="76"/>
                  </a:cubicBezTo>
                  <a:cubicBezTo>
                    <a:pt x="13" y="77"/>
                    <a:pt x="26" y="81"/>
                    <a:pt x="38" y="87"/>
                  </a:cubicBezTo>
                  <a:lnTo>
                    <a:pt x="38" y="82"/>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825" kern="0">
                <a:solidFill>
                  <a:srgbClr val="505050"/>
                </a:solidFill>
              </a:endParaRPr>
            </a:p>
          </p:txBody>
        </p:sp>
        <p:sp>
          <p:nvSpPr>
            <p:cNvPr id="233" name="Freeform 214">
              <a:extLst>
                <a:ext uri="{FF2B5EF4-FFF2-40B4-BE49-F238E27FC236}">
                  <a16:creationId xmlns:a16="http://schemas.microsoft.com/office/drawing/2014/main" id="{1E1500E1-3717-48DC-AC48-0A5BB29545FD}"/>
                </a:ext>
              </a:extLst>
            </p:cNvPr>
            <p:cNvSpPr>
              <a:spLocks/>
            </p:cNvSpPr>
            <p:nvPr/>
          </p:nvSpPr>
          <p:spPr bwMode="auto">
            <a:xfrm>
              <a:off x="8415560" y="2145573"/>
              <a:ext cx="93378" cy="70034"/>
            </a:xfrm>
            <a:custGeom>
              <a:avLst/>
              <a:gdLst>
                <a:gd name="T0" fmla="*/ 28 w 82"/>
                <a:gd name="T1" fmla="*/ 61 h 61"/>
                <a:gd name="T2" fmla="*/ 82 w 82"/>
                <a:gd name="T3" fmla="*/ 39 h 61"/>
                <a:gd name="T4" fmla="*/ 82 w 82"/>
                <a:gd name="T5" fmla="*/ 0 h 61"/>
                <a:gd name="T6" fmla="*/ 0 w 82"/>
                <a:gd name="T7" fmla="*/ 34 h 61"/>
                <a:gd name="T8" fmla="*/ 28 w 82"/>
                <a:gd name="T9" fmla="*/ 61 h 61"/>
              </a:gdLst>
              <a:ahLst/>
              <a:cxnLst>
                <a:cxn ang="0">
                  <a:pos x="T0" y="T1"/>
                </a:cxn>
                <a:cxn ang="0">
                  <a:pos x="T2" y="T3"/>
                </a:cxn>
                <a:cxn ang="0">
                  <a:pos x="T4" y="T5"/>
                </a:cxn>
                <a:cxn ang="0">
                  <a:pos x="T6" y="T7"/>
                </a:cxn>
                <a:cxn ang="0">
                  <a:pos x="T8" y="T9"/>
                </a:cxn>
              </a:cxnLst>
              <a:rect l="0" t="0" r="r" b="b"/>
              <a:pathLst>
                <a:path w="82" h="61">
                  <a:moveTo>
                    <a:pt x="28" y="61"/>
                  </a:moveTo>
                  <a:cubicBezTo>
                    <a:pt x="43" y="49"/>
                    <a:pt x="62" y="41"/>
                    <a:pt x="82" y="39"/>
                  </a:cubicBezTo>
                  <a:cubicBezTo>
                    <a:pt x="82" y="0"/>
                    <a:pt x="82" y="0"/>
                    <a:pt x="82" y="0"/>
                  </a:cubicBezTo>
                  <a:cubicBezTo>
                    <a:pt x="51" y="2"/>
                    <a:pt x="23" y="15"/>
                    <a:pt x="0" y="34"/>
                  </a:cubicBezTo>
                  <a:lnTo>
                    <a:pt x="28" y="6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825" kern="0">
                <a:solidFill>
                  <a:srgbClr val="505050"/>
                </a:solidFill>
              </a:endParaRPr>
            </a:p>
          </p:txBody>
        </p:sp>
        <p:sp>
          <p:nvSpPr>
            <p:cNvPr id="234" name="Freeform 215">
              <a:extLst>
                <a:ext uri="{FF2B5EF4-FFF2-40B4-BE49-F238E27FC236}">
                  <a16:creationId xmlns:a16="http://schemas.microsoft.com/office/drawing/2014/main" id="{3C9D26FC-1C2F-44DF-B9A4-2EDC3A9017F0}"/>
                </a:ext>
              </a:extLst>
            </p:cNvPr>
            <p:cNvSpPr>
              <a:spLocks/>
            </p:cNvSpPr>
            <p:nvPr/>
          </p:nvSpPr>
          <p:spPr bwMode="auto">
            <a:xfrm>
              <a:off x="8532283" y="2145573"/>
              <a:ext cx="94934" cy="70034"/>
            </a:xfrm>
            <a:custGeom>
              <a:avLst/>
              <a:gdLst>
                <a:gd name="T0" fmla="*/ 0 w 82"/>
                <a:gd name="T1" fmla="*/ 0 h 61"/>
                <a:gd name="T2" fmla="*/ 0 w 82"/>
                <a:gd name="T3" fmla="*/ 39 h 61"/>
                <a:gd name="T4" fmla="*/ 54 w 82"/>
                <a:gd name="T5" fmla="*/ 61 h 61"/>
                <a:gd name="T6" fmla="*/ 82 w 82"/>
                <a:gd name="T7" fmla="*/ 34 h 61"/>
                <a:gd name="T8" fmla="*/ 0 w 82"/>
                <a:gd name="T9" fmla="*/ 0 h 61"/>
              </a:gdLst>
              <a:ahLst/>
              <a:cxnLst>
                <a:cxn ang="0">
                  <a:pos x="T0" y="T1"/>
                </a:cxn>
                <a:cxn ang="0">
                  <a:pos x="T2" y="T3"/>
                </a:cxn>
                <a:cxn ang="0">
                  <a:pos x="T4" y="T5"/>
                </a:cxn>
                <a:cxn ang="0">
                  <a:pos x="T6" y="T7"/>
                </a:cxn>
                <a:cxn ang="0">
                  <a:pos x="T8" y="T9"/>
                </a:cxn>
              </a:cxnLst>
              <a:rect l="0" t="0" r="r" b="b"/>
              <a:pathLst>
                <a:path w="82" h="61">
                  <a:moveTo>
                    <a:pt x="0" y="0"/>
                  </a:moveTo>
                  <a:cubicBezTo>
                    <a:pt x="0" y="39"/>
                    <a:pt x="0" y="39"/>
                    <a:pt x="0" y="39"/>
                  </a:cubicBezTo>
                  <a:cubicBezTo>
                    <a:pt x="20" y="41"/>
                    <a:pt x="39" y="49"/>
                    <a:pt x="54" y="61"/>
                  </a:cubicBezTo>
                  <a:cubicBezTo>
                    <a:pt x="82" y="34"/>
                    <a:pt x="82" y="34"/>
                    <a:pt x="82" y="34"/>
                  </a:cubicBezTo>
                  <a:cubicBezTo>
                    <a:pt x="59" y="15"/>
                    <a:pt x="31" y="2"/>
                    <a:pt x="0" y="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825" kern="0">
                <a:solidFill>
                  <a:srgbClr val="505050"/>
                </a:solidFill>
              </a:endParaRPr>
            </a:p>
          </p:txBody>
        </p:sp>
        <p:sp>
          <p:nvSpPr>
            <p:cNvPr id="235" name="Freeform 216">
              <a:extLst>
                <a:ext uri="{FF2B5EF4-FFF2-40B4-BE49-F238E27FC236}">
                  <a16:creationId xmlns:a16="http://schemas.microsoft.com/office/drawing/2014/main" id="{B1DFD086-20FA-4875-943F-488CFC549E56}"/>
                </a:ext>
              </a:extLst>
            </p:cNvPr>
            <p:cNvSpPr>
              <a:spLocks/>
            </p:cNvSpPr>
            <p:nvPr/>
          </p:nvSpPr>
          <p:spPr bwMode="auto">
            <a:xfrm>
              <a:off x="8611653" y="2201600"/>
              <a:ext cx="71590" cy="93378"/>
            </a:xfrm>
            <a:custGeom>
              <a:avLst/>
              <a:gdLst>
                <a:gd name="T0" fmla="*/ 23 w 62"/>
                <a:gd name="T1" fmla="*/ 82 h 82"/>
                <a:gd name="T2" fmla="*/ 62 w 62"/>
                <a:gd name="T3" fmla="*/ 82 h 82"/>
                <a:gd name="T4" fmla="*/ 28 w 62"/>
                <a:gd name="T5" fmla="*/ 0 h 82"/>
                <a:gd name="T6" fmla="*/ 0 w 62"/>
                <a:gd name="T7" fmla="*/ 28 h 82"/>
                <a:gd name="T8" fmla="*/ 23 w 62"/>
                <a:gd name="T9" fmla="*/ 82 h 82"/>
              </a:gdLst>
              <a:ahLst/>
              <a:cxnLst>
                <a:cxn ang="0">
                  <a:pos x="T0" y="T1"/>
                </a:cxn>
                <a:cxn ang="0">
                  <a:pos x="T2" y="T3"/>
                </a:cxn>
                <a:cxn ang="0">
                  <a:pos x="T4" y="T5"/>
                </a:cxn>
                <a:cxn ang="0">
                  <a:pos x="T6" y="T7"/>
                </a:cxn>
                <a:cxn ang="0">
                  <a:pos x="T8" y="T9"/>
                </a:cxn>
              </a:cxnLst>
              <a:rect l="0" t="0" r="r" b="b"/>
              <a:pathLst>
                <a:path w="62" h="82">
                  <a:moveTo>
                    <a:pt x="23" y="82"/>
                  </a:moveTo>
                  <a:cubicBezTo>
                    <a:pt x="62" y="82"/>
                    <a:pt x="62" y="82"/>
                    <a:pt x="62" y="82"/>
                  </a:cubicBezTo>
                  <a:cubicBezTo>
                    <a:pt x="59" y="51"/>
                    <a:pt x="47" y="22"/>
                    <a:pt x="28" y="0"/>
                  </a:cubicBezTo>
                  <a:cubicBezTo>
                    <a:pt x="0" y="28"/>
                    <a:pt x="0" y="28"/>
                    <a:pt x="0" y="28"/>
                  </a:cubicBezTo>
                  <a:cubicBezTo>
                    <a:pt x="13" y="43"/>
                    <a:pt x="21" y="61"/>
                    <a:pt x="23" y="82"/>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825" kern="0">
                <a:solidFill>
                  <a:srgbClr val="505050"/>
                </a:solidFill>
              </a:endParaRPr>
            </a:p>
          </p:txBody>
        </p:sp>
        <p:sp>
          <p:nvSpPr>
            <p:cNvPr id="236" name="Freeform 217">
              <a:extLst>
                <a:ext uri="{FF2B5EF4-FFF2-40B4-BE49-F238E27FC236}">
                  <a16:creationId xmlns:a16="http://schemas.microsoft.com/office/drawing/2014/main" id="{BD38A03F-1C90-4AE4-BABD-4CF8F432C9D5}"/>
                </a:ext>
              </a:extLst>
            </p:cNvPr>
            <p:cNvSpPr>
              <a:spLocks/>
            </p:cNvSpPr>
            <p:nvPr/>
          </p:nvSpPr>
          <p:spPr bwMode="auto">
            <a:xfrm>
              <a:off x="8611653" y="2318322"/>
              <a:ext cx="71590" cy="93378"/>
            </a:xfrm>
            <a:custGeom>
              <a:avLst/>
              <a:gdLst>
                <a:gd name="T0" fmla="*/ 0 w 62"/>
                <a:gd name="T1" fmla="*/ 54 h 81"/>
                <a:gd name="T2" fmla="*/ 28 w 62"/>
                <a:gd name="T3" fmla="*/ 81 h 81"/>
                <a:gd name="T4" fmla="*/ 62 w 62"/>
                <a:gd name="T5" fmla="*/ 0 h 81"/>
                <a:gd name="T6" fmla="*/ 23 w 62"/>
                <a:gd name="T7" fmla="*/ 0 h 81"/>
                <a:gd name="T8" fmla="*/ 0 w 62"/>
                <a:gd name="T9" fmla="*/ 54 h 81"/>
              </a:gdLst>
              <a:ahLst/>
              <a:cxnLst>
                <a:cxn ang="0">
                  <a:pos x="T0" y="T1"/>
                </a:cxn>
                <a:cxn ang="0">
                  <a:pos x="T2" y="T3"/>
                </a:cxn>
                <a:cxn ang="0">
                  <a:pos x="T4" y="T5"/>
                </a:cxn>
                <a:cxn ang="0">
                  <a:pos x="T6" y="T7"/>
                </a:cxn>
                <a:cxn ang="0">
                  <a:pos x="T8" y="T9"/>
                </a:cxn>
              </a:cxnLst>
              <a:rect l="0" t="0" r="r" b="b"/>
              <a:pathLst>
                <a:path w="62" h="81">
                  <a:moveTo>
                    <a:pt x="0" y="54"/>
                  </a:moveTo>
                  <a:cubicBezTo>
                    <a:pt x="28" y="81"/>
                    <a:pt x="28" y="81"/>
                    <a:pt x="28" y="81"/>
                  </a:cubicBezTo>
                  <a:cubicBezTo>
                    <a:pt x="47" y="59"/>
                    <a:pt x="59" y="31"/>
                    <a:pt x="62" y="0"/>
                  </a:cubicBezTo>
                  <a:cubicBezTo>
                    <a:pt x="23" y="0"/>
                    <a:pt x="23" y="0"/>
                    <a:pt x="23" y="0"/>
                  </a:cubicBezTo>
                  <a:cubicBezTo>
                    <a:pt x="21" y="20"/>
                    <a:pt x="13" y="39"/>
                    <a:pt x="0" y="5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825" kern="0">
                <a:solidFill>
                  <a:srgbClr val="505050"/>
                </a:solidFill>
              </a:endParaRPr>
            </a:p>
          </p:txBody>
        </p:sp>
        <p:sp>
          <p:nvSpPr>
            <p:cNvPr id="237" name="Freeform 218">
              <a:extLst>
                <a:ext uri="{FF2B5EF4-FFF2-40B4-BE49-F238E27FC236}">
                  <a16:creationId xmlns:a16="http://schemas.microsoft.com/office/drawing/2014/main" id="{12536207-B2E5-4596-B861-70F9494421DA}"/>
                </a:ext>
              </a:extLst>
            </p:cNvPr>
            <p:cNvSpPr>
              <a:spLocks/>
            </p:cNvSpPr>
            <p:nvPr/>
          </p:nvSpPr>
          <p:spPr bwMode="auto">
            <a:xfrm>
              <a:off x="8244368" y="2301202"/>
              <a:ext cx="286358" cy="286358"/>
            </a:xfrm>
            <a:custGeom>
              <a:avLst/>
              <a:gdLst>
                <a:gd name="T0" fmla="*/ 248 w 248"/>
                <a:gd name="T1" fmla="*/ 235 h 249"/>
                <a:gd name="T2" fmla="*/ 159 w 248"/>
                <a:gd name="T3" fmla="*/ 146 h 249"/>
                <a:gd name="T4" fmla="*/ 179 w 248"/>
                <a:gd name="T5" fmla="*/ 90 h 249"/>
                <a:gd name="T6" fmla="*/ 90 w 248"/>
                <a:gd name="T7" fmla="*/ 0 h 249"/>
                <a:gd name="T8" fmla="*/ 0 w 248"/>
                <a:gd name="T9" fmla="*/ 90 h 249"/>
                <a:gd name="T10" fmla="*/ 90 w 248"/>
                <a:gd name="T11" fmla="*/ 179 h 249"/>
                <a:gd name="T12" fmla="*/ 145 w 248"/>
                <a:gd name="T13" fmla="*/ 160 h 249"/>
                <a:gd name="T14" fmla="*/ 233 w 248"/>
                <a:gd name="T15" fmla="*/ 249 h 249"/>
                <a:gd name="T16" fmla="*/ 248 w 248"/>
                <a:gd name="T17" fmla="*/ 23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249">
                  <a:moveTo>
                    <a:pt x="248" y="235"/>
                  </a:moveTo>
                  <a:cubicBezTo>
                    <a:pt x="159" y="146"/>
                    <a:pt x="159" y="146"/>
                    <a:pt x="159" y="146"/>
                  </a:cubicBezTo>
                  <a:cubicBezTo>
                    <a:pt x="172" y="131"/>
                    <a:pt x="179" y="111"/>
                    <a:pt x="179" y="90"/>
                  </a:cubicBezTo>
                  <a:cubicBezTo>
                    <a:pt x="179" y="40"/>
                    <a:pt x="139" y="0"/>
                    <a:pt x="90" y="0"/>
                  </a:cubicBezTo>
                  <a:cubicBezTo>
                    <a:pt x="40" y="0"/>
                    <a:pt x="0" y="40"/>
                    <a:pt x="0" y="90"/>
                  </a:cubicBezTo>
                  <a:cubicBezTo>
                    <a:pt x="0" y="139"/>
                    <a:pt x="40" y="179"/>
                    <a:pt x="90" y="179"/>
                  </a:cubicBezTo>
                  <a:cubicBezTo>
                    <a:pt x="110" y="179"/>
                    <a:pt x="129" y="172"/>
                    <a:pt x="145" y="160"/>
                  </a:cubicBezTo>
                  <a:cubicBezTo>
                    <a:pt x="233" y="249"/>
                    <a:pt x="233" y="249"/>
                    <a:pt x="233" y="249"/>
                  </a:cubicBezTo>
                  <a:lnTo>
                    <a:pt x="248" y="23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825" kern="0">
                <a:solidFill>
                  <a:srgbClr val="505050"/>
                </a:solidFill>
              </a:endParaRPr>
            </a:p>
          </p:txBody>
        </p:sp>
        <p:sp>
          <p:nvSpPr>
            <p:cNvPr id="238" name="Oval 219">
              <a:extLst>
                <a:ext uri="{FF2B5EF4-FFF2-40B4-BE49-F238E27FC236}">
                  <a16:creationId xmlns:a16="http://schemas.microsoft.com/office/drawing/2014/main" id="{ECCCC478-B418-42FB-A5F3-92FDCB8941EB}"/>
                </a:ext>
              </a:extLst>
            </p:cNvPr>
            <p:cNvSpPr>
              <a:spLocks noChangeArrowheads="1"/>
            </p:cNvSpPr>
            <p:nvPr/>
          </p:nvSpPr>
          <p:spPr bwMode="auto">
            <a:xfrm>
              <a:off x="8266156" y="2322990"/>
              <a:ext cx="163411" cy="161854"/>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825" kern="0">
                <a:solidFill>
                  <a:srgbClr val="505050"/>
                </a:solidFill>
              </a:endParaRPr>
            </a:p>
          </p:txBody>
        </p:sp>
        <p:sp>
          <p:nvSpPr>
            <p:cNvPr id="239" name="Rectangle 220">
              <a:extLst>
                <a:ext uri="{FF2B5EF4-FFF2-40B4-BE49-F238E27FC236}">
                  <a16:creationId xmlns:a16="http://schemas.microsoft.com/office/drawing/2014/main" id="{24352B0E-103E-4E0B-9DAB-59FFD2793C5F}"/>
                </a:ext>
              </a:extLst>
            </p:cNvPr>
            <p:cNvSpPr>
              <a:spLocks noChangeArrowheads="1"/>
            </p:cNvSpPr>
            <p:nvPr/>
          </p:nvSpPr>
          <p:spPr bwMode="auto">
            <a:xfrm>
              <a:off x="8336190" y="2347891"/>
              <a:ext cx="23345" cy="7937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825" kern="0">
                <a:solidFill>
                  <a:srgbClr val="505050"/>
                </a:solidFill>
              </a:endParaRPr>
            </a:p>
          </p:txBody>
        </p:sp>
        <p:sp>
          <p:nvSpPr>
            <p:cNvPr id="240" name="Rectangle 221">
              <a:extLst>
                <a:ext uri="{FF2B5EF4-FFF2-40B4-BE49-F238E27FC236}">
                  <a16:creationId xmlns:a16="http://schemas.microsoft.com/office/drawing/2014/main" id="{DF3A8D4C-6D49-4F4C-A93F-4900C72E7808}"/>
                </a:ext>
              </a:extLst>
            </p:cNvPr>
            <p:cNvSpPr>
              <a:spLocks noChangeArrowheads="1"/>
            </p:cNvSpPr>
            <p:nvPr/>
          </p:nvSpPr>
          <p:spPr bwMode="auto">
            <a:xfrm>
              <a:off x="8336190" y="2439713"/>
              <a:ext cx="23345" cy="2334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825" kern="0">
                <a:solidFill>
                  <a:srgbClr val="505050"/>
                </a:solidFill>
              </a:endParaRPr>
            </a:p>
          </p:txBody>
        </p:sp>
        <p:sp>
          <p:nvSpPr>
            <p:cNvPr id="241" name="Freeform 222">
              <a:extLst>
                <a:ext uri="{FF2B5EF4-FFF2-40B4-BE49-F238E27FC236}">
                  <a16:creationId xmlns:a16="http://schemas.microsoft.com/office/drawing/2014/main" id="{B483B35D-4DF7-4372-AC18-6FC164603693}"/>
                </a:ext>
              </a:extLst>
            </p:cNvPr>
            <p:cNvSpPr>
              <a:spLocks/>
            </p:cNvSpPr>
            <p:nvPr/>
          </p:nvSpPr>
          <p:spPr bwMode="auto">
            <a:xfrm>
              <a:off x="8487150" y="2231170"/>
              <a:ext cx="107385" cy="110497"/>
            </a:xfrm>
            <a:custGeom>
              <a:avLst/>
              <a:gdLst>
                <a:gd name="T0" fmla="*/ 93 w 93"/>
                <a:gd name="T1" fmla="*/ 14 h 96"/>
                <a:gd name="T2" fmla="*/ 79 w 93"/>
                <a:gd name="T3" fmla="*/ 0 h 96"/>
                <a:gd name="T4" fmla="*/ 41 w 93"/>
                <a:gd name="T5" fmla="*/ 38 h 96"/>
                <a:gd name="T6" fmla="*/ 30 w 93"/>
                <a:gd name="T7" fmla="*/ 36 h 96"/>
                <a:gd name="T8" fmla="*/ 0 w 93"/>
                <a:gd name="T9" fmla="*/ 66 h 96"/>
                <a:gd name="T10" fmla="*/ 30 w 93"/>
                <a:gd name="T11" fmla="*/ 96 h 96"/>
                <a:gd name="T12" fmla="*/ 60 w 93"/>
                <a:gd name="T13" fmla="*/ 66 h 96"/>
                <a:gd name="T14" fmla="*/ 56 w 93"/>
                <a:gd name="T15" fmla="*/ 51 h 96"/>
                <a:gd name="T16" fmla="*/ 93 w 93"/>
                <a:gd name="T17"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6">
                  <a:moveTo>
                    <a:pt x="93" y="14"/>
                  </a:moveTo>
                  <a:cubicBezTo>
                    <a:pt x="79" y="0"/>
                    <a:pt x="79" y="0"/>
                    <a:pt x="79" y="0"/>
                  </a:cubicBezTo>
                  <a:cubicBezTo>
                    <a:pt x="41" y="38"/>
                    <a:pt x="41" y="38"/>
                    <a:pt x="41" y="38"/>
                  </a:cubicBezTo>
                  <a:cubicBezTo>
                    <a:pt x="38" y="36"/>
                    <a:pt x="34" y="36"/>
                    <a:pt x="30" y="36"/>
                  </a:cubicBezTo>
                  <a:cubicBezTo>
                    <a:pt x="13" y="36"/>
                    <a:pt x="0" y="49"/>
                    <a:pt x="0" y="66"/>
                  </a:cubicBezTo>
                  <a:cubicBezTo>
                    <a:pt x="0" y="82"/>
                    <a:pt x="13" y="96"/>
                    <a:pt x="30" y="96"/>
                  </a:cubicBezTo>
                  <a:cubicBezTo>
                    <a:pt x="47" y="96"/>
                    <a:pt x="60" y="82"/>
                    <a:pt x="60" y="66"/>
                  </a:cubicBezTo>
                  <a:cubicBezTo>
                    <a:pt x="60" y="60"/>
                    <a:pt x="59" y="55"/>
                    <a:pt x="56" y="51"/>
                  </a:cubicBezTo>
                  <a:lnTo>
                    <a:pt x="93" y="1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825" kern="0">
                <a:solidFill>
                  <a:srgbClr val="505050"/>
                </a:solidFill>
              </a:endParaRPr>
            </a:p>
          </p:txBody>
        </p:sp>
      </p:grpSp>
      <p:sp>
        <p:nvSpPr>
          <p:cNvPr id="212" name="TextBox 211">
            <a:extLst>
              <a:ext uri="{FF2B5EF4-FFF2-40B4-BE49-F238E27FC236}">
                <a16:creationId xmlns:a16="http://schemas.microsoft.com/office/drawing/2014/main" id="{78A4E79D-E297-4579-A666-6F07CE7904F9}"/>
              </a:ext>
            </a:extLst>
          </p:cNvPr>
          <p:cNvSpPr txBox="1"/>
          <p:nvPr/>
        </p:nvSpPr>
        <p:spPr>
          <a:xfrm>
            <a:off x="7545481" y="3989416"/>
            <a:ext cx="697307" cy="103875"/>
          </a:xfrm>
          <a:prstGeom prst="rect">
            <a:avLst/>
          </a:prstGeom>
          <a:noFill/>
        </p:spPr>
        <p:txBody>
          <a:bodyPr wrap="none" lIns="0" tIns="0" rIns="0" bIns="0" rtlCol="0">
            <a:spAutoFit/>
          </a:bodyPr>
          <a:lstStyle/>
          <a:p>
            <a:pPr defTabSz="685800" eaLnBrk="1" fontAlgn="auto" hangingPunct="1">
              <a:spcBef>
                <a:spcPts val="0"/>
              </a:spcBef>
              <a:spcAft>
                <a:spcPts val="0"/>
              </a:spcAft>
              <a:defRPr/>
            </a:pPr>
            <a:r>
              <a:rPr lang="en-US" sz="675" kern="0">
                <a:solidFill>
                  <a:srgbClr val="000000"/>
                </a:solidFill>
              </a:rPr>
              <a:t>Web Application 1</a:t>
            </a:r>
          </a:p>
        </p:txBody>
      </p:sp>
      <p:grpSp>
        <p:nvGrpSpPr>
          <p:cNvPr id="213" name="Group 212">
            <a:extLst>
              <a:ext uri="{FF2B5EF4-FFF2-40B4-BE49-F238E27FC236}">
                <a16:creationId xmlns:a16="http://schemas.microsoft.com/office/drawing/2014/main" id="{371F8A70-91C8-4DBB-9B05-B8820692AD45}"/>
              </a:ext>
            </a:extLst>
          </p:cNvPr>
          <p:cNvGrpSpPr/>
          <p:nvPr/>
        </p:nvGrpSpPr>
        <p:grpSpPr>
          <a:xfrm>
            <a:off x="6492778" y="3914107"/>
            <a:ext cx="647609" cy="217241"/>
            <a:chOff x="8368867" y="4006496"/>
            <a:chExt cx="1495841" cy="501781"/>
          </a:xfrm>
        </p:grpSpPr>
        <p:sp>
          <p:nvSpPr>
            <p:cNvPr id="214" name="Freeform: Shape 213">
              <a:extLst>
                <a:ext uri="{FF2B5EF4-FFF2-40B4-BE49-F238E27FC236}">
                  <a16:creationId xmlns:a16="http://schemas.microsoft.com/office/drawing/2014/main" id="{2080FF81-8D1A-4E22-8B1F-1034D5C3DA3E}"/>
                </a:ext>
              </a:extLst>
            </p:cNvPr>
            <p:cNvSpPr/>
            <p:nvPr/>
          </p:nvSpPr>
          <p:spPr bwMode="auto">
            <a:xfrm>
              <a:off x="8368867" y="4006496"/>
              <a:ext cx="1484928" cy="171379"/>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190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215" name="Freeform: Shape 214">
              <a:extLst>
                <a:ext uri="{FF2B5EF4-FFF2-40B4-BE49-F238E27FC236}">
                  <a16:creationId xmlns:a16="http://schemas.microsoft.com/office/drawing/2014/main" id="{03F136AB-806A-49AD-BD91-228FBF4A594F}"/>
                </a:ext>
              </a:extLst>
            </p:cNvPr>
            <p:cNvSpPr/>
            <p:nvPr/>
          </p:nvSpPr>
          <p:spPr bwMode="auto">
            <a:xfrm flipV="1">
              <a:off x="8368867" y="4336898"/>
              <a:ext cx="1484928" cy="171379"/>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190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216" name="Freeform: Shape 215">
              <a:extLst>
                <a:ext uri="{FF2B5EF4-FFF2-40B4-BE49-F238E27FC236}">
                  <a16:creationId xmlns:a16="http://schemas.microsoft.com/office/drawing/2014/main" id="{BB83E89E-BDA2-4324-814D-752D8F7B0105}"/>
                </a:ext>
              </a:extLst>
            </p:cNvPr>
            <p:cNvSpPr/>
            <p:nvPr/>
          </p:nvSpPr>
          <p:spPr bwMode="auto">
            <a:xfrm flipV="1">
              <a:off x="8368867" y="4303731"/>
              <a:ext cx="1484928" cy="99251"/>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63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217" name="Freeform: Shape 216">
              <a:extLst>
                <a:ext uri="{FF2B5EF4-FFF2-40B4-BE49-F238E27FC236}">
                  <a16:creationId xmlns:a16="http://schemas.microsoft.com/office/drawing/2014/main" id="{2F9DFBC4-FDB0-40CA-AA28-4D7BC1F621EE}"/>
                </a:ext>
              </a:extLst>
            </p:cNvPr>
            <p:cNvSpPr/>
            <p:nvPr/>
          </p:nvSpPr>
          <p:spPr bwMode="auto">
            <a:xfrm>
              <a:off x="8368867" y="4111791"/>
              <a:ext cx="1484928" cy="99251"/>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63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218" name="Freeform: Shape 217">
              <a:extLst>
                <a:ext uri="{FF2B5EF4-FFF2-40B4-BE49-F238E27FC236}">
                  <a16:creationId xmlns:a16="http://schemas.microsoft.com/office/drawing/2014/main" id="{AB106887-9561-44A0-9EAE-7BD9CED3C01E}"/>
                </a:ext>
              </a:extLst>
            </p:cNvPr>
            <p:cNvSpPr/>
            <p:nvPr/>
          </p:nvSpPr>
          <p:spPr bwMode="auto">
            <a:xfrm>
              <a:off x="8368867" y="4203255"/>
              <a:ext cx="1484928" cy="41367"/>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63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219" name="Freeform: Shape 218">
              <a:extLst>
                <a:ext uri="{FF2B5EF4-FFF2-40B4-BE49-F238E27FC236}">
                  <a16:creationId xmlns:a16="http://schemas.microsoft.com/office/drawing/2014/main" id="{D2DD7C32-0428-4FF1-81A2-229ED66D11CA}"/>
                </a:ext>
              </a:extLst>
            </p:cNvPr>
            <p:cNvSpPr/>
            <p:nvPr/>
          </p:nvSpPr>
          <p:spPr bwMode="auto">
            <a:xfrm flipV="1">
              <a:off x="8368867" y="4270150"/>
              <a:ext cx="1484928" cy="41367"/>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63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220" name="Isosceles Triangle 219">
              <a:extLst>
                <a:ext uri="{FF2B5EF4-FFF2-40B4-BE49-F238E27FC236}">
                  <a16:creationId xmlns:a16="http://schemas.microsoft.com/office/drawing/2014/main" id="{98023388-3B8C-4476-B510-25DE1C417968}"/>
                </a:ext>
              </a:extLst>
            </p:cNvPr>
            <p:cNvSpPr/>
            <p:nvPr/>
          </p:nvSpPr>
          <p:spPr bwMode="auto">
            <a:xfrm rot="5400000">
              <a:off x="9813708" y="4092876"/>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1" name="Isosceles Triangle 220">
              <a:extLst>
                <a:ext uri="{FF2B5EF4-FFF2-40B4-BE49-F238E27FC236}">
                  <a16:creationId xmlns:a16="http://schemas.microsoft.com/office/drawing/2014/main" id="{7A6ACB5B-9744-48D3-8A54-448177EC2332}"/>
                </a:ext>
              </a:extLst>
            </p:cNvPr>
            <p:cNvSpPr/>
            <p:nvPr/>
          </p:nvSpPr>
          <p:spPr bwMode="auto">
            <a:xfrm rot="5400000">
              <a:off x="9816402" y="4181645"/>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2" name="Isosceles Triangle 221">
              <a:extLst>
                <a:ext uri="{FF2B5EF4-FFF2-40B4-BE49-F238E27FC236}">
                  <a16:creationId xmlns:a16="http://schemas.microsoft.com/office/drawing/2014/main" id="{06D8F5E1-A1A5-4F85-A6BC-D749278236EB}"/>
                </a:ext>
              </a:extLst>
            </p:cNvPr>
            <p:cNvSpPr/>
            <p:nvPr/>
          </p:nvSpPr>
          <p:spPr bwMode="auto">
            <a:xfrm rot="5400000">
              <a:off x="9816401" y="4292559"/>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3" name="Isosceles Triangle 222">
              <a:extLst>
                <a:ext uri="{FF2B5EF4-FFF2-40B4-BE49-F238E27FC236}">
                  <a16:creationId xmlns:a16="http://schemas.microsoft.com/office/drawing/2014/main" id="{3B7D9596-D394-48E9-9137-518166090141}"/>
                </a:ext>
              </a:extLst>
            </p:cNvPr>
            <p:cNvSpPr/>
            <p:nvPr/>
          </p:nvSpPr>
          <p:spPr bwMode="auto">
            <a:xfrm rot="5400000">
              <a:off x="9816401" y="4384922"/>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4" name="Arrow: Right 223">
              <a:extLst>
                <a:ext uri="{FF2B5EF4-FFF2-40B4-BE49-F238E27FC236}">
                  <a16:creationId xmlns:a16="http://schemas.microsoft.com/office/drawing/2014/main" id="{EAD1475A-5C2C-4789-A632-F194074E5EE5}"/>
                </a:ext>
              </a:extLst>
            </p:cNvPr>
            <p:cNvSpPr/>
            <p:nvPr/>
          </p:nvSpPr>
          <p:spPr bwMode="auto">
            <a:xfrm>
              <a:off x="8980017" y="4009146"/>
              <a:ext cx="262629" cy="88814"/>
            </a:xfrm>
            <a:prstGeom prst="rightArrow">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5" name="Isosceles Triangle 224">
              <a:extLst>
                <a:ext uri="{FF2B5EF4-FFF2-40B4-BE49-F238E27FC236}">
                  <a16:creationId xmlns:a16="http://schemas.microsoft.com/office/drawing/2014/main" id="{02771DAE-68CF-44FC-9F1D-19F2DF66C26F}"/>
                </a:ext>
              </a:extLst>
            </p:cNvPr>
            <p:cNvSpPr/>
            <p:nvPr/>
          </p:nvSpPr>
          <p:spPr bwMode="auto">
            <a:xfrm rot="5400000">
              <a:off x="8470099" y="4096603"/>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6" name="Isosceles Triangle 225">
              <a:extLst>
                <a:ext uri="{FF2B5EF4-FFF2-40B4-BE49-F238E27FC236}">
                  <a16:creationId xmlns:a16="http://schemas.microsoft.com/office/drawing/2014/main" id="{EAD2EBB0-0778-43F0-ABED-63F023FDAA64}"/>
                </a:ext>
              </a:extLst>
            </p:cNvPr>
            <p:cNvSpPr/>
            <p:nvPr/>
          </p:nvSpPr>
          <p:spPr bwMode="auto">
            <a:xfrm rot="5400000">
              <a:off x="8472793" y="4185372"/>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7" name="Isosceles Triangle 226">
              <a:extLst>
                <a:ext uri="{FF2B5EF4-FFF2-40B4-BE49-F238E27FC236}">
                  <a16:creationId xmlns:a16="http://schemas.microsoft.com/office/drawing/2014/main" id="{38BCD590-A07B-49F3-ACD2-2E51CF7E3361}"/>
                </a:ext>
              </a:extLst>
            </p:cNvPr>
            <p:cNvSpPr/>
            <p:nvPr/>
          </p:nvSpPr>
          <p:spPr bwMode="auto">
            <a:xfrm rot="5400000">
              <a:off x="8472793" y="4290075"/>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8" name="Isosceles Triangle 227">
              <a:extLst>
                <a:ext uri="{FF2B5EF4-FFF2-40B4-BE49-F238E27FC236}">
                  <a16:creationId xmlns:a16="http://schemas.microsoft.com/office/drawing/2014/main" id="{5D15F131-950C-4DBE-A29F-D5197A709226}"/>
                </a:ext>
              </a:extLst>
            </p:cNvPr>
            <p:cNvSpPr/>
            <p:nvPr/>
          </p:nvSpPr>
          <p:spPr bwMode="auto">
            <a:xfrm rot="5400000">
              <a:off x="8472792" y="4379954"/>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1" name="TextBox 190">
            <a:extLst>
              <a:ext uri="{FF2B5EF4-FFF2-40B4-BE49-F238E27FC236}">
                <a16:creationId xmlns:a16="http://schemas.microsoft.com/office/drawing/2014/main" id="{ED8A7301-2C69-40F0-B8A2-AE5BF001819B}"/>
              </a:ext>
            </a:extLst>
          </p:cNvPr>
          <p:cNvSpPr txBox="1"/>
          <p:nvPr/>
        </p:nvSpPr>
        <p:spPr>
          <a:xfrm>
            <a:off x="7545482" y="4391248"/>
            <a:ext cx="697307" cy="103875"/>
          </a:xfrm>
          <a:prstGeom prst="rect">
            <a:avLst/>
          </a:prstGeom>
          <a:noFill/>
        </p:spPr>
        <p:txBody>
          <a:bodyPr wrap="none" lIns="0" tIns="0" rIns="0" bIns="0" rtlCol="0">
            <a:spAutoFit/>
          </a:bodyPr>
          <a:lstStyle/>
          <a:p>
            <a:pPr defTabSz="685800" eaLnBrk="1" fontAlgn="auto" hangingPunct="1">
              <a:spcBef>
                <a:spcPts val="0"/>
              </a:spcBef>
              <a:spcAft>
                <a:spcPts val="0"/>
              </a:spcAft>
              <a:defRPr/>
            </a:pPr>
            <a:r>
              <a:rPr lang="en-US" sz="675" kern="0">
                <a:solidFill>
                  <a:srgbClr val="000000"/>
                </a:solidFill>
              </a:rPr>
              <a:t>Web Application 2</a:t>
            </a:r>
          </a:p>
        </p:txBody>
      </p:sp>
      <p:grpSp>
        <p:nvGrpSpPr>
          <p:cNvPr id="192" name="Group 191">
            <a:extLst>
              <a:ext uri="{FF2B5EF4-FFF2-40B4-BE49-F238E27FC236}">
                <a16:creationId xmlns:a16="http://schemas.microsoft.com/office/drawing/2014/main" id="{A1C6ED9E-13E7-405D-9223-FD784F5C8075}"/>
              </a:ext>
            </a:extLst>
          </p:cNvPr>
          <p:cNvGrpSpPr/>
          <p:nvPr/>
        </p:nvGrpSpPr>
        <p:grpSpPr>
          <a:xfrm>
            <a:off x="6492778" y="4315940"/>
            <a:ext cx="647609" cy="217241"/>
            <a:chOff x="8368867" y="4006496"/>
            <a:chExt cx="1495841" cy="501781"/>
          </a:xfrm>
        </p:grpSpPr>
        <p:sp>
          <p:nvSpPr>
            <p:cNvPr id="193" name="Freeform: Shape 192">
              <a:extLst>
                <a:ext uri="{FF2B5EF4-FFF2-40B4-BE49-F238E27FC236}">
                  <a16:creationId xmlns:a16="http://schemas.microsoft.com/office/drawing/2014/main" id="{BB7703B4-9E3D-4E5D-BB75-1D644C97B348}"/>
                </a:ext>
              </a:extLst>
            </p:cNvPr>
            <p:cNvSpPr/>
            <p:nvPr/>
          </p:nvSpPr>
          <p:spPr bwMode="auto">
            <a:xfrm>
              <a:off x="8368867" y="4006496"/>
              <a:ext cx="1484928" cy="171379"/>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190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194" name="Freeform: Shape 193">
              <a:extLst>
                <a:ext uri="{FF2B5EF4-FFF2-40B4-BE49-F238E27FC236}">
                  <a16:creationId xmlns:a16="http://schemas.microsoft.com/office/drawing/2014/main" id="{23C7BBB3-AB8F-4DBD-A75A-429E3251A3E0}"/>
                </a:ext>
              </a:extLst>
            </p:cNvPr>
            <p:cNvSpPr/>
            <p:nvPr/>
          </p:nvSpPr>
          <p:spPr bwMode="auto">
            <a:xfrm flipV="1">
              <a:off x="8368867" y="4336898"/>
              <a:ext cx="1484928" cy="171379"/>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190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195" name="Freeform: Shape 194">
              <a:extLst>
                <a:ext uri="{FF2B5EF4-FFF2-40B4-BE49-F238E27FC236}">
                  <a16:creationId xmlns:a16="http://schemas.microsoft.com/office/drawing/2014/main" id="{0C78E97B-4032-4506-BA53-E3C45F99C822}"/>
                </a:ext>
              </a:extLst>
            </p:cNvPr>
            <p:cNvSpPr/>
            <p:nvPr/>
          </p:nvSpPr>
          <p:spPr bwMode="auto">
            <a:xfrm flipV="1">
              <a:off x="8368867" y="4303731"/>
              <a:ext cx="1484928" cy="99251"/>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63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196" name="Freeform: Shape 195">
              <a:extLst>
                <a:ext uri="{FF2B5EF4-FFF2-40B4-BE49-F238E27FC236}">
                  <a16:creationId xmlns:a16="http://schemas.microsoft.com/office/drawing/2014/main" id="{381FD9E5-E46A-4379-96B1-82254F9658DF}"/>
                </a:ext>
              </a:extLst>
            </p:cNvPr>
            <p:cNvSpPr/>
            <p:nvPr/>
          </p:nvSpPr>
          <p:spPr bwMode="auto">
            <a:xfrm>
              <a:off x="8368867" y="4111791"/>
              <a:ext cx="1484928" cy="99251"/>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63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197" name="Freeform: Shape 196">
              <a:extLst>
                <a:ext uri="{FF2B5EF4-FFF2-40B4-BE49-F238E27FC236}">
                  <a16:creationId xmlns:a16="http://schemas.microsoft.com/office/drawing/2014/main" id="{29B92DD2-6DB6-4264-8761-2D23C4831ACD}"/>
                </a:ext>
              </a:extLst>
            </p:cNvPr>
            <p:cNvSpPr/>
            <p:nvPr/>
          </p:nvSpPr>
          <p:spPr bwMode="auto">
            <a:xfrm>
              <a:off x="8368867" y="4203255"/>
              <a:ext cx="1484928" cy="41367"/>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63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198" name="Freeform: Shape 197">
              <a:extLst>
                <a:ext uri="{FF2B5EF4-FFF2-40B4-BE49-F238E27FC236}">
                  <a16:creationId xmlns:a16="http://schemas.microsoft.com/office/drawing/2014/main" id="{7DE35DC1-6611-456C-80FA-C1FB76331BCB}"/>
                </a:ext>
              </a:extLst>
            </p:cNvPr>
            <p:cNvSpPr/>
            <p:nvPr/>
          </p:nvSpPr>
          <p:spPr bwMode="auto">
            <a:xfrm flipV="1">
              <a:off x="8368867" y="4270150"/>
              <a:ext cx="1484928" cy="41367"/>
            </a:xfrm>
            <a:custGeom>
              <a:avLst/>
              <a:gdLst>
                <a:gd name="connsiteX0" fmla="*/ 0 w 3074276"/>
                <a:gd name="connsiteY0" fmla="*/ 37642 h 366048"/>
                <a:gd name="connsiteX1" fmla="*/ 457200 w 3074276"/>
                <a:gd name="connsiteY1" fmla="*/ 21877 h 366048"/>
                <a:gd name="connsiteX2" fmla="*/ 1277007 w 3074276"/>
                <a:gd name="connsiteY2" fmla="*/ 297773 h 366048"/>
                <a:gd name="connsiteX3" fmla="*/ 1639614 w 3074276"/>
                <a:gd name="connsiteY3" fmla="*/ 352953 h 366048"/>
                <a:gd name="connsiteX4" fmla="*/ 2349062 w 3074276"/>
                <a:gd name="connsiteY4" fmla="*/ 100704 h 366048"/>
                <a:gd name="connsiteX5" fmla="*/ 2829910 w 3074276"/>
                <a:gd name="connsiteY5" fmla="*/ 13994 h 366048"/>
                <a:gd name="connsiteX6" fmla="*/ 3074276 w 3074276"/>
                <a:gd name="connsiteY6" fmla="*/ 37642 h 366048"/>
                <a:gd name="connsiteX0" fmla="*/ 0 w 3074276"/>
                <a:gd name="connsiteY0" fmla="*/ 41709 h 357613"/>
                <a:gd name="connsiteX1" fmla="*/ 457200 w 3074276"/>
                <a:gd name="connsiteY1" fmla="*/ 25944 h 357613"/>
                <a:gd name="connsiteX2" fmla="*/ 1639614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41709 h 357613"/>
                <a:gd name="connsiteX1" fmla="*/ 457200 w 3074276"/>
                <a:gd name="connsiteY1" fmla="*/ 25944 h 357613"/>
                <a:gd name="connsiteX2" fmla="*/ 1592318 w 3074276"/>
                <a:gd name="connsiteY2" fmla="*/ 357020 h 357613"/>
                <a:gd name="connsiteX3" fmla="*/ 2349062 w 3074276"/>
                <a:gd name="connsiteY3" fmla="*/ 104771 h 357613"/>
                <a:gd name="connsiteX4" fmla="*/ 2829910 w 3074276"/>
                <a:gd name="connsiteY4" fmla="*/ 18061 h 357613"/>
                <a:gd name="connsiteX5" fmla="*/ 3074276 w 3074276"/>
                <a:gd name="connsiteY5" fmla="*/ 41709 h 357613"/>
                <a:gd name="connsiteX0" fmla="*/ 0 w 3074276"/>
                <a:gd name="connsiteY0" fmla="*/ 36330 h 352126"/>
                <a:gd name="connsiteX1" fmla="*/ 512379 w 3074276"/>
                <a:gd name="connsiteY1" fmla="*/ 28448 h 352126"/>
                <a:gd name="connsiteX2" fmla="*/ 1592318 w 3074276"/>
                <a:gd name="connsiteY2" fmla="*/ 351641 h 352126"/>
                <a:gd name="connsiteX3" fmla="*/ 2349062 w 3074276"/>
                <a:gd name="connsiteY3" fmla="*/ 99392 h 352126"/>
                <a:gd name="connsiteX4" fmla="*/ 2829910 w 3074276"/>
                <a:gd name="connsiteY4" fmla="*/ 12682 h 352126"/>
                <a:gd name="connsiteX5" fmla="*/ 3074276 w 3074276"/>
                <a:gd name="connsiteY5" fmla="*/ 36330 h 352126"/>
                <a:gd name="connsiteX0" fmla="*/ 0 w 3074276"/>
                <a:gd name="connsiteY0" fmla="*/ 36330 h 351659"/>
                <a:gd name="connsiteX1" fmla="*/ 512379 w 3074276"/>
                <a:gd name="connsiteY1" fmla="*/ 28448 h 351659"/>
                <a:gd name="connsiteX2" fmla="*/ 1592318 w 3074276"/>
                <a:gd name="connsiteY2" fmla="*/ 351641 h 351659"/>
                <a:gd name="connsiteX3" fmla="*/ 2829910 w 3074276"/>
                <a:gd name="connsiteY3" fmla="*/ 12682 h 351659"/>
                <a:gd name="connsiteX4" fmla="*/ 3074276 w 3074276"/>
                <a:gd name="connsiteY4" fmla="*/ 36330 h 351659"/>
                <a:gd name="connsiteX0" fmla="*/ 0 w 3074276"/>
                <a:gd name="connsiteY0" fmla="*/ 36330 h 351641"/>
                <a:gd name="connsiteX1" fmla="*/ 512379 w 3074276"/>
                <a:gd name="connsiteY1" fmla="*/ 28448 h 351641"/>
                <a:gd name="connsiteX2" fmla="*/ 1592318 w 3074276"/>
                <a:gd name="connsiteY2" fmla="*/ 351641 h 351641"/>
                <a:gd name="connsiteX3" fmla="*/ 2577661 w 3074276"/>
                <a:gd name="connsiteY3" fmla="*/ 28447 h 351641"/>
                <a:gd name="connsiteX4" fmla="*/ 3074276 w 3074276"/>
                <a:gd name="connsiteY4" fmla="*/ 36330 h 351641"/>
                <a:gd name="connsiteX0" fmla="*/ 0 w 3074276"/>
                <a:gd name="connsiteY0" fmla="*/ 22993 h 338349"/>
                <a:gd name="connsiteX1" fmla="*/ 512379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49"/>
                <a:gd name="connsiteX1" fmla="*/ 638503 w 3074276"/>
                <a:gd name="connsiteY1" fmla="*/ 38760 h 338349"/>
                <a:gd name="connsiteX2" fmla="*/ 1592318 w 3074276"/>
                <a:gd name="connsiteY2" fmla="*/ 338304 h 338349"/>
                <a:gd name="connsiteX3" fmla="*/ 2577661 w 3074276"/>
                <a:gd name="connsiteY3" fmla="*/ 15110 h 338349"/>
                <a:gd name="connsiteX4" fmla="*/ 3074276 w 3074276"/>
                <a:gd name="connsiteY4" fmla="*/ 22993 h 338349"/>
                <a:gd name="connsiteX0" fmla="*/ 0 w 3074276"/>
                <a:gd name="connsiteY0" fmla="*/ 22993 h 338304"/>
                <a:gd name="connsiteX1" fmla="*/ 638503 w 3074276"/>
                <a:gd name="connsiteY1" fmla="*/ 38760 h 338304"/>
                <a:gd name="connsiteX2" fmla="*/ 1592318 w 3074276"/>
                <a:gd name="connsiteY2" fmla="*/ 338304 h 338304"/>
                <a:gd name="connsiteX3" fmla="*/ 2435772 w 3074276"/>
                <a:gd name="connsiteY3" fmla="*/ 38759 h 338304"/>
                <a:gd name="connsiteX4" fmla="*/ 3074276 w 3074276"/>
                <a:gd name="connsiteY4" fmla="*/ 22993 h 338304"/>
                <a:gd name="connsiteX0" fmla="*/ 0 w 3105627"/>
                <a:gd name="connsiteY0" fmla="*/ 37788 h 353099"/>
                <a:gd name="connsiteX1" fmla="*/ 638503 w 3105627"/>
                <a:gd name="connsiteY1" fmla="*/ 53555 h 353099"/>
                <a:gd name="connsiteX2" fmla="*/ 1592318 w 3105627"/>
                <a:gd name="connsiteY2" fmla="*/ 353099 h 353099"/>
                <a:gd name="connsiteX3" fmla="*/ 2435772 w 3105627"/>
                <a:gd name="connsiteY3" fmla="*/ 53554 h 353099"/>
                <a:gd name="connsiteX4" fmla="*/ 3105627 w 3105627"/>
                <a:gd name="connsiteY4" fmla="*/ 1212 h 353099"/>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 name="connsiteX0" fmla="*/ 0 w 3105627"/>
                <a:gd name="connsiteY0" fmla="*/ 37891 h 358427"/>
                <a:gd name="connsiteX1" fmla="*/ 638503 w 3105627"/>
                <a:gd name="connsiteY1" fmla="*/ 53658 h 358427"/>
                <a:gd name="connsiteX2" fmla="*/ 1571417 w 3105627"/>
                <a:gd name="connsiteY2" fmla="*/ 358427 h 358427"/>
                <a:gd name="connsiteX3" fmla="*/ 2435772 w 3105627"/>
                <a:gd name="connsiteY3" fmla="*/ 53657 h 358427"/>
                <a:gd name="connsiteX4" fmla="*/ 3105627 w 3105627"/>
                <a:gd name="connsiteY4" fmla="*/ 1315 h 35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627" h="358427">
                  <a:moveTo>
                    <a:pt x="0" y="37891"/>
                  </a:moveTo>
                  <a:cubicBezTo>
                    <a:pt x="122183" y="8331"/>
                    <a:pt x="376600" y="235"/>
                    <a:pt x="638503" y="53658"/>
                  </a:cubicBezTo>
                  <a:cubicBezTo>
                    <a:pt x="900406" y="107081"/>
                    <a:pt x="1271872" y="358427"/>
                    <a:pt x="1571417" y="358427"/>
                  </a:cubicBezTo>
                  <a:cubicBezTo>
                    <a:pt x="1870962" y="358427"/>
                    <a:pt x="2180070" y="113176"/>
                    <a:pt x="2435772" y="53657"/>
                  </a:cubicBezTo>
                  <a:cubicBezTo>
                    <a:pt x="2691474" y="-5862"/>
                    <a:pt x="3057017" y="-1313"/>
                    <a:pt x="3105627" y="1315"/>
                  </a:cubicBezTo>
                </a:path>
              </a:pathLst>
            </a:custGeom>
            <a:noFill/>
            <a:ln w="6350" cap="flat" cmpd="sng" algn="ctr">
              <a:solidFill>
                <a:srgbClr val="0078D3"/>
              </a:solidFill>
              <a:prstDash val="solid"/>
              <a:headEnd type="none" w="med" len="med"/>
              <a:tailEnd type="none" w="med" len="med"/>
            </a:ln>
            <a:effectLst/>
          </p:spPr>
          <p:txBody>
            <a:bodyPr rtlCol="0" anchor="ctr"/>
            <a:lstStyle/>
            <a:p>
              <a:pPr algn="ctr" defTabSz="699557" eaLnBrk="1" fontAlgn="auto" hangingPunct="1">
                <a:spcBef>
                  <a:spcPts val="0"/>
                </a:spcBef>
                <a:spcAft>
                  <a:spcPts val="0"/>
                </a:spcAft>
                <a:defRPr/>
              </a:pPr>
              <a:endParaRPr lang="en-US" sz="825" kern="0">
                <a:solidFill>
                  <a:srgbClr val="FFFFFF"/>
                </a:solidFill>
                <a:latin typeface="Segoe UI"/>
              </a:endParaRPr>
            </a:p>
          </p:txBody>
        </p:sp>
        <p:sp>
          <p:nvSpPr>
            <p:cNvPr id="199" name="Isosceles Triangle 198">
              <a:extLst>
                <a:ext uri="{FF2B5EF4-FFF2-40B4-BE49-F238E27FC236}">
                  <a16:creationId xmlns:a16="http://schemas.microsoft.com/office/drawing/2014/main" id="{782ACDC8-EEE4-4419-A983-A9EA10DB289E}"/>
                </a:ext>
              </a:extLst>
            </p:cNvPr>
            <p:cNvSpPr/>
            <p:nvPr/>
          </p:nvSpPr>
          <p:spPr bwMode="auto">
            <a:xfrm rot="5400000">
              <a:off x="9813708" y="4092876"/>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Isosceles Triangle 199">
              <a:extLst>
                <a:ext uri="{FF2B5EF4-FFF2-40B4-BE49-F238E27FC236}">
                  <a16:creationId xmlns:a16="http://schemas.microsoft.com/office/drawing/2014/main" id="{44447845-0EF7-4CDE-9F1F-4F6D82C7E609}"/>
                </a:ext>
              </a:extLst>
            </p:cNvPr>
            <p:cNvSpPr/>
            <p:nvPr/>
          </p:nvSpPr>
          <p:spPr bwMode="auto">
            <a:xfrm rot="5400000">
              <a:off x="9816402" y="4181645"/>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Isosceles Triangle 200">
              <a:extLst>
                <a:ext uri="{FF2B5EF4-FFF2-40B4-BE49-F238E27FC236}">
                  <a16:creationId xmlns:a16="http://schemas.microsoft.com/office/drawing/2014/main" id="{D6AF7455-45C3-43EC-80E6-95DD947B20A6}"/>
                </a:ext>
              </a:extLst>
            </p:cNvPr>
            <p:cNvSpPr/>
            <p:nvPr/>
          </p:nvSpPr>
          <p:spPr bwMode="auto">
            <a:xfrm rot="5400000">
              <a:off x="9816401" y="4292559"/>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2" name="Isosceles Triangle 201">
              <a:extLst>
                <a:ext uri="{FF2B5EF4-FFF2-40B4-BE49-F238E27FC236}">
                  <a16:creationId xmlns:a16="http://schemas.microsoft.com/office/drawing/2014/main" id="{CD88FE35-C2BA-4701-85A0-81AF0FFD0C46}"/>
                </a:ext>
              </a:extLst>
            </p:cNvPr>
            <p:cNvSpPr/>
            <p:nvPr/>
          </p:nvSpPr>
          <p:spPr bwMode="auto">
            <a:xfrm rot="5400000">
              <a:off x="9816401" y="4384922"/>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3" name="Arrow: Right 202">
              <a:extLst>
                <a:ext uri="{FF2B5EF4-FFF2-40B4-BE49-F238E27FC236}">
                  <a16:creationId xmlns:a16="http://schemas.microsoft.com/office/drawing/2014/main" id="{E7E68FF1-0B1D-49EB-88D2-4A3FFB521D11}"/>
                </a:ext>
              </a:extLst>
            </p:cNvPr>
            <p:cNvSpPr/>
            <p:nvPr/>
          </p:nvSpPr>
          <p:spPr bwMode="auto">
            <a:xfrm>
              <a:off x="8980017" y="4009146"/>
              <a:ext cx="262629" cy="88814"/>
            </a:xfrm>
            <a:prstGeom prst="rightArrow">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4" name="Isosceles Triangle 203">
              <a:extLst>
                <a:ext uri="{FF2B5EF4-FFF2-40B4-BE49-F238E27FC236}">
                  <a16:creationId xmlns:a16="http://schemas.microsoft.com/office/drawing/2014/main" id="{ED0604F8-D616-410F-B617-215666ECF8BD}"/>
                </a:ext>
              </a:extLst>
            </p:cNvPr>
            <p:cNvSpPr/>
            <p:nvPr/>
          </p:nvSpPr>
          <p:spPr bwMode="auto">
            <a:xfrm rot="5400000">
              <a:off x="8470099" y="4096603"/>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5" name="Isosceles Triangle 204">
              <a:extLst>
                <a:ext uri="{FF2B5EF4-FFF2-40B4-BE49-F238E27FC236}">
                  <a16:creationId xmlns:a16="http://schemas.microsoft.com/office/drawing/2014/main" id="{27BF87FE-5F77-4E28-8064-2785094636FC}"/>
                </a:ext>
              </a:extLst>
            </p:cNvPr>
            <p:cNvSpPr/>
            <p:nvPr/>
          </p:nvSpPr>
          <p:spPr bwMode="auto">
            <a:xfrm rot="5400000">
              <a:off x="8472793" y="4185372"/>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6" name="Isosceles Triangle 205">
              <a:extLst>
                <a:ext uri="{FF2B5EF4-FFF2-40B4-BE49-F238E27FC236}">
                  <a16:creationId xmlns:a16="http://schemas.microsoft.com/office/drawing/2014/main" id="{FB244CA2-580E-4D9C-8D4E-7CED32091D49}"/>
                </a:ext>
              </a:extLst>
            </p:cNvPr>
            <p:cNvSpPr/>
            <p:nvPr/>
          </p:nvSpPr>
          <p:spPr bwMode="auto">
            <a:xfrm rot="5400000">
              <a:off x="8472793" y="4290075"/>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7" name="Isosceles Triangle 206">
              <a:extLst>
                <a:ext uri="{FF2B5EF4-FFF2-40B4-BE49-F238E27FC236}">
                  <a16:creationId xmlns:a16="http://schemas.microsoft.com/office/drawing/2014/main" id="{A0AE68D8-D5D9-4FA1-94B3-31F851D52758}"/>
                </a:ext>
              </a:extLst>
            </p:cNvPr>
            <p:cNvSpPr/>
            <p:nvPr/>
          </p:nvSpPr>
          <p:spPr bwMode="auto">
            <a:xfrm rot="5400000">
              <a:off x="8472792" y="4379954"/>
              <a:ext cx="58782" cy="37830"/>
            </a:xfrm>
            <a:prstGeom prst="triangle">
              <a:avLst/>
            </a:prstGeom>
            <a:solidFill>
              <a:srgbClr val="0078D3"/>
            </a:solidFill>
            <a:ln w="9525" cap="flat" cmpd="sng" algn="ctr">
              <a:noFill/>
              <a:prstDash val="solid"/>
              <a:headEnd type="none" w="med" len="med"/>
              <a:tailEnd type="none" w="med" len="med"/>
            </a:ln>
            <a:effectLst/>
          </p:spPr>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eaLnBrk="1" hangingPunct="1">
                <a:lnSpc>
                  <a:spcPct val="90000"/>
                </a:lnSpc>
                <a:defRPr/>
              </a:pPr>
              <a:endParaRPr lang="en-US" sz="105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5" name="TextBox 34">
            <a:extLst>
              <a:ext uri="{FF2B5EF4-FFF2-40B4-BE49-F238E27FC236}">
                <a16:creationId xmlns:a16="http://schemas.microsoft.com/office/drawing/2014/main" id="{838BE02A-C520-469E-BFF2-C38ACABC5A2D}"/>
              </a:ext>
            </a:extLst>
          </p:cNvPr>
          <p:cNvSpPr txBox="1"/>
          <p:nvPr/>
        </p:nvSpPr>
        <p:spPr>
          <a:xfrm>
            <a:off x="922073" y="1638975"/>
            <a:ext cx="1165860" cy="323165"/>
          </a:xfrm>
          <a:prstGeom prst="rect">
            <a:avLst/>
          </a:prstGeom>
          <a:noFill/>
        </p:spPr>
        <p:txBody>
          <a:bodyPr wrap="square" lIns="0" tIns="0" rIns="0" bIns="0" rtlCol="0">
            <a:spAutoFit/>
          </a:bodyPr>
          <a:lstStyle/>
          <a:p>
            <a:pPr algn="ctr" defTabSz="699288">
              <a:spcBef>
                <a:spcPts val="1765"/>
              </a:spcBef>
              <a:buSzPct val="90000"/>
            </a:pPr>
            <a:r>
              <a:rPr lang="en-US" sz="1050">
                <a:solidFill>
                  <a:srgbClr val="000000"/>
                </a:solidFill>
                <a:latin typeface="+mj-lt"/>
              </a:rPr>
              <a:t>Azure global network </a:t>
            </a:r>
          </a:p>
        </p:txBody>
      </p:sp>
      <p:sp>
        <p:nvSpPr>
          <p:cNvPr id="184" name="Oval 183">
            <a:extLst>
              <a:ext uri="{FF2B5EF4-FFF2-40B4-BE49-F238E27FC236}">
                <a16:creationId xmlns:a16="http://schemas.microsoft.com/office/drawing/2014/main" id="{4341B2ED-256D-45E7-90AC-5747FD6618F1}"/>
              </a:ext>
            </a:extLst>
          </p:cNvPr>
          <p:cNvSpPr/>
          <p:nvPr/>
        </p:nvSpPr>
        <p:spPr bwMode="auto">
          <a:xfrm>
            <a:off x="1362054" y="1247449"/>
            <a:ext cx="285899" cy="285899"/>
          </a:xfrm>
          <a:prstGeom prst="ellipse">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pPr>
            <a:r>
              <a:rPr lang="en-US" sz="1176" dirty="0">
                <a:solidFill>
                  <a:schemeClr val="accent1"/>
                </a:solidFill>
                <a:latin typeface="+mj-lt"/>
                <a:ea typeface="Segoe UI" pitchFamily="34" charset="0"/>
                <a:cs typeface="Segoe UI" pitchFamily="34" charset="0"/>
              </a:rPr>
              <a:t>1</a:t>
            </a:r>
          </a:p>
        </p:txBody>
      </p:sp>
      <p:sp>
        <p:nvSpPr>
          <p:cNvPr id="185" name="Oval 184">
            <a:extLst>
              <a:ext uri="{FF2B5EF4-FFF2-40B4-BE49-F238E27FC236}">
                <a16:creationId xmlns:a16="http://schemas.microsoft.com/office/drawing/2014/main" id="{81E63CCB-470C-4CF6-A099-1ADDF3D16268}"/>
              </a:ext>
            </a:extLst>
          </p:cNvPr>
          <p:cNvSpPr/>
          <p:nvPr/>
        </p:nvSpPr>
        <p:spPr bwMode="auto">
          <a:xfrm>
            <a:off x="2894530" y="1247449"/>
            <a:ext cx="285899" cy="285899"/>
          </a:xfrm>
          <a:prstGeom prst="ellipse">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pPr>
            <a:r>
              <a:rPr lang="en-US" sz="1176">
                <a:solidFill>
                  <a:schemeClr val="accent1"/>
                </a:solidFill>
                <a:latin typeface="+mj-lt"/>
                <a:ea typeface="Segoe UI" pitchFamily="34" charset="0"/>
                <a:cs typeface="Segoe UI" pitchFamily="34" charset="0"/>
              </a:rPr>
              <a:t>2</a:t>
            </a:r>
          </a:p>
        </p:txBody>
      </p:sp>
      <p:sp>
        <p:nvSpPr>
          <p:cNvPr id="242" name="TextBox 241">
            <a:extLst>
              <a:ext uri="{FF2B5EF4-FFF2-40B4-BE49-F238E27FC236}">
                <a16:creationId xmlns:a16="http://schemas.microsoft.com/office/drawing/2014/main" id="{9F91F601-A201-4EC1-8A21-CB7B09A80643}"/>
              </a:ext>
            </a:extLst>
          </p:cNvPr>
          <p:cNvSpPr txBox="1"/>
          <p:nvPr/>
        </p:nvSpPr>
        <p:spPr>
          <a:xfrm>
            <a:off x="2454550" y="1638975"/>
            <a:ext cx="1165860" cy="323165"/>
          </a:xfrm>
          <a:prstGeom prst="rect">
            <a:avLst/>
          </a:prstGeom>
          <a:noFill/>
        </p:spPr>
        <p:txBody>
          <a:bodyPr wrap="square" lIns="0" tIns="0" rIns="0" bIns="0" rtlCol="0">
            <a:spAutoFit/>
          </a:bodyPr>
          <a:lstStyle/>
          <a:p>
            <a:pPr algn="ctr" defTabSz="699288">
              <a:spcBef>
                <a:spcPts val="1765"/>
              </a:spcBef>
              <a:buSzPct val="90000"/>
            </a:pPr>
            <a:r>
              <a:rPr lang="en-US" sz="1050">
                <a:solidFill>
                  <a:srgbClr val="000000"/>
                </a:solidFill>
                <a:latin typeface="+mj-lt"/>
              </a:rPr>
              <a:t>Adaptive</a:t>
            </a:r>
            <a:br>
              <a:rPr lang="en-US" sz="1050">
                <a:solidFill>
                  <a:srgbClr val="000000"/>
                </a:solidFill>
                <a:latin typeface="+mj-lt"/>
              </a:rPr>
            </a:br>
            <a:r>
              <a:rPr lang="en-US" sz="1050">
                <a:solidFill>
                  <a:srgbClr val="000000"/>
                </a:solidFill>
                <a:latin typeface="+mj-lt"/>
              </a:rPr>
              <a:t>tuning</a:t>
            </a:r>
          </a:p>
        </p:txBody>
      </p:sp>
      <p:sp>
        <p:nvSpPr>
          <p:cNvPr id="186" name="Oval 185">
            <a:extLst>
              <a:ext uri="{FF2B5EF4-FFF2-40B4-BE49-F238E27FC236}">
                <a16:creationId xmlns:a16="http://schemas.microsoft.com/office/drawing/2014/main" id="{4005886B-B705-4775-8C58-52A60E8B6658}"/>
              </a:ext>
            </a:extLst>
          </p:cNvPr>
          <p:cNvSpPr/>
          <p:nvPr/>
        </p:nvSpPr>
        <p:spPr bwMode="auto">
          <a:xfrm>
            <a:off x="4427007" y="1247449"/>
            <a:ext cx="285899" cy="285899"/>
          </a:xfrm>
          <a:prstGeom prst="ellipse">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pPr>
            <a:r>
              <a:rPr lang="en-US" sz="1176">
                <a:solidFill>
                  <a:schemeClr val="accent1"/>
                </a:solidFill>
                <a:latin typeface="+mj-lt"/>
                <a:ea typeface="Segoe UI" pitchFamily="34" charset="0"/>
                <a:cs typeface="Segoe UI" pitchFamily="34" charset="0"/>
              </a:rPr>
              <a:t>3</a:t>
            </a:r>
          </a:p>
        </p:txBody>
      </p:sp>
      <p:sp>
        <p:nvSpPr>
          <p:cNvPr id="243" name="TextBox 242">
            <a:extLst>
              <a:ext uri="{FF2B5EF4-FFF2-40B4-BE49-F238E27FC236}">
                <a16:creationId xmlns:a16="http://schemas.microsoft.com/office/drawing/2014/main" id="{B8DA504B-36D7-4A06-9C14-CC014B72C133}"/>
              </a:ext>
            </a:extLst>
          </p:cNvPr>
          <p:cNvSpPr txBox="1"/>
          <p:nvPr/>
        </p:nvSpPr>
        <p:spPr>
          <a:xfrm>
            <a:off x="3987026" y="1638975"/>
            <a:ext cx="1165860" cy="323165"/>
          </a:xfrm>
          <a:prstGeom prst="rect">
            <a:avLst/>
          </a:prstGeom>
          <a:noFill/>
        </p:spPr>
        <p:txBody>
          <a:bodyPr wrap="square" lIns="0" tIns="0" rIns="0" bIns="0" rtlCol="0">
            <a:spAutoFit/>
          </a:bodyPr>
          <a:lstStyle/>
          <a:p>
            <a:pPr algn="ctr" defTabSz="699288">
              <a:spcBef>
                <a:spcPts val="1765"/>
              </a:spcBef>
              <a:buSzPct val="90000"/>
            </a:pPr>
            <a:r>
              <a:rPr lang="en-US" sz="1050">
                <a:solidFill>
                  <a:srgbClr val="000000"/>
                </a:solidFill>
                <a:latin typeface="+mj-lt"/>
              </a:rPr>
              <a:t>Attack analytics</a:t>
            </a:r>
            <a:br>
              <a:rPr lang="en-US" sz="1050">
                <a:solidFill>
                  <a:srgbClr val="000000"/>
                </a:solidFill>
                <a:latin typeface="+mj-lt"/>
              </a:rPr>
            </a:br>
            <a:r>
              <a:rPr lang="en-US" sz="1050">
                <a:solidFill>
                  <a:srgbClr val="000000"/>
                </a:solidFill>
                <a:latin typeface="+mj-lt"/>
              </a:rPr>
              <a:t>and metrics</a:t>
            </a:r>
          </a:p>
        </p:txBody>
      </p:sp>
      <p:grpSp>
        <p:nvGrpSpPr>
          <p:cNvPr id="12" name="Group 11">
            <a:extLst>
              <a:ext uri="{FF2B5EF4-FFF2-40B4-BE49-F238E27FC236}">
                <a16:creationId xmlns:a16="http://schemas.microsoft.com/office/drawing/2014/main" id="{639A3E7F-EEDA-4EF3-B272-C8F01DCF78DB}"/>
              </a:ext>
            </a:extLst>
          </p:cNvPr>
          <p:cNvGrpSpPr/>
          <p:nvPr/>
        </p:nvGrpSpPr>
        <p:grpSpPr>
          <a:xfrm>
            <a:off x="5519502" y="1247449"/>
            <a:ext cx="1165860" cy="714690"/>
            <a:chOff x="7668797" y="1518619"/>
            <a:chExt cx="1554480" cy="952919"/>
          </a:xfrm>
        </p:grpSpPr>
        <p:sp>
          <p:nvSpPr>
            <p:cNvPr id="187" name="Oval 186">
              <a:extLst>
                <a:ext uri="{FF2B5EF4-FFF2-40B4-BE49-F238E27FC236}">
                  <a16:creationId xmlns:a16="http://schemas.microsoft.com/office/drawing/2014/main" id="{82B6324C-8753-4259-B160-17A947FA3A15}"/>
                </a:ext>
              </a:extLst>
            </p:cNvPr>
            <p:cNvSpPr/>
            <p:nvPr/>
          </p:nvSpPr>
          <p:spPr bwMode="auto">
            <a:xfrm>
              <a:off x="8255438" y="1518619"/>
              <a:ext cx="381198" cy="381198"/>
            </a:xfrm>
            <a:prstGeom prst="ellipse">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pPr>
              <a:r>
                <a:rPr lang="en-US" sz="1176">
                  <a:solidFill>
                    <a:schemeClr val="accent1"/>
                  </a:solidFill>
                  <a:latin typeface="+mj-lt"/>
                  <a:ea typeface="Segoe UI" pitchFamily="34" charset="0"/>
                  <a:cs typeface="Segoe UI" pitchFamily="34" charset="0"/>
                </a:rPr>
                <a:t>4</a:t>
              </a:r>
            </a:p>
          </p:txBody>
        </p:sp>
        <p:sp>
          <p:nvSpPr>
            <p:cNvPr id="244" name="TextBox 243">
              <a:extLst>
                <a:ext uri="{FF2B5EF4-FFF2-40B4-BE49-F238E27FC236}">
                  <a16:creationId xmlns:a16="http://schemas.microsoft.com/office/drawing/2014/main" id="{03C4CB31-05DD-48D6-844B-F9AD035AE4E3}"/>
                </a:ext>
              </a:extLst>
            </p:cNvPr>
            <p:cNvSpPr txBox="1"/>
            <p:nvPr/>
          </p:nvSpPr>
          <p:spPr>
            <a:xfrm>
              <a:off x="7668797" y="2040652"/>
              <a:ext cx="1554480" cy="430886"/>
            </a:xfrm>
            <a:prstGeom prst="rect">
              <a:avLst/>
            </a:prstGeom>
            <a:noFill/>
          </p:spPr>
          <p:txBody>
            <a:bodyPr wrap="square" lIns="0" tIns="0" rIns="0" bIns="0" rtlCol="0">
              <a:spAutoFit/>
            </a:bodyPr>
            <a:lstStyle/>
            <a:p>
              <a:pPr algn="ctr" defTabSz="699288">
                <a:spcBef>
                  <a:spcPts val="1765"/>
                </a:spcBef>
                <a:buSzPct val="90000"/>
              </a:pPr>
              <a:r>
                <a:rPr lang="en-US" sz="1050">
                  <a:solidFill>
                    <a:srgbClr val="000000"/>
                  </a:solidFill>
                  <a:latin typeface="+mj-lt"/>
                </a:rPr>
                <a:t>DDoS Rapid Response (DRR)</a:t>
              </a:r>
            </a:p>
          </p:txBody>
        </p:sp>
      </p:grpSp>
      <p:grpSp>
        <p:nvGrpSpPr>
          <p:cNvPr id="13" name="Group 12">
            <a:extLst>
              <a:ext uri="{FF2B5EF4-FFF2-40B4-BE49-F238E27FC236}">
                <a16:creationId xmlns:a16="http://schemas.microsoft.com/office/drawing/2014/main" id="{D4FC4658-6E02-4428-AD25-F05B4F936070}"/>
              </a:ext>
            </a:extLst>
          </p:cNvPr>
          <p:cNvGrpSpPr/>
          <p:nvPr/>
        </p:nvGrpSpPr>
        <p:grpSpPr>
          <a:xfrm>
            <a:off x="7051978" y="1247449"/>
            <a:ext cx="1165860" cy="714690"/>
            <a:chOff x="10028975" y="1518619"/>
            <a:chExt cx="1554480" cy="952919"/>
          </a:xfrm>
        </p:grpSpPr>
        <p:sp>
          <p:nvSpPr>
            <p:cNvPr id="188" name="Oval 187">
              <a:extLst>
                <a:ext uri="{FF2B5EF4-FFF2-40B4-BE49-F238E27FC236}">
                  <a16:creationId xmlns:a16="http://schemas.microsoft.com/office/drawing/2014/main" id="{79E94252-CF3B-4467-9156-DBD64F8DEBFA}"/>
                </a:ext>
              </a:extLst>
            </p:cNvPr>
            <p:cNvSpPr/>
            <p:nvPr/>
          </p:nvSpPr>
          <p:spPr bwMode="auto">
            <a:xfrm>
              <a:off x="10615616" y="1518619"/>
              <a:ext cx="381198" cy="381198"/>
            </a:xfrm>
            <a:prstGeom prst="ellipse">
              <a:avLst/>
            </a:prstGeom>
            <a:solidFill>
              <a:schemeClr val="bg1"/>
            </a:solidFill>
            <a:ln>
              <a:noFill/>
              <a:headEnd type="none" w="med" len="med"/>
              <a:tailEnd type="none" w="med" len="med"/>
            </a:ln>
            <a:effectLst>
              <a:outerShdw blurRad="127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577">
                <a:lnSpc>
                  <a:spcPct val="90000"/>
                </a:lnSpc>
              </a:pPr>
              <a:r>
                <a:rPr lang="en-US" sz="1176">
                  <a:solidFill>
                    <a:schemeClr val="accent1"/>
                  </a:solidFill>
                  <a:latin typeface="+mj-lt"/>
                  <a:ea typeface="Segoe UI" pitchFamily="34" charset="0"/>
                  <a:cs typeface="Segoe UI" pitchFamily="34" charset="0"/>
                </a:rPr>
                <a:t>5</a:t>
              </a:r>
            </a:p>
          </p:txBody>
        </p:sp>
        <p:sp>
          <p:nvSpPr>
            <p:cNvPr id="245" name="TextBox 244">
              <a:extLst>
                <a:ext uri="{FF2B5EF4-FFF2-40B4-BE49-F238E27FC236}">
                  <a16:creationId xmlns:a16="http://schemas.microsoft.com/office/drawing/2014/main" id="{E94E6B72-D25C-4612-B37F-85AB8B73B725}"/>
                </a:ext>
              </a:extLst>
            </p:cNvPr>
            <p:cNvSpPr txBox="1"/>
            <p:nvPr/>
          </p:nvSpPr>
          <p:spPr>
            <a:xfrm>
              <a:off x="10028975" y="2040652"/>
              <a:ext cx="1554480" cy="430886"/>
            </a:xfrm>
            <a:prstGeom prst="rect">
              <a:avLst/>
            </a:prstGeom>
            <a:noFill/>
          </p:spPr>
          <p:txBody>
            <a:bodyPr wrap="square" lIns="0" tIns="0" rIns="0" bIns="0" rtlCol="0">
              <a:spAutoFit/>
            </a:bodyPr>
            <a:lstStyle/>
            <a:p>
              <a:pPr algn="ctr" defTabSz="699288">
                <a:spcBef>
                  <a:spcPts val="1765"/>
                </a:spcBef>
                <a:buSzPct val="90000"/>
              </a:pPr>
              <a:r>
                <a:rPr lang="en-US" sz="1050">
                  <a:solidFill>
                    <a:srgbClr val="000000"/>
                  </a:solidFill>
                  <a:latin typeface="+mj-lt"/>
                </a:rPr>
                <a:t>SLA guarantee and</a:t>
              </a:r>
              <a:br>
                <a:rPr lang="en-US" sz="1050">
                  <a:solidFill>
                    <a:srgbClr val="000000"/>
                  </a:solidFill>
                  <a:latin typeface="+mj-lt"/>
                </a:rPr>
              </a:br>
              <a:r>
                <a:rPr lang="en-US" sz="1050">
                  <a:solidFill>
                    <a:srgbClr val="000000"/>
                  </a:solidFill>
                  <a:latin typeface="+mj-lt"/>
                </a:rPr>
                <a:t>cost protection</a:t>
              </a:r>
            </a:p>
          </p:txBody>
        </p:sp>
      </p:grpSp>
      <p:pic>
        <p:nvPicPr>
          <p:cNvPr id="172" name="Graphic 171">
            <a:extLst>
              <a:ext uri="{FF2B5EF4-FFF2-40B4-BE49-F238E27FC236}">
                <a16:creationId xmlns:a16="http://schemas.microsoft.com/office/drawing/2014/main" id="{83EE5136-A264-46FC-90DB-8202A59C1C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54551" y="3936605"/>
            <a:ext cx="411480" cy="411480"/>
          </a:xfrm>
          <a:prstGeom prst="rect">
            <a:avLst/>
          </a:prstGeom>
        </p:spPr>
      </p:pic>
      <p:pic>
        <p:nvPicPr>
          <p:cNvPr id="248" name="Graphic 247">
            <a:extLst>
              <a:ext uri="{FF2B5EF4-FFF2-40B4-BE49-F238E27FC236}">
                <a16:creationId xmlns:a16="http://schemas.microsoft.com/office/drawing/2014/main" id="{671BE13E-B6A2-4C53-9835-FDFFECE9FF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74674" y="3931786"/>
            <a:ext cx="411480" cy="411480"/>
          </a:xfrm>
          <a:prstGeom prst="rect">
            <a:avLst/>
          </a:prstGeom>
        </p:spPr>
      </p:pic>
      <p:pic>
        <p:nvPicPr>
          <p:cNvPr id="250" name="Graphic 249">
            <a:extLst>
              <a:ext uri="{FF2B5EF4-FFF2-40B4-BE49-F238E27FC236}">
                <a16:creationId xmlns:a16="http://schemas.microsoft.com/office/drawing/2014/main" id="{02DF8D45-C677-4F07-9506-A670C0FC371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74392" y="3199490"/>
            <a:ext cx="411480" cy="411480"/>
          </a:xfrm>
          <a:prstGeom prst="rect">
            <a:avLst/>
          </a:prstGeom>
        </p:spPr>
      </p:pic>
      <p:pic>
        <p:nvPicPr>
          <p:cNvPr id="252" name="Graphic 251">
            <a:extLst>
              <a:ext uri="{FF2B5EF4-FFF2-40B4-BE49-F238E27FC236}">
                <a16:creationId xmlns:a16="http://schemas.microsoft.com/office/drawing/2014/main" id="{87CBB27D-4C35-47FE-B34E-BE10B2B4865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83840" y="3417783"/>
            <a:ext cx="286737" cy="286737"/>
          </a:xfrm>
          <a:prstGeom prst="rect">
            <a:avLst/>
          </a:prstGeom>
        </p:spPr>
      </p:pic>
      <p:grpSp>
        <p:nvGrpSpPr>
          <p:cNvPr id="253" name="Group 252">
            <a:extLst>
              <a:ext uri="{FF2B5EF4-FFF2-40B4-BE49-F238E27FC236}">
                <a16:creationId xmlns:a16="http://schemas.microsoft.com/office/drawing/2014/main" id="{ECEA5F4D-E626-4D78-AE9B-7C4767622404}"/>
              </a:ext>
            </a:extLst>
          </p:cNvPr>
          <p:cNvGrpSpPr/>
          <p:nvPr/>
        </p:nvGrpSpPr>
        <p:grpSpPr>
          <a:xfrm>
            <a:off x="1457486" y="3626119"/>
            <a:ext cx="325588" cy="269932"/>
            <a:chOff x="2619405" y="3969410"/>
            <a:chExt cx="434117" cy="359909"/>
          </a:xfrm>
        </p:grpSpPr>
        <p:pic>
          <p:nvPicPr>
            <p:cNvPr id="254" name="Graphic 253">
              <a:extLst>
                <a:ext uri="{FF2B5EF4-FFF2-40B4-BE49-F238E27FC236}">
                  <a16:creationId xmlns:a16="http://schemas.microsoft.com/office/drawing/2014/main" id="{4DA4608B-7C57-4D66-B4DD-D8D6BFFE43C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19405" y="3969410"/>
              <a:ext cx="272735" cy="272735"/>
            </a:xfrm>
            <a:prstGeom prst="rect">
              <a:avLst/>
            </a:prstGeom>
          </p:spPr>
        </p:pic>
        <p:pic>
          <p:nvPicPr>
            <p:cNvPr id="255" name="Graphic 254">
              <a:extLst>
                <a:ext uri="{FF2B5EF4-FFF2-40B4-BE49-F238E27FC236}">
                  <a16:creationId xmlns:a16="http://schemas.microsoft.com/office/drawing/2014/main" id="{98E52739-63CB-4258-B359-26918BF7195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00096" y="4012997"/>
              <a:ext cx="272735" cy="272735"/>
            </a:xfrm>
            <a:prstGeom prst="rect">
              <a:avLst/>
            </a:prstGeom>
          </p:spPr>
        </p:pic>
        <p:pic>
          <p:nvPicPr>
            <p:cNvPr id="256" name="Graphic 255">
              <a:extLst>
                <a:ext uri="{FF2B5EF4-FFF2-40B4-BE49-F238E27FC236}">
                  <a16:creationId xmlns:a16="http://schemas.microsoft.com/office/drawing/2014/main" id="{801FFF87-0A6D-4017-A1BD-433406B6A82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80787" y="4056584"/>
              <a:ext cx="272735" cy="272735"/>
            </a:xfrm>
            <a:prstGeom prst="rect">
              <a:avLst/>
            </a:prstGeom>
          </p:spPr>
        </p:pic>
      </p:grpSp>
      <p:pic>
        <p:nvPicPr>
          <p:cNvPr id="257" name="Graphic 256">
            <a:extLst>
              <a:ext uri="{FF2B5EF4-FFF2-40B4-BE49-F238E27FC236}">
                <a16:creationId xmlns:a16="http://schemas.microsoft.com/office/drawing/2014/main" id="{4A476B80-BB66-4B67-8474-A19804F3600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473669" y="4064277"/>
            <a:ext cx="315601" cy="315601"/>
          </a:xfrm>
          <a:prstGeom prst="rect">
            <a:avLst/>
          </a:prstGeom>
        </p:spPr>
      </p:pic>
      <p:grpSp>
        <p:nvGrpSpPr>
          <p:cNvPr id="258" name="Group 257">
            <a:extLst>
              <a:ext uri="{FF2B5EF4-FFF2-40B4-BE49-F238E27FC236}">
                <a16:creationId xmlns:a16="http://schemas.microsoft.com/office/drawing/2014/main" id="{D8BC41E7-2EBB-4A63-8C7A-FC10C20A239F}"/>
              </a:ext>
            </a:extLst>
          </p:cNvPr>
          <p:cNvGrpSpPr/>
          <p:nvPr/>
        </p:nvGrpSpPr>
        <p:grpSpPr>
          <a:xfrm>
            <a:off x="4792441" y="3737121"/>
            <a:ext cx="325588" cy="269932"/>
            <a:chOff x="2619405" y="3969410"/>
            <a:chExt cx="434117" cy="359909"/>
          </a:xfrm>
        </p:grpSpPr>
        <p:pic>
          <p:nvPicPr>
            <p:cNvPr id="259" name="Graphic 258">
              <a:extLst>
                <a:ext uri="{FF2B5EF4-FFF2-40B4-BE49-F238E27FC236}">
                  <a16:creationId xmlns:a16="http://schemas.microsoft.com/office/drawing/2014/main" id="{7C3B27C7-5547-4D1F-A7BF-A92AE392BDD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19405" y="3969410"/>
              <a:ext cx="272735" cy="272735"/>
            </a:xfrm>
            <a:prstGeom prst="rect">
              <a:avLst/>
            </a:prstGeom>
          </p:spPr>
        </p:pic>
        <p:pic>
          <p:nvPicPr>
            <p:cNvPr id="260" name="Graphic 259">
              <a:extLst>
                <a:ext uri="{FF2B5EF4-FFF2-40B4-BE49-F238E27FC236}">
                  <a16:creationId xmlns:a16="http://schemas.microsoft.com/office/drawing/2014/main" id="{95F71781-3958-4A81-8684-23EA04D410A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00096" y="4012997"/>
              <a:ext cx="272735" cy="272735"/>
            </a:xfrm>
            <a:prstGeom prst="rect">
              <a:avLst/>
            </a:prstGeom>
          </p:spPr>
        </p:pic>
        <p:pic>
          <p:nvPicPr>
            <p:cNvPr id="261" name="Graphic 260">
              <a:extLst>
                <a:ext uri="{FF2B5EF4-FFF2-40B4-BE49-F238E27FC236}">
                  <a16:creationId xmlns:a16="http://schemas.microsoft.com/office/drawing/2014/main" id="{8513D778-9B90-461F-A627-8DAE797686B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80787" y="4056584"/>
              <a:ext cx="272735" cy="272735"/>
            </a:xfrm>
            <a:prstGeom prst="rect">
              <a:avLst/>
            </a:prstGeom>
          </p:spPr>
        </p:pic>
      </p:grpSp>
      <p:pic>
        <p:nvPicPr>
          <p:cNvPr id="262" name="Graphic 261">
            <a:extLst>
              <a:ext uri="{FF2B5EF4-FFF2-40B4-BE49-F238E27FC236}">
                <a16:creationId xmlns:a16="http://schemas.microsoft.com/office/drawing/2014/main" id="{57DBC7FD-4139-4555-9BF3-CBEF5172E99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91336" y="4178512"/>
            <a:ext cx="315601" cy="315601"/>
          </a:xfrm>
          <a:prstGeom prst="rect">
            <a:avLst/>
          </a:prstGeom>
        </p:spPr>
      </p:pic>
      <p:grpSp>
        <p:nvGrpSpPr>
          <p:cNvPr id="263" name="Group 262">
            <a:extLst>
              <a:ext uri="{FF2B5EF4-FFF2-40B4-BE49-F238E27FC236}">
                <a16:creationId xmlns:a16="http://schemas.microsoft.com/office/drawing/2014/main" id="{1DE35F89-1120-45AC-8866-230D4766460A}"/>
              </a:ext>
            </a:extLst>
          </p:cNvPr>
          <p:cNvGrpSpPr/>
          <p:nvPr/>
        </p:nvGrpSpPr>
        <p:grpSpPr>
          <a:xfrm>
            <a:off x="7188679" y="3905493"/>
            <a:ext cx="325588" cy="269932"/>
            <a:chOff x="2619405" y="3969410"/>
            <a:chExt cx="434117" cy="359909"/>
          </a:xfrm>
        </p:grpSpPr>
        <p:pic>
          <p:nvPicPr>
            <p:cNvPr id="264" name="Graphic 263">
              <a:extLst>
                <a:ext uri="{FF2B5EF4-FFF2-40B4-BE49-F238E27FC236}">
                  <a16:creationId xmlns:a16="http://schemas.microsoft.com/office/drawing/2014/main" id="{7464085E-0FC7-4CDD-B97F-D83E1986219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19405" y="3969410"/>
              <a:ext cx="272735" cy="272735"/>
            </a:xfrm>
            <a:prstGeom prst="rect">
              <a:avLst/>
            </a:prstGeom>
          </p:spPr>
        </p:pic>
        <p:pic>
          <p:nvPicPr>
            <p:cNvPr id="265" name="Graphic 264">
              <a:extLst>
                <a:ext uri="{FF2B5EF4-FFF2-40B4-BE49-F238E27FC236}">
                  <a16:creationId xmlns:a16="http://schemas.microsoft.com/office/drawing/2014/main" id="{07CAD9AB-C88A-4ABB-BAEF-7E8E893FF2C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00096" y="4012997"/>
              <a:ext cx="272735" cy="272735"/>
            </a:xfrm>
            <a:prstGeom prst="rect">
              <a:avLst/>
            </a:prstGeom>
          </p:spPr>
        </p:pic>
        <p:pic>
          <p:nvPicPr>
            <p:cNvPr id="266" name="Graphic 265">
              <a:extLst>
                <a:ext uri="{FF2B5EF4-FFF2-40B4-BE49-F238E27FC236}">
                  <a16:creationId xmlns:a16="http://schemas.microsoft.com/office/drawing/2014/main" id="{ACE7677E-A937-4A6A-AA0B-A2E9892B5D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80787" y="4056584"/>
              <a:ext cx="272735" cy="272735"/>
            </a:xfrm>
            <a:prstGeom prst="rect">
              <a:avLst/>
            </a:prstGeom>
          </p:spPr>
        </p:pic>
      </p:grpSp>
      <p:grpSp>
        <p:nvGrpSpPr>
          <p:cNvPr id="267" name="Group 266">
            <a:extLst>
              <a:ext uri="{FF2B5EF4-FFF2-40B4-BE49-F238E27FC236}">
                <a16:creationId xmlns:a16="http://schemas.microsoft.com/office/drawing/2014/main" id="{9B001F9C-0F12-438D-B3B2-F966D2FA934A}"/>
              </a:ext>
            </a:extLst>
          </p:cNvPr>
          <p:cNvGrpSpPr/>
          <p:nvPr/>
        </p:nvGrpSpPr>
        <p:grpSpPr>
          <a:xfrm>
            <a:off x="7189116" y="4295120"/>
            <a:ext cx="325588" cy="269932"/>
            <a:chOff x="2619405" y="3969410"/>
            <a:chExt cx="434117" cy="359909"/>
          </a:xfrm>
        </p:grpSpPr>
        <p:pic>
          <p:nvPicPr>
            <p:cNvPr id="268" name="Graphic 267">
              <a:extLst>
                <a:ext uri="{FF2B5EF4-FFF2-40B4-BE49-F238E27FC236}">
                  <a16:creationId xmlns:a16="http://schemas.microsoft.com/office/drawing/2014/main" id="{A84C064D-1E78-4E2E-A848-D9F6FD81F08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19405" y="3969410"/>
              <a:ext cx="272735" cy="272735"/>
            </a:xfrm>
            <a:prstGeom prst="rect">
              <a:avLst/>
            </a:prstGeom>
          </p:spPr>
        </p:pic>
        <p:pic>
          <p:nvPicPr>
            <p:cNvPr id="269" name="Graphic 268">
              <a:extLst>
                <a:ext uri="{FF2B5EF4-FFF2-40B4-BE49-F238E27FC236}">
                  <a16:creationId xmlns:a16="http://schemas.microsoft.com/office/drawing/2014/main" id="{EF220105-7205-407C-B55D-BFEFC136E3F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00096" y="4012997"/>
              <a:ext cx="272735" cy="272735"/>
            </a:xfrm>
            <a:prstGeom prst="rect">
              <a:avLst/>
            </a:prstGeom>
          </p:spPr>
        </p:pic>
        <p:pic>
          <p:nvPicPr>
            <p:cNvPr id="270" name="Graphic 269">
              <a:extLst>
                <a:ext uri="{FF2B5EF4-FFF2-40B4-BE49-F238E27FC236}">
                  <a16:creationId xmlns:a16="http://schemas.microsoft.com/office/drawing/2014/main" id="{F152B896-8701-4707-9F76-F9F5577E38C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80787" y="4056584"/>
              <a:ext cx="272735" cy="272735"/>
            </a:xfrm>
            <a:prstGeom prst="rect">
              <a:avLst/>
            </a:prstGeom>
          </p:spPr>
        </p:pic>
      </p:grpSp>
    </p:spTree>
    <p:extLst>
      <p:ext uri="{BB962C8B-B14F-4D97-AF65-F5344CB8AC3E}">
        <p14:creationId xmlns:p14="http://schemas.microsoft.com/office/powerpoint/2010/main" val="111862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6"/>
                                        </p:tgtEl>
                                        <p:attrNameLst>
                                          <p:attrName>style.visibility</p:attrName>
                                        </p:attrNameLst>
                                      </p:cBhvr>
                                      <p:to>
                                        <p:strVal val="visible"/>
                                      </p:to>
                                    </p:set>
                                    <p:animEffect transition="in" filter="fade">
                                      <p:cBhvr>
                                        <p:cTn id="7" dur="500"/>
                                        <p:tgtEl>
                                          <p:spTgt spid="246"/>
                                        </p:tgtEl>
                                      </p:cBhvr>
                                    </p:animEffect>
                                  </p:childTnLst>
                                </p:cTn>
                              </p:par>
                              <p:par>
                                <p:cTn id="8" presetID="42" presetClass="path" presetSubtype="0" decel="100000" fill="hold" grpId="1" nodeType="withEffect">
                                  <p:stCondLst>
                                    <p:cond delay="0"/>
                                  </p:stCondLst>
                                  <p:childTnLst>
                                    <p:animMotion origin="layout" path="M 4.16667E-6 0.0449 L 4.16667E-6 0.00023 " pathEditMode="relative" rAng="0" ptsTypes="AA">
                                      <p:cBhvr>
                                        <p:cTn id="9" dur="500" fill="hold"/>
                                        <p:tgtEl>
                                          <p:spTgt spid="246"/>
                                        </p:tgtEl>
                                        <p:attrNameLst>
                                          <p:attrName>ppt_x</p:attrName>
                                          <p:attrName>ppt_y</p:attrName>
                                        </p:attrNameLst>
                                      </p:cBhvr>
                                      <p:rCtr x="0" y="-2245"/>
                                    </p:animMotion>
                                  </p:childTnLst>
                                </p:cTn>
                              </p:par>
                              <p:par>
                                <p:cTn id="10" presetID="10" presetClass="entr" presetSubtype="0" fill="hold" grpId="0" nodeType="withEffect">
                                  <p:stCondLst>
                                    <p:cond delay="500"/>
                                  </p:stCondLst>
                                  <p:childTnLst>
                                    <p:set>
                                      <p:cBhvr>
                                        <p:cTn id="11" dur="1" fill="hold">
                                          <p:stCondLst>
                                            <p:cond delay="0"/>
                                          </p:stCondLst>
                                        </p:cTn>
                                        <p:tgtEl>
                                          <p:spTgt spid="251"/>
                                        </p:tgtEl>
                                        <p:attrNameLst>
                                          <p:attrName>style.visibility</p:attrName>
                                        </p:attrNameLst>
                                      </p:cBhvr>
                                      <p:to>
                                        <p:strVal val="visible"/>
                                      </p:to>
                                    </p:set>
                                    <p:animEffect transition="in" filter="fade">
                                      <p:cBhvr>
                                        <p:cTn id="12" dur="500"/>
                                        <p:tgtEl>
                                          <p:spTgt spid="251"/>
                                        </p:tgtEl>
                                      </p:cBhvr>
                                    </p:animEffect>
                                  </p:childTnLst>
                                </p:cTn>
                              </p:par>
                              <p:par>
                                <p:cTn id="13" presetID="42" presetClass="path" presetSubtype="0" decel="100000" fill="hold" grpId="1" nodeType="withEffect">
                                  <p:stCondLst>
                                    <p:cond delay="500"/>
                                  </p:stCondLst>
                                  <p:childTnLst>
                                    <p:animMotion origin="layout" path="M 3.125E-6 0.04491 L 3.125E-6 0.00023 " pathEditMode="relative" rAng="0" ptsTypes="AA">
                                      <p:cBhvr>
                                        <p:cTn id="14" dur="500" fill="hold"/>
                                        <p:tgtEl>
                                          <p:spTgt spid="251"/>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1" grpId="0" animBg="1"/>
      <p:bldP spid="251" grpId="1" animBg="1"/>
      <p:bldP spid="246" grpId="0" animBg="1"/>
      <p:bldP spid="246"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35245" y="3459575"/>
            <a:ext cx="3264503" cy="1140312"/>
          </a:xfrm>
        </p:spPr>
        <p:txBody>
          <a:bodyPr/>
          <a:lstStyle/>
          <a:p>
            <a:pPr algn="ctr"/>
            <a:r>
              <a:rPr lang="en-US" dirty="0"/>
              <a:t>Dan Patrick</a:t>
            </a:r>
          </a:p>
          <a:p>
            <a:pPr algn="ctr"/>
            <a:r>
              <a:rPr lang="en-US" dirty="0"/>
              <a:t>dan@solliance.net</a:t>
            </a:r>
          </a:p>
          <a:p>
            <a:pPr lvl="0" algn="ctr"/>
            <a:r>
              <a:rPr lang="en-US" dirty="0"/>
              <a:t>@deltadan</a:t>
            </a:r>
          </a:p>
        </p:txBody>
      </p:sp>
      <p:sp>
        <p:nvSpPr>
          <p:cNvPr id="30" name="Text Placeholder 12">
            <a:extLst>
              <a:ext uri="{FF2B5EF4-FFF2-40B4-BE49-F238E27FC236}">
                <a16:creationId xmlns:a16="http://schemas.microsoft.com/office/drawing/2014/main" id="{9CDC71BA-605D-4A02-935E-6346180D6731}"/>
              </a:ext>
            </a:extLst>
          </p:cNvPr>
          <p:cNvSpPr txBox="1">
            <a:spLocks/>
          </p:cNvSpPr>
          <p:nvPr/>
        </p:nvSpPr>
        <p:spPr>
          <a:xfrm>
            <a:off x="4353419" y="1467593"/>
            <a:ext cx="4199093" cy="962763"/>
          </a:xfrm>
          <a:prstGeom prst="rect">
            <a:avLst/>
          </a:prstGeom>
        </p:spPr>
        <p:txBody>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buNone/>
              <a:defRPr/>
            </a:pPr>
            <a:r>
              <a:rPr lang="en-US" sz="1350" b="1" dirty="0">
                <a:gradFill>
                  <a:gsLst>
                    <a:gs pos="1250">
                      <a:srgbClr val="3F3F3F"/>
                    </a:gs>
                    <a:gs pos="100000">
                      <a:srgbClr val="3F3F3F"/>
                    </a:gs>
                  </a:gsLst>
                  <a:lin ang="5400000" scaled="0"/>
                </a:gradFill>
                <a:latin typeface="Segoe UI Light"/>
              </a:rPr>
              <a:t>General Manager DevOps, Chief Infrastructure Architect</a:t>
            </a:r>
          </a:p>
          <a:p>
            <a:pPr marL="0" indent="0" defTabSz="699557">
              <a:buNone/>
              <a:defRPr/>
            </a:pPr>
            <a:r>
              <a:rPr lang="en-US" sz="1350" b="1" dirty="0">
                <a:gradFill>
                  <a:gsLst>
                    <a:gs pos="1250">
                      <a:srgbClr val="3F3F3F"/>
                    </a:gs>
                    <a:gs pos="100000">
                      <a:srgbClr val="3F3F3F"/>
                    </a:gs>
                  </a:gsLst>
                  <a:lin ang="5400000" scaled="0"/>
                </a:gradFill>
                <a:latin typeface="Segoe UI Light"/>
              </a:rPr>
              <a:t>Azure MVP</a:t>
            </a:r>
          </a:p>
          <a:p>
            <a:pPr marL="0" indent="0" defTabSz="699557">
              <a:buNone/>
              <a:defRPr/>
            </a:pPr>
            <a:r>
              <a:rPr lang="en-US" sz="1350" b="1" dirty="0">
                <a:gradFill>
                  <a:gsLst>
                    <a:gs pos="1250">
                      <a:srgbClr val="3F3F3F"/>
                    </a:gs>
                    <a:gs pos="100000">
                      <a:srgbClr val="3F3F3F"/>
                    </a:gs>
                  </a:gsLst>
                  <a:lin ang="5400000" scaled="0"/>
                </a:gradFill>
                <a:latin typeface="Segoe UI Light"/>
              </a:rPr>
              <a:t>Author/co-author of several books on Azure</a:t>
            </a:r>
          </a:p>
          <a:p>
            <a:pPr marL="0" indent="0" defTabSz="699557">
              <a:buNone/>
              <a:defRPr/>
            </a:pPr>
            <a:r>
              <a:rPr lang="en-US" sz="1350" b="1" dirty="0">
                <a:gradFill>
                  <a:gsLst>
                    <a:gs pos="1250">
                      <a:srgbClr val="3F3F3F"/>
                    </a:gs>
                    <a:gs pos="100000">
                      <a:srgbClr val="3F3F3F"/>
                    </a:gs>
                  </a:gsLst>
                  <a:lin ang="5400000" scaled="0"/>
                </a:gradFill>
                <a:latin typeface="Segoe UI Light"/>
              </a:rPr>
              <a:t>New Migration Whitepaper</a:t>
            </a:r>
          </a:p>
          <a:p>
            <a:pPr marL="0" indent="0" defTabSz="699557">
              <a:buNone/>
              <a:defRPr/>
            </a:pPr>
            <a:r>
              <a:rPr lang="en-US" sz="1350" b="1" dirty="0">
                <a:gradFill>
                  <a:gsLst>
                    <a:gs pos="1250">
                      <a:srgbClr val="3F3F3F"/>
                    </a:gs>
                    <a:gs pos="100000">
                      <a:srgbClr val="3F3F3F"/>
                    </a:gs>
                  </a:gsLst>
                  <a:lin ang="5400000" scaled="0"/>
                </a:gradFill>
                <a:latin typeface="Segoe UI Light"/>
              </a:rPr>
              <a:t>15 Year Microsoft Veteran</a:t>
            </a:r>
          </a:p>
          <a:p>
            <a:pPr marL="0" indent="0" defTabSz="699557">
              <a:buNone/>
              <a:defRPr/>
            </a:pPr>
            <a:endParaRPr lang="en-US" sz="1350" dirty="0">
              <a:gradFill>
                <a:gsLst>
                  <a:gs pos="1250">
                    <a:srgbClr val="3F3F3F"/>
                  </a:gs>
                  <a:gs pos="100000">
                    <a:srgbClr val="3F3F3F"/>
                  </a:gs>
                </a:gsLst>
                <a:lin ang="5400000" scaled="0"/>
              </a:gradFill>
              <a:latin typeface="Segoe UI Light"/>
            </a:endParaRPr>
          </a:p>
        </p:txBody>
      </p:sp>
      <p:pic>
        <p:nvPicPr>
          <p:cNvPr id="19" name="Picture 18">
            <a:extLst>
              <a:ext uri="{FF2B5EF4-FFF2-40B4-BE49-F238E27FC236}">
                <a16:creationId xmlns:a16="http://schemas.microsoft.com/office/drawing/2014/main" id="{8C3B02F0-F61F-461E-8258-261CFE036672}"/>
              </a:ext>
            </a:extLst>
          </p:cNvPr>
          <p:cNvPicPr>
            <a:picLocks noChangeAspect="1"/>
          </p:cNvPicPr>
          <p:nvPr/>
        </p:nvPicPr>
        <p:blipFill>
          <a:blip r:embed="rId3"/>
          <a:stretch>
            <a:fillRect/>
          </a:stretch>
        </p:blipFill>
        <p:spPr>
          <a:xfrm>
            <a:off x="4304782" y="2942337"/>
            <a:ext cx="1410218" cy="1752300"/>
          </a:xfrm>
          <a:prstGeom prst="rect">
            <a:avLst/>
          </a:prstGeom>
        </p:spPr>
      </p:pic>
      <p:pic>
        <p:nvPicPr>
          <p:cNvPr id="9" name="Picture 8">
            <a:extLst>
              <a:ext uri="{FF2B5EF4-FFF2-40B4-BE49-F238E27FC236}">
                <a16:creationId xmlns:a16="http://schemas.microsoft.com/office/drawing/2014/main" id="{8E5922EF-53CC-4248-9F55-9D9EBDB8DD3A}"/>
              </a:ext>
            </a:extLst>
          </p:cNvPr>
          <p:cNvPicPr>
            <a:picLocks noChangeAspect="1"/>
          </p:cNvPicPr>
          <p:nvPr/>
        </p:nvPicPr>
        <p:blipFill>
          <a:blip r:embed="rId4"/>
          <a:stretch>
            <a:fillRect/>
          </a:stretch>
        </p:blipFill>
        <p:spPr>
          <a:xfrm>
            <a:off x="7505182" y="2949429"/>
            <a:ext cx="1326185" cy="1679510"/>
          </a:xfrm>
          <a:prstGeom prst="rect">
            <a:avLst/>
          </a:prstGeom>
        </p:spPr>
      </p:pic>
      <p:pic>
        <p:nvPicPr>
          <p:cNvPr id="1030" name="Picture 6" descr="Image result for mvp vertical logo">
            <a:extLst>
              <a:ext uri="{FF2B5EF4-FFF2-40B4-BE49-F238E27FC236}">
                <a16:creationId xmlns:a16="http://schemas.microsoft.com/office/drawing/2014/main" id="{CB584203-374F-4AA1-A5E0-16403DB21CB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48000" y="1451314"/>
            <a:ext cx="824952" cy="137492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83869389-BF32-4FDE-B38E-B206BA1B77E1}"/>
              </a:ext>
            </a:extLst>
          </p:cNvPr>
          <p:cNvPicPr>
            <a:picLocks noChangeAspect="1"/>
          </p:cNvPicPr>
          <p:nvPr/>
        </p:nvPicPr>
        <p:blipFill>
          <a:blip r:embed="rId6"/>
          <a:stretch>
            <a:fillRect/>
          </a:stretch>
        </p:blipFill>
        <p:spPr>
          <a:xfrm>
            <a:off x="5867400" y="2949429"/>
            <a:ext cx="1447800" cy="1758637"/>
          </a:xfrm>
          <a:prstGeom prst="rect">
            <a:avLst/>
          </a:prstGeom>
        </p:spPr>
      </p:pic>
      <p:sp>
        <p:nvSpPr>
          <p:cNvPr id="5" name="Rectangle 4">
            <a:extLst>
              <a:ext uri="{FF2B5EF4-FFF2-40B4-BE49-F238E27FC236}">
                <a16:creationId xmlns:a16="http://schemas.microsoft.com/office/drawing/2014/main" id="{E43A13E2-7003-457B-AA6B-1A95484C1A12}"/>
              </a:ext>
            </a:extLst>
          </p:cNvPr>
          <p:cNvSpPr/>
          <p:nvPr/>
        </p:nvSpPr>
        <p:spPr>
          <a:xfrm>
            <a:off x="5257800" y="4737107"/>
            <a:ext cx="2736647" cy="369332"/>
          </a:xfrm>
          <a:prstGeom prst="rect">
            <a:avLst/>
          </a:prstGeom>
        </p:spPr>
        <p:txBody>
          <a:bodyPr wrap="none">
            <a:spAutoFit/>
          </a:bodyPr>
          <a:lstStyle/>
          <a:p>
            <a:r>
              <a:rPr lang="en-US" dirty="0">
                <a:hlinkClick r:id="rId7"/>
              </a:rPr>
              <a:t>http://aka.ms/smartpaper</a:t>
            </a:r>
            <a:endParaRPr lang="en-US" dirty="0"/>
          </a:p>
        </p:txBody>
      </p:sp>
      <p:pic>
        <p:nvPicPr>
          <p:cNvPr id="12" name="Picture 11">
            <a:extLst>
              <a:ext uri="{FF2B5EF4-FFF2-40B4-BE49-F238E27FC236}">
                <a16:creationId xmlns:a16="http://schemas.microsoft.com/office/drawing/2014/main" id="{EE9E2C91-63BA-48B9-AA2D-2EBE55491A88}"/>
              </a:ext>
            </a:extLst>
          </p:cNvPr>
          <p:cNvPicPr>
            <a:picLocks noChangeAspect="1"/>
          </p:cNvPicPr>
          <p:nvPr/>
        </p:nvPicPr>
        <p:blipFill>
          <a:blip r:embed="rId8"/>
          <a:stretch>
            <a:fillRect/>
          </a:stretch>
        </p:blipFill>
        <p:spPr>
          <a:xfrm>
            <a:off x="4282136" y="361950"/>
            <a:ext cx="4687973" cy="780980"/>
          </a:xfrm>
          <a:prstGeom prst="rect">
            <a:avLst/>
          </a:prstGeom>
        </p:spPr>
      </p:pic>
      <p:sp>
        <p:nvSpPr>
          <p:cNvPr id="6" name="Picture Placeholder 5">
            <a:extLst>
              <a:ext uri="{FF2B5EF4-FFF2-40B4-BE49-F238E27FC236}">
                <a16:creationId xmlns:a16="http://schemas.microsoft.com/office/drawing/2014/main" id="{B82462D5-8F38-2C44-AF17-6DC9B6151750}"/>
              </a:ext>
            </a:extLst>
          </p:cNvPr>
          <p:cNvSpPr>
            <a:spLocks noGrp="1"/>
          </p:cNvSpPr>
          <p:nvPr>
            <p:ph type="pic" sz="quarter" idx="10"/>
          </p:nvPr>
        </p:nvSpPr>
        <p:spPr/>
      </p:sp>
      <p:pic>
        <p:nvPicPr>
          <p:cNvPr id="1026" name="Picture 2">
            <a:extLst>
              <a:ext uri="{FF2B5EF4-FFF2-40B4-BE49-F238E27FC236}">
                <a16:creationId xmlns:a16="http://schemas.microsoft.com/office/drawing/2014/main" id="{1D2F78EC-E19D-A742-B050-B6C82C88F64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9261" y="868774"/>
            <a:ext cx="2540000" cy="25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271739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zure Front Door</a:t>
            </a:r>
          </a:p>
        </p:txBody>
      </p:sp>
      <p:sp>
        <p:nvSpPr>
          <p:cNvPr id="6" name="Text Placeholder 5"/>
          <p:cNvSpPr>
            <a:spLocks noGrp="1"/>
          </p:cNvSpPr>
          <p:nvPr>
            <p:ph type="body" sz="quarter" idx="10"/>
          </p:nvPr>
        </p:nvSpPr>
        <p:spPr>
          <a:xfrm>
            <a:off x="329845" y="806834"/>
            <a:ext cx="6197918" cy="957955"/>
          </a:xfrm>
        </p:spPr>
        <p:txBody>
          <a:bodyPr/>
          <a:lstStyle/>
          <a:p>
            <a:r>
              <a:rPr lang="en-US"/>
              <a:t>Azure Front Door Service provides a </a:t>
            </a:r>
            <a:r>
              <a:rPr lang="en-US" sz="2025">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scalable and secure entry point </a:t>
            </a:r>
            <a:br>
              <a:rPr lang="en-US"/>
            </a:br>
            <a:r>
              <a:rPr lang="en-US"/>
              <a:t>for fast delivery of your global web applications</a:t>
            </a:r>
          </a:p>
        </p:txBody>
      </p:sp>
      <p:sp>
        <p:nvSpPr>
          <p:cNvPr id="3" name="TextBox 2">
            <a:extLst>
              <a:ext uri="{FF2B5EF4-FFF2-40B4-BE49-F238E27FC236}">
                <a16:creationId xmlns:a16="http://schemas.microsoft.com/office/drawing/2014/main" id="{8C4BED65-AE8F-A243-A50F-365A2DD6EFE0}"/>
              </a:ext>
            </a:extLst>
          </p:cNvPr>
          <p:cNvSpPr txBox="1"/>
          <p:nvPr/>
        </p:nvSpPr>
        <p:spPr>
          <a:xfrm>
            <a:off x="434549" y="2014154"/>
            <a:ext cx="4370243" cy="1615827"/>
          </a:xfrm>
          <a:prstGeom prst="rect">
            <a:avLst/>
          </a:prstGeom>
          <a:noFill/>
        </p:spPr>
        <p:txBody>
          <a:bodyPr wrap="square" lIns="0" tIns="0" rIns="0" bIns="0" rtlCol="0">
            <a:spAutoFit/>
          </a:bodyPr>
          <a:lstStyle/>
          <a:p>
            <a:pPr defTabSz="685775" eaLnBrk="1" fontAlgn="auto" hangingPunct="1">
              <a:spcBef>
                <a:spcPts val="0"/>
              </a:spcBef>
              <a:spcAft>
                <a:spcPts val="0"/>
              </a:spcAft>
            </a:pPr>
            <a:r>
              <a:rPr lang="en-US" sz="1500" b="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SSL offload and application acceleration</a:t>
            </a:r>
          </a:p>
          <a:p>
            <a:pPr defTabSz="685775" eaLnBrk="1" fontAlgn="auto" hangingPunct="1">
              <a:spcBef>
                <a:spcPts val="0"/>
              </a:spcBef>
              <a:spcAft>
                <a:spcPts val="0"/>
              </a:spcAft>
            </a:pPr>
            <a:endParaRPr lang="en-US" sz="1500" b="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endParaRPr>
          </a:p>
          <a:p>
            <a:pPr defTabSz="685775" eaLnBrk="1" fontAlgn="auto" hangingPunct="1">
              <a:spcBef>
                <a:spcPts val="0"/>
              </a:spcBef>
              <a:spcAft>
                <a:spcPts val="0"/>
              </a:spcAft>
            </a:pPr>
            <a:r>
              <a:rPr lang="en-US" sz="1500" b="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Global HTTP load balancing with instant failover</a:t>
            </a:r>
          </a:p>
          <a:p>
            <a:pPr defTabSz="685775" eaLnBrk="1" fontAlgn="auto" hangingPunct="1">
              <a:spcBef>
                <a:spcPts val="0"/>
              </a:spcBef>
              <a:spcAft>
                <a:spcPts val="0"/>
              </a:spcAft>
            </a:pPr>
            <a:endParaRPr lang="en-US" sz="1500">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endParaRPr>
          </a:p>
          <a:p>
            <a:pPr defTabSz="685775" eaLnBrk="1" fontAlgn="auto" hangingPunct="1">
              <a:spcBef>
                <a:spcPts val="0"/>
              </a:spcBef>
              <a:spcAft>
                <a:spcPts val="0"/>
              </a:spcAft>
            </a:pPr>
            <a:r>
              <a:rPr lang="en-US" sz="1500" b="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Application Firewall and DDoS protection</a:t>
            </a:r>
          </a:p>
          <a:p>
            <a:pPr defTabSz="685775" eaLnBrk="1" fontAlgn="auto" hangingPunct="1">
              <a:spcBef>
                <a:spcPts val="0"/>
              </a:spcBef>
              <a:spcAft>
                <a:spcPts val="0"/>
              </a:spcAft>
            </a:pPr>
            <a:endParaRPr lang="en-US" sz="1500" b="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endParaRPr>
          </a:p>
          <a:p>
            <a:pPr defTabSz="685775" eaLnBrk="1" fontAlgn="auto" hangingPunct="1">
              <a:spcBef>
                <a:spcPts val="0"/>
              </a:spcBef>
              <a:spcAft>
                <a:spcPts val="0"/>
              </a:spcAft>
            </a:pPr>
            <a:r>
              <a:rPr lang="en-US" sz="1500" b="1">
                <a:gradFill>
                  <a:gsLst>
                    <a:gs pos="2917">
                      <a:srgbClr val="000000"/>
                    </a:gs>
                    <a:gs pos="30000">
                      <a:srgbClr val="000000"/>
                    </a:gs>
                  </a:gsLst>
                  <a:lin ang="5400000" scaled="0"/>
                </a:gradFill>
                <a:latin typeface="Segoe UI Semilight" panose="020B0402040204020203" pitchFamily="34" charset="0"/>
                <a:cs typeface="Segoe UI Semilight" panose="020B0402040204020203" pitchFamily="34" charset="0"/>
              </a:rPr>
              <a:t>Centralized traffic orchestration view</a:t>
            </a:r>
          </a:p>
        </p:txBody>
      </p:sp>
      <p:pic>
        <p:nvPicPr>
          <p:cNvPr id="4" name="Picture 3" descr="An Azure Front Door diagram">
            <a:extLst>
              <a:ext uri="{FF2B5EF4-FFF2-40B4-BE49-F238E27FC236}">
                <a16:creationId xmlns:a16="http://schemas.microsoft.com/office/drawing/2014/main" id="{53FE4CA9-A8AF-A14C-B583-636DA1C1A0D0}"/>
              </a:ext>
            </a:extLst>
          </p:cNvPr>
          <p:cNvPicPr>
            <a:picLocks noChangeAspect="1"/>
          </p:cNvPicPr>
          <p:nvPr/>
        </p:nvPicPr>
        <p:blipFill>
          <a:blip r:embed="rId3"/>
          <a:stretch>
            <a:fillRect/>
          </a:stretch>
        </p:blipFill>
        <p:spPr>
          <a:xfrm>
            <a:off x="5303301" y="1983417"/>
            <a:ext cx="3546685" cy="2831324"/>
          </a:xfrm>
          <a:prstGeom prst="rect">
            <a:avLst/>
          </a:prstGeom>
        </p:spPr>
      </p:pic>
    </p:spTree>
    <p:extLst>
      <p:ext uri="{BB962C8B-B14F-4D97-AF65-F5344CB8AC3E}">
        <p14:creationId xmlns:p14="http://schemas.microsoft.com/office/powerpoint/2010/main" val="298970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BBFE7DDB-1CE1-EB49-AB63-355886E80D45}"/>
              </a:ext>
            </a:extLst>
          </p:cNvPr>
          <p:cNvSpPr>
            <a:spLocks noGrp="1"/>
          </p:cNvSpPr>
          <p:nvPr>
            <p:ph type="title"/>
          </p:nvPr>
        </p:nvSpPr>
        <p:spPr>
          <a:xfrm>
            <a:off x="441197" y="671513"/>
            <a:ext cx="4246462" cy="369332"/>
          </a:xfrm>
        </p:spPr>
        <p:txBody>
          <a:bodyPr/>
          <a:lstStyle/>
          <a:p>
            <a:r>
              <a:rPr lang="en-US" sz="2400" dirty="0"/>
              <a:t>Azure Web Application Firewall</a:t>
            </a:r>
          </a:p>
        </p:txBody>
      </p:sp>
      <p:sp>
        <p:nvSpPr>
          <p:cNvPr id="44" name="Text Placeholder 3">
            <a:extLst>
              <a:ext uri="{FF2B5EF4-FFF2-40B4-BE49-F238E27FC236}">
                <a16:creationId xmlns:a16="http://schemas.microsoft.com/office/drawing/2014/main" id="{FE388EE9-DB75-42DC-97F1-E6AC1FC084F5}"/>
              </a:ext>
            </a:extLst>
          </p:cNvPr>
          <p:cNvSpPr txBox="1">
            <a:spLocks/>
          </p:cNvSpPr>
          <p:nvPr/>
        </p:nvSpPr>
        <p:spPr>
          <a:xfrm>
            <a:off x="344646" y="1397002"/>
            <a:ext cx="3916686" cy="3528514"/>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685800" fontAlgn="auto">
              <a:spcBef>
                <a:spcPts val="1350"/>
              </a:spcBef>
              <a:spcAft>
                <a:spcPts val="0"/>
              </a:spcAft>
              <a:buSzPct val="110000"/>
              <a:defRPr/>
            </a:pPr>
            <a:endParaRPr lang="en-US" sz="1028">
              <a:solidFill>
                <a:srgbClr val="FFFFFF"/>
              </a:solidFill>
              <a:latin typeface="Segoe UI"/>
              <a:cs typeface="Segoe UI" panose="020B0502040204020203" pitchFamily="34" charset="0"/>
            </a:endParaRPr>
          </a:p>
        </p:txBody>
      </p:sp>
      <p:pic>
        <p:nvPicPr>
          <p:cNvPr id="23" name="Graphic 22">
            <a:extLst>
              <a:ext uri="{FF2B5EF4-FFF2-40B4-BE49-F238E27FC236}">
                <a16:creationId xmlns:a16="http://schemas.microsoft.com/office/drawing/2014/main" id="{434E933B-DEAB-4FA3-A5E3-47DE6F8373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1198" y="375136"/>
            <a:ext cx="321154" cy="307004"/>
          </a:xfrm>
          <a:prstGeom prst="rect">
            <a:avLst/>
          </a:prstGeom>
        </p:spPr>
      </p:pic>
      <p:grpSp>
        <p:nvGrpSpPr>
          <p:cNvPr id="75" name="Group 74">
            <a:extLst>
              <a:ext uri="{FF2B5EF4-FFF2-40B4-BE49-F238E27FC236}">
                <a16:creationId xmlns:a16="http://schemas.microsoft.com/office/drawing/2014/main" id="{D3B4DBA5-9FC5-4197-94EF-2689D52DE639}"/>
              </a:ext>
            </a:extLst>
          </p:cNvPr>
          <p:cNvGrpSpPr/>
          <p:nvPr/>
        </p:nvGrpSpPr>
        <p:grpSpPr>
          <a:xfrm>
            <a:off x="5278816" y="503851"/>
            <a:ext cx="3511331" cy="4098617"/>
            <a:chOff x="7127321" y="671800"/>
            <a:chExt cx="4681774" cy="5464823"/>
          </a:xfrm>
        </p:grpSpPr>
        <p:grpSp>
          <p:nvGrpSpPr>
            <p:cNvPr id="64" name="Group 63">
              <a:extLst>
                <a:ext uri="{FF2B5EF4-FFF2-40B4-BE49-F238E27FC236}">
                  <a16:creationId xmlns:a16="http://schemas.microsoft.com/office/drawing/2014/main" id="{F749EC5A-D71E-4582-BC7E-EF8569B8DFE0}"/>
                </a:ext>
              </a:extLst>
            </p:cNvPr>
            <p:cNvGrpSpPr/>
            <p:nvPr/>
          </p:nvGrpSpPr>
          <p:grpSpPr>
            <a:xfrm>
              <a:off x="7127321" y="1146038"/>
              <a:ext cx="1540429" cy="530361"/>
              <a:chOff x="7127321" y="1146038"/>
              <a:chExt cx="1540429" cy="530361"/>
            </a:xfrm>
          </p:grpSpPr>
          <p:grpSp>
            <p:nvGrpSpPr>
              <p:cNvPr id="88" name="Group 87">
                <a:extLst>
                  <a:ext uri="{FF2B5EF4-FFF2-40B4-BE49-F238E27FC236}">
                    <a16:creationId xmlns:a16="http://schemas.microsoft.com/office/drawing/2014/main" id="{E344A751-B399-4B46-9BC1-529451B12F79}"/>
                  </a:ext>
                </a:extLst>
              </p:cNvPr>
              <p:cNvGrpSpPr/>
              <p:nvPr/>
            </p:nvGrpSpPr>
            <p:grpSpPr>
              <a:xfrm>
                <a:off x="7127321" y="1146038"/>
                <a:ext cx="825258" cy="530361"/>
                <a:chOff x="7188292" y="3303816"/>
                <a:chExt cx="627856" cy="403498"/>
              </a:xfrm>
            </p:grpSpPr>
            <p:pic>
              <p:nvPicPr>
                <p:cNvPr id="123" name="Graphic 122">
                  <a:extLst>
                    <a:ext uri="{FF2B5EF4-FFF2-40B4-BE49-F238E27FC236}">
                      <a16:creationId xmlns:a16="http://schemas.microsoft.com/office/drawing/2014/main" id="{D077E7B6-83B3-4E38-827F-8C3CF1D36F7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88292" y="3303816"/>
                  <a:ext cx="365033" cy="365033"/>
                </a:xfrm>
                <a:prstGeom prst="rect">
                  <a:avLst/>
                </a:prstGeom>
              </p:spPr>
            </p:pic>
            <p:grpSp>
              <p:nvGrpSpPr>
                <p:cNvPr id="124" name="laptop" descr="laptop">
                  <a:extLst>
                    <a:ext uri="{FF2B5EF4-FFF2-40B4-BE49-F238E27FC236}">
                      <a16:creationId xmlns:a16="http://schemas.microsoft.com/office/drawing/2014/main" id="{4288BA74-11D8-4052-85B8-820623255BA4}"/>
                    </a:ext>
                  </a:extLst>
                </p:cNvPr>
                <p:cNvGrpSpPr/>
                <p:nvPr/>
              </p:nvGrpSpPr>
              <p:grpSpPr>
                <a:xfrm>
                  <a:off x="7432404" y="3427070"/>
                  <a:ext cx="383744" cy="280244"/>
                  <a:chOff x="5884864" y="1174751"/>
                  <a:chExt cx="382588" cy="279400"/>
                </a:xfrm>
              </p:grpSpPr>
              <p:sp>
                <p:nvSpPr>
                  <p:cNvPr id="125" name="Freeform 51">
                    <a:extLst>
                      <a:ext uri="{FF2B5EF4-FFF2-40B4-BE49-F238E27FC236}">
                        <a16:creationId xmlns:a16="http://schemas.microsoft.com/office/drawing/2014/main" id="{011C9E90-F5FA-4E4A-9E12-16990C98F1AD}"/>
                      </a:ext>
                    </a:extLst>
                  </p:cNvPr>
                  <p:cNvSpPr>
                    <a:spLocks/>
                  </p:cNvSpPr>
                  <p:nvPr/>
                </p:nvSpPr>
                <p:spPr bwMode="auto">
                  <a:xfrm>
                    <a:off x="5884864" y="1260476"/>
                    <a:ext cx="382588" cy="193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accent1"/>
                  </a:solidFill>
                  <a:ln>
                    <a:noFill/>
                  </a:ln>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1250">
                      <a:solidFill>
                        <a:srgbClr val="505050"/>
                      </a:solidFill>
                      <a:latin typeface="Segoe UI"/>
                    </a:endParaRPr>
                  </a:p>
                </p:txBody>
              </p:sp>
              <p:sp>
                <p:nvSpPr>
                  <p:cNvPr id="126" name="Freeform 52">
                    <a:extLst>
                      <a:ext uri="{FF2B5EF4-FFF2-40B4-BE49-F238E27FC236}">
                        <a16:creationId xmlns:a16="http://schemas.microsoft.com/office/drawing/2014/main" id="{55FC6F5C-671D-42F1-B101-D9A9437CE92A}"/>
                      </a:ext>
                    </a:extLst>
                  </p:cNvPr>
                  <p:cNvSpPr>
                    <a:spLocks/>
                  </p:cNvSpPr>
                  <p:nvPr/>
                </p:nvSpPr>
                <p:spPr bwMode="auto">
                  <a:xfrm>
                    <a:off x="5946776" y="1174751"/>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1250">
                      <a:solidFill>
                        <a:srgbClr val="505050"/>
                      </a:solidFill>
                      <a:latin typeface="Segoe UI"/>
                    </a:endParaRPr>
                  </a:p>
                </p:txBody>
              </p:sp>
              <p:sp>
                <p:nvSpPr>
                  <p:cNvPr id="127" name="Freeform 174">
                    <a:extLst>
                      <a:ext uri="{FF2B5EF4-FFF2-40B4-BE49-F238E27FC236}">
                        <a16:creationId xmlns:a16="http://schemas.microsoft.com/office/drawing/2014/main" id="{8CAF7D5E-18D2-42E6-9DB0-D4F93077B5E2}"/>
                      </a:ext>
                    </a:extLst>
                  </p:cNvPr>
                  <p:cNvSpPr>
                    <a:spLocks/>
                  </p:cNvSpPr>
                  <p:nvPr/>
                </p:nvSpPr>
                <p:spPr bwMode="auto">
                  <a:xfrm>
                    <a:off x="5946776" y="1174751"/>
                    <a:ext cx="222250" cy="182563"/>
                  </a:xfrm>
                  <a:custGeom>
                    <a:avLst/>
                    <a:gdLst>
                      <a:gd name="T0" fmla="*/ 0 w 132"/>
                      <a:gd name="T1" fmla="*/ 109 h 109"/>
                      <a:gd name="T2" fmla="*/ 23 w 132"/>
                      <a:gd name="T3" fmla="*/ 109 h 109"/>
                      <a:gd name="T4" fmla="*/ 132 w 132"/>
                      <a:gd name="T5" fmla="*/ 0 h 109"/>
                      <a:gd name="T6" fmla="*/ 6 w 132"/>
                      <a:gd name="T7" fmla="*/ 0 h 109"/>
                      <a:gd name="T8" fmla="*/ 0 w 132"/>
                      <a:gd name="T9" fmla="*/ 6 h 109"/>
                      <a:gd name="T10" fmla="*/ 0 w 132"/>
                      <a:gd name="T11" fmla="*/ 109 h 109"/>
                    </a:gdLst>
                    <a:ahLst/>
                    <a:cxnLst>
                      <a:cxn ang="0">
                        <a:pos x="T0" y="T1"/>
                      </a:cxn>
                      <a:cxn ang="0">
                        <a:pos x="T2" y="T3"/>
                      </a:cxn>
                      <a:cxn ang="0">
                        <a:pos x="T4" y="T5"/>
                      </a:cxn>
                      <a:cxn ang="0">
                        <a:pos x="T6" y="T7"/>
                      </a:cxn>
                      <a:cxn ang="0">
                        <a:pos x="T8" y="T9"/>
                      </a:cxn>
                      <a:cxn ang="0">
                        <a:pos x="T10" y="T11"/>
                      </a:cxn>
                    </a:cxnLst>
                    <a:rect l="0" t="0" r="r" b="b"/>
                    <a:pathLst>
                      <a:path w="132" h="109">
                        <a:moveTo>
                          <a:pt x="0" y="109"/>
                        </a:moveTo>
                        <a:cubicBezTo>
                          <a:pt x="23" y="109"/>
                          <a:pt x="23" y="109"/>
                          <a:pt x="23" y="109"/>
                        </a:cubicBezTo>
                        <a:cubicBezTo>
                          <a:pt x="132" y="0"/>
                          <a:pt x="132" y="0"/>
                          <a:pt x="132" y="0"/>
                        </a:cubicBezTo>
                        <a:cubicBezTo>
                          <a:pt x="6" y="0"/>
                          <a:pt x="6" y="0"/>
                          <a:pt x="6" y="0"/>
                        </a:cubicBezTo>
                        <a:cubicBezTo>
                          <a:pt x="2" y="0"/>
                          <a:pt x="0" y="3"/>
                          <a:pt x="0" y="6"/>
                        </a:cubicBezTo>
                        <a:lnTo>
                          <a:pt x="0" y="109"/>
                        </a:lnTo>
                        <a:close/>
                      </a:path>
                    </a:pathLst>
                  </a:custGeom>
                  <a:solidFill>
                    <a:schemeClr val="accent1"/>
                  </a:solidFill>
                  <a:ln>
                    <a:noFill/>
                  </a:ln>
                </p:spPr>
                <p:txBody>
                  <a:bodyPr vert="horz" wrap="square" lIns="67232" tIns="33616" rIns="67232" bIns="33616" numCol="1" anchor="t" anchorCtr="0" compatLnSpc="1">
                    <a:prstTxWarp prst="textNoShape">
                      <a:avLst/>
                    </a:prstTxWarp>
                  </a:bodyPr>
                  <a:lstStyle/>
                  <a:p>
                    <a:pPr algn="ctr" defTabSz="672290" eaLnBrk="1" hangingPunct="1">
                      <a:spcBef>
                        <a:spcPts val="0"/>
                      </a:spcBef>
                      <a:spcAft>
                        <a:spcPts val="0"/>
                      </a:spcAft>
                      <a:defRPr/>
                    </a:pPr>
                    <a:endParaRPr lang="en-US" sz="1250">
                      <a:solidFill>
                        <a:srgbClr val="505050"/>
                      </a:solidFill>
                      <a:latin typeface="Segoe UI"/>
                    </a:endParaRPr>
                  </a:p>
                </p:txBody>
              </p:sp>
            </p:grpSp>
          </p:grpSp>
          <p:cxnSp>
            <p:nvCxnSpPr>
              <p:cNvPr id="89" name="Straight Connector 88">
                <a:extLst>
                  <a:ext uri="{FF2B5EF4-FFF2-40B4-BE49-F238E27FC236}">
                    <a16:creationId xmlns:a16="http://schemas.microsoft.com/office/drawing/2014/main" id="{C8AA448D-FCAD-41B4-81CF-0196EB378013}"/>
                  </a:ext>
                </a:extLst>
              </p:cNvPr>
              <p:cNvCxnSpPr>
                <a:cxnSpLocks/>
              </p:cNvCxnSpPr>
              <p:nvPr/>
            </p:nvCxnSpPr>
            <p:spPr>
              <a:xfrm>
                <a:off x="8030744" y="1438713"/>
                <a:ext cx="637006" cy="0"/>
              </a:xfrm>
              <a:prstGeom prst="line">
                <a:avLst/>
              </a:prstGeom>
              <a:ln w="12700">
                <a:solidFill>
                  <a:schemeClr val="tx1"/>
                </a:solidFill>
                <a:miter lim="800000"/>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FA723C94-D5A3-4386-A357-E4D6244B0DA0}"/>
                </a:ext>
              </a:extLst>
            </p:cNvPr>
            <p:cNvGrpSpPr/>
            <p:nvPr/>
          </p:nvGrpSpPr>
          <p:grpSpPr>
            <a:xfrm>
              <a:off x="7183498" y="2827021"/>
              <a:ext cx="4227453" cy="1510840"/>
              <a:chOff x="7183498" y="2827021"/>
              <a:chExt cx="4227453" cy="1510840"/>
            </a:xfrm>
          </p:grpSpPr>
          <p:grpSp>
            <p:nvGrpSpPr>
              <p:cNvPr id="38" name="Group 37">
                <a:extLst>
                  <a:ext uri="{FF2B5EF4-FFF2-40B4-BE49-F238E27FC236}">
                    <a16:creationId xmlns:a16="http://schemas.microsoft.com/office/drawing/2014/main" id="{41C669CA-40BC-464E-B2B4-C1FB5F6DF2ED}"/>
                  </a:ext>
                </a:extLst>
              </p:cNvPr>
              <p:cNvGrpSpPr/>
              <p:nvPr/>
            </p:nvGrpSpPr>
            <p:grpSpPr>
              <a:xfrm>
                <a:off x="8149590" y="4110179"/>
                <a:ext cx="2265045" cy="227682"/>
                <a:chOff x="8149590" y="3743325"/>
                <a:chExt cx="2265045" cy="590550"/>
              </a:xfrm>
            </p:grpSpPr>
            <p:cxnSp>
              <p:nvCxnSpPr>
                <p:cNvPr id="95" name="Straight Connector 94">
                  <a:extLst>
                    <a:ext uri="{FF2B5EF4-FFF2-40B4-BE49-F238E27FC236}">
                      <a16:creationId xmlns:a16="http://schemas.microsoft.com/office/drawing/2014/main" id="{899685CC-B363-4308-BE88-66AF7C434171}"/>
                    </a:ext>
                  </a:extLst>
                </p:cNvPr>
                <p:cNvCxnSpPr>
                  <a:cxnSpLocks/>
                </p:cNvCxnSpPr>
                <p:nvPr/>
              </p:nvCxnSpPr>
              <p:spPr>
                <a:xfrm>
                  <a:off x="8149590" y="3743325"/>
                  <a:ext cx="0" cy="590550"/>
                </a:xfrm>
                <a:prstGeom prst="line">
                  <a:avLst/>
                </a:prstGeom>
                <a:ln w="12700">
                  <a:solidFill>
                    <a:schemeClr val="tx1"/>
                  </a:solidFill>
                  <a:miter lim="800000"/>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CE9E2740-A708-465E-909A-195F78239FB6}"/>
                    </a:ext>
                  </a:extLst>
                </p:cNvPr>
                <p:cNvCxnSpPr>
                  <a:cxnSpLocks/>
                </p:cNvCxnSpPr>
                <p:nvPr/>
              </p:nvCxnSpPr>
              <p:spPr>
                <a:xfrm>
                  <a:off x="10414635" y="3743325"/>
                  <a:ext cx="0" cy="590550"/>
                </a:xfrm>
                <a:prstGeom prst="line">
                  <a:avLst/>
                </a:prstGeom>
                <a:ln w="12700">
                  <a:solidFill>
                    <a:schemeClr val="tx1"/>
                  </a:solidFill>
                  <a:miter lim="800000"/>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7A61059A-D81B-4D71-8893-31CE9726454D}"/>
                  </a:ext>
                </a:extLst>
              </p:cNvPr>
              <p:cNvGrpSpPr/>
              <p:nvPr/>
            </p:nvGrpSpPr>
            <p:grpSpPr>
              <a:xfrm>
                <a:off x="7183498" y="2861431"/>
                <a:ext cx="1992631" cy="1276350"/>
                <a:chOff x="7278748" y="2510911"/>
                <a:chExt cx="1992631" cy="1276350"/>
              </a:xfrm>
            </p:grpSpPr>
            <p:sp>
              <p:nvSpPr>
                <p:cNvPr id="131" name="04R">
                  <a:extLst>
                    <a:ext uri="{FF2B5EF4-FFF2-40B4-BE49-F238E27FC236}">
                      <a16:creationId xmlns:a16="http://schemas.microsoft.com/office/drawing/2014/main" id="{3A277A79-C1DB-437B-8F57-82469EC0C4BA}"/>
                    </a:ext>
                  </a:extLst>
                </p:cNvPr>
                <p:cNvSpPr/>
                <p:nvPr/>
              </p:nvSpPr>
              <p:spPr bwMode="auto">
                <a:xfrm>
                  <a:off x="7278748" y="2510911"/>
                  <a:ext cx="1992631" cy="1276350"/>
                </a:xfrm>
                <a:prstGeom prst="rect">
                  <a:avLst/>
                </a:prstGeom>
                <a:solidFill>
                  <a:schemeClr val="bg1"/>
                </a:solid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algn="ctr" defTabSz="699354" eaLnBrk="1" hangingPunct="1">
                    <a:defRPr/>
                  </a:pPr>
                  <a:r>
                    <a:rPr lang="en-US" sz="900" dirty="0">
                      <a:solidFill>
                        <a:schemeClr val="tx1"/>
                      </a:solidFill>
                      <a:latin typeface="Segoe UI Semibold"/>
                      <a:cs typeface="Segoe UI" pitchFamily="34" charset="0"/>
                    </a:rPr>
                    <a:t>Azure Global WAF</a:t>
                  </a:r>
                  <a:br>
                    <a:rPr lang="en-US" sz="900" dirty="0">
                      <a:solidFill>
                        <a:schemeClr val="tx1"/>
                      </a:solidFill>
                      <a:latin typeface="Segoe UI Semibold"/>
                      <a:cs typeface="Segoe UI" pitchFamily="34" charset="0"/>
                    </a:rPr>
                  </a:br>
                  <a:r>
                    <a:rPr lang="en-US" sz="900" dirty="0">
                      <a:solidFill>
                        <a:schemeClr val="tx1"/>
                      </a:solidFill>
                      <a:latin typeface="Segoe UI Semibold"/>
                      <a:cs typeface="Segoe UI" pitchFamily="34" charset="0"/>
                    </a:rPr>
                    <a:t>(Front Door)</a:t>
                  </a:r>
                </a:p>
              </p:txBody>
            </p:sp>
            <p:pic>
              <p:nvPicPr>
                <p:cNvPr id="170" name="Graphic 169">
                  <a:extLst>
                    <a:ext uri="{FF2B5EF4-FFF2-40B4-BE49-F238E27FC236}">
                      <a16:creationId xmlns:a16="http://schemas.microsoft.com/office/drawing/2014/main" id="{3CE9BEFC-CF7D-45C8-B00C-6C4B4D41582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94339" y="3111264"/>
                  <a:ext cx="503286" cy="503286"/>
                </a:xfrm>
                <a:prstGeom prst="rect">
                  <a:avLst/>
                </a:prstGeom>
              </p:spPr>
            </p:pic>
            <p:pic>
              <p:nvPicPr>
                <p:cNvPr id="171" name="Graphic 170">
                  <a:extLst>
                    <a:ext uri="{FF2B5EF4-FFF2-40B4-BE49-F238E27FC236}">
                      <a16:creationId xmlns:a16="http://schemas.microsoft.com/office/drawing/2014/main" id="{43F8A77A-52CF-4D32-BDA6-B1E660F11CD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32907" y="3162894"/>
                  <a:ext cx="415638" cy="426843"/>
                </a:xfrm>
                <a:prstGeom prst="rect">
                  <a:avLst/>
                </a:prstGeom>
              </p:spPr>
            </p:pic>
          </p:grpSp>
          <p:sp>
            <p:nvSpPr>
              <p:cNvPr id="140" name="04R">
                <a:extLst>
                  <a:ext uri="{FF2B5EF4-FFF2-40B4-BE49-F238E27FC236}">
                    <a16:creationId xmlns:a16="http://schemas.microsoft.com/office/drawing/2014/main" id="{AB194BC6-8F44-4789-A6B3-DC473AED6620}"/>
                  </a:ext>
                </a:extLst>
              </p:cNvPr>
              <p:cNvSpPr/>
              <p:nvPr/>
            </p:nvSpPr>
            <p:spPr bwMode="auto">
              <a:xfrm>
                <a:off x="9418320" y="2827021"/>
                <a:ext cx="1992631" cy="1276350"/>
              </a:xfrm>
              <a:prstGeom prst="rect">
                <a:avLst/>
              </a:prstGeom>
              <a:solidFill>
                <a:schemeClr val="bg1"/>
              </a:solid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algn="ctr" defTabSz="699354" eaLnBrk="1" hangingPunct="1">
                  <a:defRPr/>
                </a:pPr>
                <a:r>
                  <a:rPr lang="en-US" sz="900" dirty="0">
                    <a:solidFill>
                      <a:schemeClr val="tx1"/>
                    </a:solidFill>
                    <a:latin typeface="Segoe UI Semibold"/>
                    <a:cs typeface="Segoe UI" pitchFamily="34" charset="0"/>
                  </a:rPr>
                  <a:t>Azure Regional WAF</a:t>
                </a:r>
                <a:br>
                  <a:rPr lang="en-US" sz="900" dirty="0">
                    <a:solidFill>
                      <a:schemeClr val="tx1"/>
                    </a:solidFill>
                    <a:latin typeface="Segoe UI Semibold"/>
                    <a:cs typeface="Segoe UI" pitchFamily="34" charset="0"/>
                  </a:rPr>
                </a:br>
                <a:r>
                  <a:rPr lang="en-US" sz="900" dirty="0">
                    <a:solidFill>
                      <a:schemeClr val="tx1"/>
                    </a:solidFill>
                    <a:latin typeface="Segoe UI Semibold"/>
                    <a:cs typeface="Segoe UI" pitchFamily="34" charset="0"/>
                  </a:rPr>
                  <a:t>(Application Gateway)</a:t>
                </a:r>
              </a:p>
            </p:txBody>
          </p:sp>
          <p:pic>
            <p:nvPicPr>
              <p:cNvPr id="142" name="Graphic 141">
                <a:extLst>
                  <a:ext uri="{FF2B5EF4-FFF2-40B4-BE49-F238E27FC236}">
                    <a16:creationId xmlns:a16="http://schemas.microsoft.com/office/drawing/2014/main" id="{FA715DB2-2216-4589-AE19-A86C6D239DA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902702" y="3513414"/>
                <a:ext cx="415638" cy="426843"/>
              </a:xfrm>
              <a:prstGeom prst="rect">
                <a:avLst/>
              </a:prstGeom>
            </p:spPr>
          </p:pic>
          <p:pic>
            <p:nvPicPr>
              <p:cNvPr id="173" name="Graphic 172">
                <a:extLst>
                  <a:ext uri="{FF2B5EF4-FFF2-40B4-BE49-F238E27FC236}">
                    <a16:creationId xmlns:a16="http://schemas.microsoft.com/office/drawing/2014/main" id="{ED3A59DA-0DC0-4A33-A6F4-6CDF5BFC25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60822" y="3444376"/>
                <a:ext cx="542790" cy="542790"/>
              </a:xfrm>
              <a:prstGeom prst="rect">
                <a:avLst/>
              </a:prstGeom>
            </p:spPr>
          </p:pic>
        </p:grpSp>
        <p:grpSp>
          <p:nvGrpSpPr>
            <p:cNvPr id="58" name="Group 57">
              <a:extLst>
                <a:ext uri="{FF2B5EF4-FFF2-40B4-BE49-F238E27FC236}">
                  <a16:creationId xmlns:a16="http://schemas.microsoft.com/office/drawing/2014/main" id="{E8810C32-52E9-4EB9-9946-4A3010FC21A3}"/>
                </a:ext>
              </a:extLst>
            </p:cNvPr>
            <p:cNvGrpSpPr/>
            <p:nvPr/>
          </p:nvGrpSpPr>
          <p:grpSpPr>
            <a:xfrm>
              <a:off x="8151763" y="671800"/>
              <a:ext cx="2268587" cy="2105435"/>
              <a:chOff x="8151763" y="671800"/>
              <a:chExt cx="2268587" cy="2105435"/>
            </a:xfrm>
          </p:grpSpPr>
          <p:sp>
            <p:nvSpPr>
              <p:cNvPr id="113" name="Rectangle 11">
                <a:extLst>
                  <a:ext uri="{FF2B5EF4-FFF2-40B4-BE49-F238E27FC236}">
                    <a16:creationId xmlns:a16="http://schemas.microsoft.com/office/drawing/2014/main" id="{9E2D7302-D8FE-4307-9F14-163AC5E7B7D7}"/>
                  </a:ext>
                </a:extLst>
              </p:cNvPr>
              <p:cNvSpPr/>
              <p:nvPr/>
            </p:nvSpPr>
            <p:spPr bwMode="auto">
              <a:xfrm>
                <a:off x="8151763" y="2471420"/>
                <a:ext cx="2268587" cy="305815"/>
              </a:xfrm>
              <a:custGeom>
                <a:avLst/>
                <a:gdLst>
                  <a:gd name="connsiteX0" fmla="*/ 0 w 510540"/>
                  <a:gd name="connsiteY0" fmla="*/ 0 h 4404360"/>
                  <a:gd name="connsiteX1" fmla="*/ 510540 w 510540"/>
                  <a:gd name="connsiteY1" fmla="*/ 0 h 4404360"/>
                  <a:gd name="connsiteX2" fmla="*/ 510540 w 510540"/>
                  <a:gd name="connsiteY2" fmla="*/ 4404360 h 4404360"/>
                  <a:gd name="connsiteX3" fmla="*/ 0 w 510540"/>
                  <a:gd name="connsiteY3" fmla="*/ 4404360 h 4404360"/>
                  <a:gd name="connsiteX4" fmla="*/ 0 w 510540"/>
                  <a:gd name="connsiteY4" fmla="*/ 0 h 4404360"/>
                  <a:gd name="connsiteX0" fmla="*/ 0 w 510540"/>
                  <a:gd name="connsiteY0" fmla="*/ 4404360 h 4495800"/>
                  <a:gd name="connsiteX1" fmla="*/ 0 w 510540"/>
                  <a:gd name="connsiteY1" fmla="*/ 0 h 4495800"/>
                  <a:gd name="connsiteX2" fmla="*/ 510540 w 510540"/>
                  <a:gd name="connsiteY2" fmla="*/ 0 h 4495800"/>
                  <a:gd name="connsiteX3" fmla="*/ 510540 w 510540"/>
                  <a:gd name="connsiteY3" fmla="*/ 4404360 h 4495800"/>
                  <a:gd name="connsiteX4" fmla="*/ 91440 w 510540"/>
                  <a:gd name="connsiteY4" fmla="*/ 4495800 h 4495800"/>
                  <a:gd name="connsiteX0" fmla="*/ 0 w 510540"/>
                  <a:gd name="connsiteY0" fmla="*/ 4404360 h 4404360"/>
                  <a:gd name="connsiteX1" fmla="*/ 0 w 510540"/>
                  <a:gd name="connsiteY1" fmla="*/ 0 h 4404360"/>
                  <a:gd name="connsiteX2" fmla="*/ 510540 w 510540"/>
                  <a:gd name="connsiteY2" fmla="*/ 0 h 4404360"/>
                  <a:gd name="connsiteX3" fmla="*/ 510540 w 510540"/>
                  <a:gd name="connsiteY3" fmla="*/ 4404360 h 4404360"/>
                </a:gdLst>
                <a:ahLst/>
                <a:cxnLst>
                  <a:cxn ang="0">
                    <a:pos x="connsiteX0" y="connsiteY0"/>
                  </a:cxn>
                  <a:cxn ang="0">
                    <a:pos x="connsiteX1" y="connsiteY1"/>
                  </a:cxn>
                  <a:cxn ang="0">
                    <a:pos x="connsiteX2" y="connsiteY2"/>
                  </a:cxn>
                  <a:cxn ang="0">
                    <a:pos x="connsiteX3" y="connsiteY3"/>
                  </a:cxn>
                </a:cxnLst>
                <a:rect l="l" t="t" r="r" b="b"/>
                <a:pathLst>
                  <a:path w="510540" h="4404360">
                    <a:moveTo>
                      <a:pt x="0" y="4404360"/>
                    </a:moveTo>
                    <a:lnTo>
                      <a:pt x="0" y="0"/>
                    </a:lnTo>
                    <a:lnTo>
                      <a:pt x="510540" y="0"/>
                    </a:lnTo>
                    <a:lnTo>
                      <a:pt x="510540" y="4404360"/>
                    </a:lnTo>
                  </a:path>
                </a:pathLst>
              </a:custGeom>
              <a:ln w="12700">
                <a:solidFill>
                  <a:schemeClr val="tx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eaLnBrk="1" hangingPunct="1">
                  <a:defRPr/>
                </a:pPr>
                <a:endParaRPr lang="en-US" sz="1500">
                  <a:gradFill>
                    <a:gsLst>
                      <a:gs pos="0">
                        <a:srgbClr val="FFFFFF"/>
                      </a:gs>
                      <a:gs pos="100000">
                        <a:srgbClr val="FFFFFF"/>
                      </a:gs>
                    </a:gsLst>
                    <a:lin ang="5400000" scaled="0"/>
                  </a:gradFill>
                  <a:latin typeface="Segoe UI"/>
                  <a:cs typeface="Segoe UI" pitchFamily="34" charset="0"/>
                </a:endParaRPr>
              </a:p>
            </p:txBody>
          </p:sp>
          <p:cxnSp>
            <p:nvCxnSpPr>
              <p:cNvPr id="145" name="Straight Connector 144">
                <a:extLst>
                  <a:ext uri="{FF2B5EF4-FFF2-40B4-BE49-F238E27FC236}">
                    <a16:creationId xmlns:a16="http://schemas.microsoft.com/office/drawing/2014/main" id="{FE1AED6C-63D9-45EB-99CF-4FAC33F63706}"/>
                  </a:ext>
                </a:extLst>
              </p:cNvPr>
              <p:cNvCxnSpPr>
                <a:cxnSpLocks/>
              </p:cNvCxnSpPr>
              <p:nvPr/>
            </p:nvCxnSpPr>
            <p:spPr>
              <a:xfrm>
                <a:off x="9286056" y="1590675"/>
                <a:ext cx="0" cy="878701"/>
              </a:xfrm>
              <a:prstGeom prst="line">
                <a:avLst/>
              </a:prstGeom>
              <a:ln w="12700">
                <a:solidFill>
                  <a:schemeClr val="tx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7B62BE94-92D9-4FB0-9C8A-AC7D8B45467E}"/>
                  </a:ext>
                </a:extLst>
              </p:cNvPr>
              <p:cNvSpPr txBox="1"/>
              <p:nvPr/>
            </p:nvSpPr>
            <p:spPr>
              <a:xfrm>
                <a:off x="8663348" y="1953114"/>
                <a:ext cx="1245414" cy="166200"/>
              </a:xfrm>
              <a:prstGeom prst="rect">
                <a:avLst/>
              </a:prstGeom>
              <a:solidFill>
                <a:schemeClr val="bg1"/>
              </a:solidFill>
            </p:spPr>
            <p:txBody>
              <a:bodyPr wrap="square" lIns="0" tIns="0" rIns="0" bIns="0" rtlCol="0">
                <a:spAutoFit/>
              </a:bodyPr>
              <a:lstStyle/>
              <a:p>
                <a:pPr algn="ctr" defTabSz="699516" eaLnBrk="1" fontAlgn="auto" hangingPunct="1">
                  <a:lnSpc>
                    <a:spcPct val="90000"/>
                  </a:lnSpc>
                  <a:spcBef>
                    <a:spcPts val="0"/>
                  </a:spcBef>
                  <a:spcAft>
                    <a:spcPts val="450"/>
                  </a:spcAft>
                  <a:defRPr/>
                </a:pPr>
                <a:r>
                  <a:rPr lang="en-US" sz="900" dirty="0">
                    <a:latin typeface="Segoe UI Semibold"/>
                    <a:cs typeface="Segoe UI Semibold" panose="020B0702040204020203" pitchFamily="34" charset="0"/>
                  </a:rPr>
                  <a:t>Uniform policy</a:t>
                </a:r>
              </a:p>
            </p:txBody>
          </p:sp>
          <p:sp>
            <p:nvSpPr>
              <p:cNvPr id="162" name="TextBox 161">
                <a:extLst>
                  <a:ext uri="{FF2B5EF4-FFF2-40B4-BE49-F238E27FC236}">
                    <a16:creationId xmlns:a16="http://schemas.microsoft.com/office/drawing/2014/main" id="{65C64976-1602-44E9-92D8-306ED6F9CA0D}"/>
                  </a:ext>
                </a:extLst>
              </p:cNvPr>
              <p:cNvSpPr txBox="1"/>
              <p:nvPr/>
            </p:nvSpPr>
            <p:spPr>
              <a:xfrm>
                <a:off x="8663348" y="1338752"/>
                <a:ext cx="1245414" cy="166200"/>
              </a:xfrm>
              <a:prstGeom prst="rect">
                <a:avLst/>
              </a:prstGeom>
              <a:noFill/>
            </p:spPr>
            <p:txBody>
              <a:bodyPr wrap="square" lIns="0" tIns="0" rIns="0" bIns="0" rtlCol="0">
                <a:spAutoFit/>
              </a:bodyPr>
              <a:lstStyle/>
              <a:p>
                <a:pPr algn="ctr" defTabSz="699516" eaLnBrk="1" fontAlgn="auto" hangingPunct="1">
                  <a:lnSpc>
                    <a:spcPct val="90000"/>
                  </a:lnSpc>
                  <a:spcBef>
                    <a:spcPts val="0"/>
                  </a:spcBef>
                  <a:spcAft>
                    <a:spcPts val="450"/>
                  </a:spcAft>
                  <a:defRPr/>
                </a:pPr>
                <a:r>
                  <a:rPr lang="en-US" sz="900" dirty="0">
                    <a:latin typeface="Segoe UI Semibold"/>
                    <a:cs typeface="Segoe UI Semibold" panose="020B0702040204020203" pitchFamily="34" charset="0"/>
                  </a:rPr>
                  <a:t>WAF policy</a:t>
                </a:r>
              </a:p>
            </p:txBody>
          </p:sp>
          <p:pic>
            <p:nvPicPr>
              <p:cNvPr id="46" name="Graphic 45">
                <a:extLst>
                  <a:ext uri="{FF2B5EF4-FFF2-40B4-BE49-F238E27FC236}">
                    <a16:creationId xmlns:a16="http://schemas.microsoft.com/office/drawing/2014/main" id="{7DAC5A06-0B2C-4A07-BE6E-32B6C25A88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72047" y="671800"/>
                <a:ext cx="577588" cy="577588"/>
              </a:xfrm>
              <a:prstGeom prst="rect">
                <a:avLst/>
              </a:prstGeom>
            </p:spPr>
          </p:pic>
        </p:grpSp>
        <p:grpSp>
          <p:nvGrpSpPr>
            <p:cNvPr id="50" name="Group 49">
              <a:extLst>
                <a:ext uri="{FF2B5EF4-FFF2-40B4-BE49-F238E27FC236}">
                  <a16:creationId xmlns:a16="http://schemas.microsoft.com/office/drawing/2014/main" id="{160EDFB8-E655-4C9B-AEF6-2FB57B452C79}"/>
                </a:ext>
              </a:extLst>
            </p:cNvPr>
            <p:cNvGrpSpPr/>
            <p:nvPr/>
          </p:nvGrpSpPr>
          <p:grpSpPr>
            <a:xfrm>
              <a:off x="7153274" y="4442460"/>
              <a:ext cx="4512481" cy="1694163"/>
              <a:chOff x="7153274" y="4381500"/>
              <a:chExt cx="4512481" cy="1694163"/>
            </a:xfrm>
          </p:grpSpPr>
          <p:sp>
            <p:nvSpPr>
              <p:cNvPr id="86" name="04R">
                <a:extLst>
                  <a:ext uri="{FF2B5EF4-FFF2-40B4-BE49-F238E27FC236}">
                    <a16:creationId xmlns:a16="http://schemas.microsoft.com/office/drawing/2014/main" id="{416BA1BB-7F9D-4CC6-992D-A95C8074DABA}"/>
                  </a:ext>
                </a:extLst>
              </p:cNvPr>
              <p:cNvSpPr/>
              <p:nvPr/>
            </p:nvSpPr>
            <p:spPr bwMode="auto">
              <a:xfrm>
                <a:off x="7153274" y="4381500"/>
                <a:ext cx="4512481" cy="1694163"/>
              </a:xfrm>
              <a:prstGeom prst="rect">
                <a:avLst/>
              </a:prstGeom>
              <a:solidFill>
                <a:schemeClr val="bg1"/>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algn="ctr" defTabSz="699354" eaLnBrk="1" hangingPunct="1">
                  <a:defRPr/>
                </a:pPr>
                <a:r>
                  <a:rPr lang="en-US" sz="1050" dirty="0">
                    <a:solidFill>
                      <a:srgbClr val="2F2F2F"/>
                    </a:solidFill>
                    <a:latin typeface="Segoe UI Semibold"/>
                    <a:cs typeface="Segoe UI" pitchFamily="34" charset="0"/>
                  </a:rPr>
                  <a:t>PaaS, IaaS, AKS, serverless and on-premises backends</a:t>
                </a:r>
              </a:p>
            </p:txBody>
          </p:sp>
          <p:pic>
            <p:nvPicPr>
              <p:cNvPr id="180" name="Graphic 179">
                <a:extLst>
                  <a:ext uri="{FF2B5EF4-FFF2-40B4-BE49-F238E27FC236}">
                    <a16:creationId xmlns:a16="http://schemas.microsoft.com/office/drawing/2014/main" id="{9065053A-10CE-4A66-991F-EA1DCE04070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24180" y="4881024"/>
                <a:ext cx="457800" cy="457800"/>
              </a:xfrm>
              <a:prstGeom prst="rect">
                <a:avLst/>
              </a:prstGeom>
            </p:spPr>
          </p:pic>
          <p:pic>
            <p:nvPicPr>
              <p:cNvPr id="192" name="Graphic 191">
                <a:extLst>
                  <a:ext uri="{FF2B5EF4-FFF2-40B4-BE49-F238E27FC236}">
                    <a16:creationId xmlns:a16="http://schemas.microsoft.com/office/drawing/2014/main" id="{96F72CBD-85C5-48DA-9771-BA2C2D7BAA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24173" y="4880371"/>
                <a:ext cx="459106" cy="459106"/>
              </a:xfrm>
              <a:prstGeom prst="rect">
                <a:avLst/>
              </a:prstGeom>
            </p:spPr>
          </p:pic>
          <p:pic>
            <p:nvPicPr>
              <p:cNvPr id="15" name="Graphic 14">
                <a:extLst>
                  <a:ext uri="{FF2B5EF4-FFF2-40B4-BE49-F238E27FC236}">
                    <a16:creationId xmlns:a16="http://schemas.microsoft.com/office/drawing/2014/main" id="{B965812C-1113-4179-AA65-97EF1CE0415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383510" y="4891015"/>
                <a:ext cx="437818" cy="437818"/>
              </a:xfrm>
              <a:prstGeom prst="rect">
                <a:avLst/>
              </a:prstGeom>
            </p:spPr>
          </p:pic>
          <p:pic>
            <p:nvPicPr>
              <p:cNvPr id="20" name="Graphic 19">
                <a:extLst>
                  <a:ext uri="{FF2B5EF4-FFF2-40B4-BE49-F238E27FC236}">
                    <a16:creationId xmlns:a16="http://schemas.microsoft.com/office/drawing/2014/main" id="{DD608B77-F49A-40C2-AAB7-A0A4CF0C62D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432431" y="4923361"/>
                <a:ext cx="373127" cy="373127"/>
              </a:xfrm>
              <a:prstGeom prst="rect">
                <a:avLst/>
              </a:prstGeom>
            </p:spPr>
          </p:pic>
          <p:pic>
            <p:nvPicPr>
              <p:cNvPr id="13" name="Graphic 12">
                <a:extLst>
                  <a:ext uri="{FF2B5EF4-FFF2-40B4-BE49-F238E27FC236}">
                    <a16:creationId xmlns:a16="http://schemas.microsoft.com/office/drawing/2014/main" id="{BD50C6DC-C8AA-4938-BE13-778169B7BD7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730260" y="5450059"/>
                <a:ext cx="416182" cy="416182"/>
              </a:xfrm>
              <a:prstGeom prst="rect">
                <a:avLst/>
              </a:prstGeom>
            </p:spPr>
          </p:pic>
          <p:pic>
            <p:nvPicPr>
              <p:cNvPr id="129" name="Graphic 128">
                <a:extLst>
                  <a:ext uri="{FF2B5EF4-FFF2-40B4-BE49-F238E27FC236}">
                    <a16:creationId xmlns:a16="http://schemas.microsoft.com/office/drawing/2014/main" id="{89CCAA20-3C2F-4B2B-A4C2-FCA8875A83B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378291" y="5421070"/>
                <a:ext cx="435461" cy="435461"/>
              </a:xfrm>
              <a:prstGeom prst="rect">
                <a:avLst/>
              </a:prstGeom>
            </p:spPr>
          </p:pic>
          <p:pic>
            <p:nvPicPr>
              <p:cNvPr id="29" name="Graphic 28">
                <a:extLst>
                  <a:ext uri="{FF2B5EF4-FFF2-40B4-BE49-F238E27FC236}">
                    <a16:creationId xmlns:a16="http://schemas.microsoft.com/office/drawing/2014/main" id="{775BE991-6142-494A-98C0-15FA56171B5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094139" y="5474764"/>
                <a:ext cx="404272" cy="404272"/>
              </a:xfrm>
              <a:prstGeom prst="rect">
                <a:avLst/>
              </a:prstGeom>
            </p:spPr>
          </p:pic>
          <p:pic>
            <p:nvPicPr>
              <p:cNvPr id="32" name="Graphic 31">
                <a:extLst>
                  <a:ext uri="{FF2B5EF4-FFF2-40B4-BE49-F238E27FC236}">
                    <a16:creationId xmlns:a16="http://schemas.microsoft.com/office/drawing/2014/main" id="{D71807DA-FA10-4F53-97E2-5D10779D6AE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045601" y="5416451"/>
                <a:ext cx="444699" cy="444699"/>
              </a:xfrm>
              <a:prstGeom prst="rect">
                <a:avLst/>
              </a:prstGeom>
            </p:spPr>
          </p:pic>
          <p:pic>
            <p:nvPicPr>
              <p:cNvPr id="48" name="Graphic 47">
                <a:extLst>
                  <a:ext uri="{FF2B5EF4-FFF2-40B4-BE49-F238E27FC236}">
                    <a16:creationId xmlns:a16="http://schemas.microsoft.com/office/drawing/2014/main" id="{1A36D04D-872E-439A-915C-9B79AB090FCF}"/>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043988" y="4867275"/>
                <a:ext cx="476250" cy="476250"/>
              </a:xfrm>
              <a:prstGeom prst="rect">
                <a:avLst/>
              </a:prstGeom>
            </p:spPr>
          </p:pic>
        </p:grpSp>
        <p:grpSp>
          <p:nvGrpSpPr>
            <p:cNvPr id="74" name="Group 73">
              <a:extLst>
                <a:ext uri="{FF2B5EF4-FFF2-40B4-BE49-F238E27FC236}">
                  <a16:creationId xmlns:a16="http://schemas.microsoft.com/office/drawing/2014/main" id="{B38ECE4A-5599-4E32-A473-1CF557C2684B}"/>
                </a:ext>
              </a:extLst>
            </p:cNvPr>
            <p:cNvGrpSpPr/>
            <p:nvPr/>
          </p:nvGrpSpPr>
          <p:grpSpPr>
            <a:xfrm>
              <a:off x="9791700" y="914889"/>
              <a:ext cx="2017395" cy="661501"/>
              <a:chOff x="9791700" y="914889"/>
              <a:chExt cx="2017395" cy="661501"/>
            </a:xfrm>
          </p:grpSpPr>
          <p:cxnSp>
            <p:nvCxnSpPr>
              <p:cNvPr id="120" name="Straight Connector 119">
                <a:extLst>
                  <a:ext uri="{FF2B5EF4-FFF2-40B4-BE49-F238E27FC236}">
                    <a16:creationId xmlns:a16="http://schemas.microsoft.com/office/drawing/2014/main" id="{B2A94FF8-3DC1-43F4-A5C0-2EB89E5D2033}"/>
                  </a:ext>
                </a:extLst>
              </p:cNvPr>
              <p:cNvCxnSpPr>
                <a:cxnSpLocks/>
              </p:cNvCxnSpPr>
              <p:nvPr/>
            </p:nvCxnSpPr>
            <p:spPr>
              <a:xfrm flipH="1">
                <a:off x="9791700" y="1019613"/>
                <a:ext cx="655318" cy="0"/>
              </a:xfrm>
              <a:prstGeom prst="line">
                <a:avLst/>
              </a:prstGeom>
              <a:ln w="19050">
                <a:solidFill>
                  <a:schemeClr val="accent2"/>
                </a:solidFill>
                <a:prstDash val="sysDot"/>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161" name="TextBox 160">
                <a:extLst>
                  <a:ext uri="{FF2B5EF4-FFF2-40B4-BE49-F238E27FC236}">
                    <a16:creationId xmlns:a16="http://schemas.microsoft.com/office/drawing/2014/main" id="{11E763CC-3A45-413C-A46A-5BB2C876F498}"/>
                  </a:ext>
                </a:extLst>
              </p:cNvPr>
              <p:cNvSpPr txBox="1"/>
              <p:nvPr/>
            </p:nvSpPr>
            <p:spPr>
              <a:xfrm>
                <a:off x="10563681" y="914889"/>
                <a:ext cx="1245414" cy="166200"/>
              </a:xfrm>
              <a:prstGeom prst="rect">
                <a:avLst/>
              </a:prstGeom>
              <a:noFill/>
            </p:spPr>
            <p:txBody>
              <a:bodyPr wrap="square" lIns="0" tIns="0" rIns="0" bIns="0" rtlCol="0">
                <a:spAutoFit/>
              </a:bodyPr>
              <a:lstStyle/>
              <a:p>
                <a:pPr defTabSz="699516" eaLnBrk="1" fontAlgn="auto" hangingPunct="1">
                  <a:lnSpc>
                    <a:spcPct val="90000"/>
                  </a:lnSpc>
                  <a:spcBef>
                    <a:spcPts val="0"/>
                  </a:spcBef>
                  <a:spcAft>
                    <a:spcPts val="450"/>
                  </a:spcAft>
                  <a:defRPr/>
                </a:pPr>
                <a:r>
                  <a:rPr lang="en-US" sz="900">
                    <a:solidFill>
                      <a:srgbClr val="50E6FF"/>
                    </a:solidFill>
                    <a:latin typeface="Segoe UI Semibold"/>
                    <a:cs typeface="Segoe UI Semibold" panose="020B0702040204020203" pitchFamily="34" charset="0"/>
                  </a:rPr>
                  <a:t>OWASP rules</a:t>
                </a:r>
              </a:p>
            </p:txBody>
          </p:sp>
          <p:sp>
            <p:nvSpPr>
              <p:cNvPr id="166" name="TextBox 165">
                <a:extLst>
                  <a:ext uri="{FF2B5EF4-FFF2-40B4-BE49-F238E27FC236}">
                    <a16:creationId xmlns:a16="http://schemas.microsoft.com/office/drawing/2014/main" id="{E8141B3D-8B91-45C0-9ADF-E52379F2DD3E}"/>
                  </a:ext>
                </a:extLst>
              </p:cNvPr>
              <p:cNvSpPr txBox="1"/>
              <p:nvPr/>
            </p:nvSpPr>
            <p:spPr>
              <a:xfrm>
                <a:off x="10563681" y="1162539"/>
                <a:ext cx="1245414" cy="166200"/>
              </a:xfrm>
              <a:prstGeom prst="rect">
                <a:avLst/>
              </a:prstGeom>
              <a:noFill/>
            </p:spPr>
            <p:txBody>
              <a:bodyPr wrap="square" lIns="0" tIns="0" rIns="0" bIns="0" rtlCol="0">
                <a:spAutoFit/>
              </a:bodyPr>
              <a:lstStyle/>
              <a:p>
                <a:pPr defTabSz="699516" eaLnBrk="1" fontAlgn="auto" hangingPunct="1">
                  <a:lnSpc>
                    <a:spcPct val="90000"/>
                  </a:lnSpc>
                  <a:spcBef>
                    <a:spcPts val="0"/>
                  </a:spcBef>
                  <a:spcAft>
                    <a:spcPts val="450"/>
                  </a:spcAft>
                  <a:defRPr/>
                </a:pPr>
                <a:r>
                  <a:rPr lang="en-US" sz="900">
                    <a:solidFill>
                      <a:srgbClr val="50E6FF"/>
                    </a:solidFill>
                    <a:latin typeface="Segoe UI Semibold"/>
                    <a:cs typeface="Segoe UI Semibold" panose="020B0702040204020203" pitchFamily="34" charset="0"/>
                  </a:rPr>
                  <a:t>Bot management</a:t>
                </a:r>
              </a:p>
            </p:txBody>
          </p:sp>
          <p:sp>
            <p:nvSpPr>
              <p:cNvPr id="167" name="TextBox 166">
                <a:extLst>
                  <a:ext uri="{FF2B5EF4-FFF2-40B4-BE49-F238E27FC236}">
                    <a16:creationId xmlns:a16="http://schemas.microsoft.com/office/drawing/2014/main" id="{8D025C02-2034-47D5-8C2A-0431CD21BEDD}"/>
                  </a:ext>
                </a:extLst>
              </p:cNvPr>
              <p:cNvSpPr txBox="1"/>
              <p:nvPr/>
            </p:nvSpPr>
            <p:spPr>
              <a:xfrm>
                <a:off x="10563681" y="1410190"/>
                <a:ext cx="1245414" cy="166200"/>
              </a:xfrm>
              <a:prstGeom prst="rect">
                <a:avLst/>
              </a:prstGeom>
              <a:noFill/>
            </p:spPr>
            <p:txBody>
              <a:bodyPr wrap="square" lIns="0" tIns="0" rIns="0" bIns="0" rtlCol="0">
                <a:spAutoFit/>
              </a:bodyPr>
              <a:lstStyle/>
              <a:p>
                <a:pPr defTabSz="699516" eaLnBrk="1" fontAlgn="auto" hangingPunct="1">
                  <a:lnSpc>
                    <a:spcPct val="90000"/>
                  </a:lnSpc>
                  <a:spcBef>
                    <a:spcPts val="0"/>
                  </a:spcBef>
                  <a:spcAft>
                    <a:spcPts val="450"/>
                  </a:spcAft>
                  <a:defRPr/>
                </a:pPr>
                <a:r>
                  <a:rPr lang="en-US" sz="900">
                    <a:solidFill>
                      <a:srgbClr val="50E6FF"/>
                    </a:solidFill>
                    <a:latin typeface="Segoe UI Semibold"/>
                    <a:cs typeface="Segoe UI Semibold" panose="020B0702040204020203" pitchFamily="34" charset="0"/>
                  </a:rPr>
                  <a:t>Custom rules</a:t>
                </a:r>
              </a:p>
            </p:txBody>
          </p:sp>
          <p:cxnSp>
            <p:nvCxnSpPr>
              <p:cNvPr id="168" name="Straight Connector 167">
                <a:extLst>
                  <a:ext uri="{FF2B5EF4-FFF2-40B4-BE49-F238E27FC236}">
                    <a16:creationId xmlns:a16="http://schemas.microsoft.com/office/drawing/2014/main" id="{D75712CC-A12B-4BA4-B041-2297801367D5}"/>
                  </a:ext>
                </a:extLst>
              </p:cNvPr>
              <p:cNvCxnSpPr>
                <a:cxnSpLocks/>
              </p:cNvCxnSpPr>
              <p:nvPr/>
            </p:nvCxnSpPr>
            <p:spPr>
              <a:xfrm flipH="1">
                <a:off x="9791700" y="1229163"/>
                <a:ext cx="655318" cy="0"/>
              </a:xfrm>
              <a:prstGeom prst="line">
                <a:avLst/>
              </a:prstGeom>
              <a:ln w="19050">
                <a:solidFill>
                  <a:schemeClr val="accent2"/>
                </a:solidFill>
                <a:prstDash val="sysDot"/>
                <a:headEnd type="arrow"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236B8D48-5D01-4427-B28B-D684DBF07540}"/>
                  </a:ext>
                </a:extLst>
              </p:cNvPr>
              <p:cNvCxnSpPr>
                <a:cxnSpLocks/>
              </p:cNvCxnSpPr>
              <p:nvPr/>
            </p:nvCxnSpPr>
            <p:spPr>
              <a:xfrm flipH="1">
                <a:off x="9791700" y="1438713"/>
                <a:ext cx="655318" cy="0"/>
              </a:xfrm>
              <a:prstGeom prst="line">
                <a:avLst/>
              </a:prstGeom>
              <a:ln w="19050">
                <a:solidFill>
                  <a:schemeClr val="accent2"/>
                </a:solidFill>
                <a:prstDash val="sysDot"/>
                <a:headEnd type="arrow"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3" name="Group 2">
            <a:extLst>
              <a:ext uri="{FF2B5EF4-FFF2-40B4-BE49-F238E27FC236}">
                <a16:creationId xmlns:a16="http://schemas.microsoft.com/office/drawing/2014/main" id="{FC396A22-F079-47A2-99B9-920A6EA4D14E}"/>
              </a:ext>
            </a:extLst>
          </p:cNvPr>
          <p:cNvGrpSpPr/>
          <p:nvPr/>
        </p:nvGrpSpPr>
        <p:grpSpPr>
          <a:xfrm>
            <a:off x="338598" y="1166665"/>
            <a:ext cx="4426461" cy="3278812"/>
            <a:chOff x="498450" y="1613947"/>
            <a:chExt cx="5389483" cy="4371750"/>
          </a:xfrm>
        </p:grpSpPr>
        <p:grpSp>
          <p:nvGrpSpPr>
            <p:cNvPr id="21" name="Group 20">
              <a:extLst>
                <a:ext uri="{FF2B5EF4-FFF2-40B4-BE49-F238E27FC236}">
                  <a16:creationId xmlns:a16="http://schemas.microsoft.com/office/drawing/2014/main" id="{BA999106-C703-40FD-B9E2-30B731A71A7F}"/>
                </a:ext>
              </a:extLst>
            </p:cNvPr>
            <p:cNvGrpSpPr/>
            <p:nvPr/>
          </p:nvGrpSpPr>
          <p:grpSpPr>
            <a:xfrm>
              <a:off x="498450" y="2789676"/>
              <a:ext cx="5389483" cy="3196021"/>
              <a:chOff x="498450" y="2437251"/>
              <a:chExt cx="5389483" cy="3196021"/>
            </a:xfrm>
          </p:grpSpPr>
          <p:sp>
            <p:nvSpPr>
              <p:cNvPr id="69" name="Text Placeholder 1">
                <a:extLst>
                  <a:ext uri="{FF2B5EF4-FFF2-40B4-BE49-F238E27FC236}">
                    <a16:creationId xmlns:a16="http://schemas.microsoft.com/office/drawing/2014/main" id="{1C82CD93-854E-408E-9FC9-7F1C8D0A7FDE}"/>
                  </a:ext>
                </a:extLst>
              </p:cNvPr>
              <p:cNvSpPr txBox="1">
                <a:spLocks/>
              </p:cNvSpPr>
              <p:nvPr/>
            </p:nvSpPr>
            <p:spPr>
              <a:xfrm>
                <a:off x="539036" y="3088985"/>
                <a:ext cx="5174362" cy="254428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spcBef>
                    <a:spcPts val="900"/>
                  </a:spcBef>
                  <a:spcAft>
                    <a:spcPts val="225"/>
                  </a:spcAft>
                  <a:buNone/>
                  <a:defRPr/>
                </a:pPr>
                <a:r>
                  <a:rPr lang="en-US" sz="1200" dirty="0">
                    <a:solidFill>
                      <a:schemeClr val="tx1"/>
                    </a:solidFill>
                    <a:latin typeface="Segoe UI Semibold"/>
                  </a:rPr>
                  <a:t>Microsoft threat intelligence </a:t>
                </a:r>
              </a:p>
              <a:p>
                <a:pPr marL="171450" indent="-171450" defTabSz="699557">
                  <a:spcBef>
                    <a:spcPts val="0"/>
                  </a:spcBef>
                  <a:spcAft>
                    <a:spcPts val="150"/>
                  </a:spcAft>
                  <a:buClr>
                    <a:srgbClr val="FFFFFF"/>
                  </a:buClr>
                  <a:buSzPct val="100000"/>
                  <a:buFont typeface="Arial" panose="020B0604020202020204" pitchFamily="34" charset="0"/>
                  <a:buChar char="•"/>
                  <a:defRPr/>
                </a:pPr>
                <a:r>
                  <a:rPr lang="en-US" sz="1050" dirty="0">
                    <a:solidFill>
                      <a:schemeClr val="tx1"/>
                    </a:solidFill>
                    <a:latin typeface="Segoe UI"/>
                  </a:rPr>
                  <a:t>Protect apps against automated attacks</a:t>
                </a:r>
              </a:p>
              <a:p>
                <a:pPr marL="171450" indent="-171450" defTabSz="699557">
                  <a:spcBef>
                    <a:spcPts val="0"/>
                  </a:spcBef>
                  <a:spcAft>
                    <a:spcPts val="150"/>
                  </a:spcAft>
                  <a:buClr>
                    <a:srgbClr val="FFFFFF"/>
                  </a:buClr>
                  <a:buSzPct val="100000"/>
                  <a:buFont typeface="Arial" panose="020B0604020202020204" pitchFamily="34" charset="0"/>
                  <a:buChar char="•"/>
                  <a:defRPr/>
                </a:pPr>
                <a:r>
                  <a:rPr lang="en-US" sz="1050" dirty="0">
                    <a:solidFill>
                      <a:schemeClr val="tx1"/>
                    </a:solidFill>
                    <a:latin typeface="Segoe UI"/>
                  </a:rPr>
                  <a:t>Manage good/bad bots with Azure </a:t>
                </a:r>
                <a:r>
                  <a:rPr lang="en-US" sz="1050" dirty="0" err="1">
                    <a:solidFill>
                      <a:schemeClr val="tx1"/>
                    </a:solidFill>
                    <a:latin typeface="Segoe UI"/>
                  </a:rPr>
                  <a:t>BotManager</a:t>
                </a:r>
                <a:r>
                  <a:rPr lang="en-US" sz="1050" dirty="0">
                    <a:solidFill>
                      <a:schemeClr val="tx1"/>
                    </a:solidFill>
                    <a:latin typeface="Segoe UI"/>
                  </a:rPr>
                  <a:t> </a:t>
                </a:r>
                <a:r>
                  <a:rPr lang="en-US" sz="1050" dirty="0" err="1">
                    <a:solidFill>
                      <a:schemeClr val="tx1"/>
                    </a:solidFill>
                    <a:latin typeface="Segoe UI"/>
                  </a:rPr>
                  <a:t>RuleSet</a:t>
                </a:r>
                <a:endParaRPr lang="en-US" sz="1050" dirty="0">
                  <a:solidFill>
                    <a:schemeClr val="tx1"/>
                  </a:solidFill>
                  <a:latin typeface="Segoe UI"/>
                </a:endParaRPr>
              </a:p>
              <a:p>
                <a:pPr marL="0" indent="0" defTabSz="699557">
                  <a:spcBef>
                    <a:spcPts val="900"/>
                  </a:spcBef>
                  <a:spcAft>
                    <a:spcPts val="225"/>
                  </a:spcAft>
                  <a:buClr>
                    <a:srgbClr val="FFFFFF"/>
                  </a:buClr>
                  <a:buSzPct val="100000"/>
                  <a:buNone/>
                  <a:defRPr/>
                </a:pPr>
                <a:r>
                  <a:rPr lang="en-US" sz="1200" dirty="0">
                    <a:solidFill>
                      <a:schemeClr val="tx1"/>
                    </a:solidFill>
                    <a:latin typeface="Segoe UI Semibold"/>
                  </a:rPr>
                  <a:t>Site and URI path specific WAF policies</a:t>
                </a:r>
              </a:p>
              <a:p>
                <a:pPr>
                  <a:spcBef>
                    <a:spcPts val="0"/>
                  </a:spcBef>
                  <a:spcAft>
                    <a:spcPts val="150"/>
                  </a:spcAft>
                  <a:buClr>
                    <a:srgbClr val="FFFFFF"/>
                  </a:buClr>
                  <a:buSzPct val="100000"/>
                  <a:defRPr/>
                </a:pPr>
                <a:r>
                  <a:rPr lang="en-US" sz="1050" dirty="0">
                    <a:solidFill>
                      <a:schemeClr val="tx1"/>
                    </a:solidFill>
                    <a:latin typeface="Segoe UI"/>
                  </a:rPr>
                  <a:t>Customize WAF policies at regional WAF for finer grained protection at each host/listener or URI path level </a:t>
                </a:r>
              </a:p>
              <a:p>
                <a:pPr marL="0" indent="0" defTabSz="699557">
                  <a:spcBef>
                    <a:spcPts val="900"/>
                  </a:spcBef>
                  <a:spcAft>
                    <a:spcPts val="225"/>
                  </a:spcAft>
                  <a:buClr>
                    <a:srgbClr val="FFFFFF"/>
                  </a:buClr>
                  <a:buSzPct val="100000"/>
                  <a:buNone/>
                  <a:defRPr/>
                </a:pPr>
                <a:r>
                  <a:rPr lang="en-US" sz="1200" dirty="0">
                    <a:solidFill>
                      <a:schemeClr val="tx1"/>
                    </a:solidFill>
                    <a:latin typeface="Segoe UI Semibold"/>
                  </a:rPr>
                  <a:t>Geo filtering on regional WAF</a:t>
                </a:r>
              </a:p>
              <a:p>
                <a:pPr>
                  <a:spcBef>
                    <a:spcPts val="0"/>
                  </a:spcBef>
                  <a:spcAft>
                    <a:spcPts val="150"/>
                  </a:spcAft>
                  <a:buClr>
                    <a:srgbClr val="FFFFFF"/>
                  </a:buClr>
                  <a:buSzPct val="100000"/>
                  <a:defRPr/>
                </a:pPr>
                <a:r>
                  <a:rPr lang="en-US" sz="1050" dirty="0">
                    <a:solidFill>
                      <a:schemeClr val="tx1"/>
                    </a:solidFill>
                    <a:latin typeface="Segoe UI"/>
                  </a:rPr>
                  <a:t>Enhanced custom rule matching criterion</a:t>
                </a:r>
                <a:r>
                  <a:rPr lang="en-US" sz="1050" dirty="0">
                    <a:gradFill>
                      <a:gsLst>
                        <a:gs pos="1250">
                          <a:srgbClr val="FFFFFF"/>
                        </a:gs>
                        <a:gs pos="100000">
                          <a:srgbClr val="FFFFFF"/>
                        </a:gs>
                      </a:gsLst>
                      <a:lin ang="5400000" scaled="0"/>
                    </a:gradFill>
                    <a:latin typeface="Segoe UI"/>
                  </a:rPr>
                  <a:t> includes filtering by country</a:t>
                </a:r>
              </a:p>
            </p:txBody>
          </p:sp>
          <p:grpSp>
            <p:nvGrpSpPr>
              <p:cNvPr id="70" name="Group 69">
                <a:extLst>
                  <a:ext uri="{FF2B5EF4-FFF2-40B4-BE49-F238E27FC236}">
                    <a16:creationId xmlns:a16="http://schemas.microsoft.com/office/drawing/2014/main" id="{40A180CD-06D5-4E73-B6C7-B5656A9E0944}"/>
                  </a:ext>
                </a:extLst>
              </p:cNvPr>
              <p:cNvGrpSpPr/>
              <p:nvPr/>
            </p:nvGrpSpPr>
            <p:grpSpPr>
              <a:xfrm>
                <a:off x="498450" y="2437251"/>
                <a:ext cx="5389483" cy="323165"/>
                <a:chOff x="474038" y="4509485"/>
                <a:chExt cx="5389483" cy="323165"/>
              </a:xfrm>
            </p:grpSpPr>
            <p:sp>
              <p:nvSpPr>
                <p:cNvPr id="71" name="Rectangle 70">
                  <a:extLst>
                    <a:ext uri="{FF2B5EF4-FFF2-40B4-BE49-F238E27FC236}">
                      <a16:creationId xmlns:a16="http://schemas.microsoft.com/office/drawing/2014/main" id="{F57DA7CA-B5BE-401B-A412-0C1621D9EDAF}"/>
                    </a:ext>
                  </a:extLst>
                </p:cNvPr>
                <p:cNvSpPr/>
                <p:nvPr/>
              </p:nvSpPr>
              <p:spPr bwMode="auto">
                <a:xfrm>
                  <a:off x="474038" y="4509485"/>
                  <a:ext cx="823606" cy="323165"/>
                </a:xfrm>
                <a:prstGeom prst="rect">
                  <a:avLst/>
                </a:prstGeom>
                <a:solidFill>
                  <a:schemeClr val="bg2">
                    <a:alpha val="10000"/>
                  </a:schemeClr>
                </a:solidFill>
                <a:ln w="15875">
                  <a:solidFill>
                    <a:schemeClr val="accent1"/>
                  </a:solidFill>
                  <a:miter lim="800000"/>
                  <a:headEnd type="none" w="med" len="med"/>
                  <a:tailEnd type="none" w="med" len="med"/>
                </a:ln>
                <a:effectLst>
                  <a:outerShdw blurRad="1270000" sx="101000" sy="101000" algn="ctr" rotWithShape="0">
                    <a:srgbClr val="000000">
                      <a:alpha val="43137"/>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spAutoFit/>
                </a:bodyPr>
                <a:lstStyle/>
                <a:p>
                  <a:pPr algn="ctr" defTabSz="699354" eaLnBrk="1" hangingPunct="1">
                    <a:defRPr/>
                  </a:pPr>
                  <a:r>
                    <a:rPr lang="en-US" sz="675" b="1" spc="75" dirty="0">
                      <a:solidFill>
                        <a:schemeClr val="tx1"/>
                      </a:solidFill>
                      <a:latin typeface="Segoe UI"/>
                      <a:cs typeface="Segoe UI" pitchFamily="34" charset="0"/>
                    </a:rPr>
                    <a:t>PREVIEW</a:t>
                  </a:r>
                </a:p>
              </p:txBody>
            </p:sp>
            <p:cxnSp>
              <p:nvCxnSpPr>
                <p:cNvPr id="72" name="Straight Connector 71">
                  <a:extLst>
                    <a:ext uri="{FF2B5EF4-FFF2-40B4-BE49-F238E27FC236}">
                      <a16:creationId xmlns:a16="http://schemas.microsoft.com/office/drawing/2014/main" id="{B323E815-1DD6-43FD-B699-650FB580F8C0}"/>
                    </a:ext>
                  </a:extLst>
                </p:cNvPr>
                <p:cNvCxnSpPr>
                  <a:cxnSpLocks/>
                </p:cNvCxnSpPr>
                <p:nvPr/>
              </p:nvCxnSpPr>
              <p:spPr>
                <a:xfrm>
                  <a:off x="1338928" y="4671067"/>
                  <a:ext cx="4524593" cy="0"/>
                </a:xfrm>
                <a:prstGeom prst="line">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73" name="Text Placeholder 1">
              <a:extLst>
                <a:ext uri="{FF2B5EF4-FFF2-40B4-BE49-F238E27FC236}">
                  <a16:creationId xmlns:a16="http://schemas.microsoft.com/office/drawing/2014/main" id="{CBDF970B-80B3-4C02-B510-B16B1BA4BA0F}"/>
                </a:ext>
              </a:extLst>
            </p:cNvPr>
            <p:cNvSpPr txBox="1">
              <a:spLocks/>
            </p:cNvSpPr>
            <p:nvPr/>
          </p:nvSpPr>
          <p:spPr>
            <a:xfrm>
              <a:off x="658310" y="1613947"/>
              <a:ext cx="5206099" cy="557417"/>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spcBef>
                  <a:spcPts val="900"/>
                </a:spcBef>
                <a:spcAft>
                  <a:spcPts val="225"/>
                </a:spcAft>
                <a:buNone/>
                <a:defRPr/>
              </a:pPr>
              <a:r>
                <a:rPr lang="en-US" sz="1200" dirty="0">
                  <a:solidFill>
                    <a:schemeClr val="tx1"/>
                  </a:solidFill>
                  <a:latin typeface="Segoe UI Semibold"/>
                </a:rPr>
                <a:t>Unified WAF policy</a:t>
              </a:r>
            </a:p>
            <a:p>
              <a:pPr marL="0" indent="0">
                <a:spcBef>
                  <a:spcPts val="0"/>
                </a:spcBef>
                <a:spcAft>
                  <a:spcPts val="150"/>
                </a:spcAft>
                <a:buClr>
                  <a:srgbClr val="FFFFFF"/>
                </a:buClr>
                <a:buSzPct val="100000"/>
                <a:buNone/>
                <a:defRPr/>
              </a:pPr>
              <a:r>
                <a:rPr lang="en-US" sz="1350" dirty="0">
                  <a:solidFill>
                    <a:schemeClr val="tx1"/>
                  </a:solidFill>
                  <a:latin typeface="Segoe UI"/>
                </a:rPr>
                <a:t>Protect your apps at network edge or in Azure regions</a:t>
              </a:r>
            </a:p>
          </p:txBody>
        </p:sp>
      </p:grpSp>
      <p:sp>
        <p:nvSpPr>
          <p:cNvPr id="2" name="Rectangle: Rounded Corners 1">
            <a:extLst>
              <a:ext uri="{FF2B5EF4-FFF2-40B4-BE49-F238E27FC236}">
                <a16:creationId xmlns:a16="http://schemas.microsoft.com/office/drawing/2014/main" id="{8F13346F-1D03-4004-8158-F21777514229}"/>
              </a:ext>
            </a:extLst>
          </p:cNvPr>
          <p:cNvSpPr/>
          <p:nvPr/>
        </p:nvSpPr>
        <p:spPr bwMode="auto">
          <a:xfrm>
            <a:off x="4929448" y="375136"/>
            <a:ext cx="4110644" cy="4358941"/>
          </a:xfrm>
          <a:prstGeom prst="round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endParaRPr lang="en-US" sz="15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483595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400"/>
                                        <p:tgtEl>
                                          <p:spTgt spid="31"/>
                                        </p:tgtEl>
                                      </p:cBhvr>
                                    </p:animEffect>
                                  </p:childTnLst>
                                </p:cTn>
                              </p:par>
                              <p:par>
                                <p:cTn id="8" presetID="42" presetClass="path" presetSubtype="0" decel="100000" fill="hold" grpId="1" nodeType="withEffect">
                                  <p:stCondLst>
                                    <p:cond delay="0"/>
                                  </p:stCondLst>
                                  <p:childTnLst>
                                    <p:animMotion origin="layout" path="M -1.04167E-6 7.40741E-7 L -1.04167E-6 0.04028 " pathEditMode="relative" rAng="0" ptsTypes="AA">
                                      <p:cBhvr>
                                        <p:cTn id="9" dur="400" spd="-100000" fill="hold"/>
                                        <p:tgtEl>
                                          <p:spTgt spid="31"/>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nodeType="withEffect">
                                  <p:stCondLst>
                                    <p:cond delay="0"/>
                                  </p:stCondLst>
                                  <p:childTnLst>
                                    <p:animMotion origin="layout" path="M -1.04167E-6 7.40741E-7 L -1.04167E-6 0.04028 " pathEditMode="relative" rAng="0" ptsTypes="AA">
                                      <p:cBhvr>
                                        <p:cTn id="14" dur="400" spd="-100000" fill="hold"/>
                                        <p:tgtEl>
                                          <p:spTgt spid="3"/>
                                        </p:tgtEl>
                                        <p:attrNameLst>
                                          <p:attrName>ppt_x</p:attrName>
                                          <p:attrName>ppt_y</p:attrName>
                                        </p:attrNameLst>
                                      </p:cBhvr>
                                      <p:rCtr x="0" y="2014"/>
                                    </p:animMotion>
                                  </p:childTnLst>
                                </p:cTn>
                              </p:par>
                              <p:par>
                                <p:cTn id="15" presetID="10"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400"/>
                                        <p:tgtEl>
                                          <p:spTgt spid="75"/>
                                        </p:tgtEl>
                                      </p:cBhvr>
                                    </p:animEffect>
                                  </p:childTnLst>
                                </p:cTn>
                              </p:par>
                              <p:par>
                                <p:cTn id="18" presetID="42" presetClass="path" presetSubtype="0" decel="100000" fill="hold" nodeType="withEffect">
                                  <p:stCondLst>
                                    <p:cond delay="0"/>
                                  </p:stCondLst>
                                  <p:childTnLst>
                                    <p:animMotion origin="layout" path="M -1.04167E-6 7.40741E-7 L -1.04167E-6 0.04028 " pathEditMode="relative" rAng="0" ptsTypes="AA">
                                      <p:cBhvr>
                                        <p:cTn id="19" dur="400" spd="-100000" fill="hold"/>
                                        <p:tgtEl>
                                          <p:spTgt spid="75"/>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1"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a:extLst>
              <a:ext uri="{FF2B5EF4-FFF2-40B4-BE49-F238E27FC236}">
                <a16:creationId xmlns:a16="http://schemas.microsoft.com/office/drawing/2014/main" id="{5C9CF16A-E68A-47A2-825C-9EF2DBFAB9D2}"/>
              </a:ext>
            </a:extLst>
          </p:cNvPr>
          <p:cNvSpPr>
            <a:spLocks noGrp="1"/>
          </p:cNvSpPr>
          <p:nvPr>
            <p:ph type="title"/>
          </p:nvPr>
        </p:nvSpPr>
        <p:spPr>
          <a:xfrm>
            <a:off x="1061183" y="347395"/>
            <a:ext cx="7544942" cy="415499"/>
          </a:xfrm>
        </p:spPr>
        <p:txBody>
          <a:bodyPr>
            <a:normAutofit/>
          </a:bodyPr>
          <a:lstStyle/>
          <a:p>
            <a:r>
              <a:rPr lang="en-US" dirty="0"/>
              <a:t>Azure Firewall</a:t>
            </a:r>
          </a:p>
        </p:txBody>
      </p:sp>
      <p:sp>
        <p:nvSpPr>
          <p:cNvPr id="4" name="Text Placeholder 3">
            <a:extLst>
              <a:ext uri="{FF2B5EF4-FFF2-40B4-BE49-F238E27FC236}">
                <a16:creationId xmlns:a16="http://schemas.microsoft.com/office/drawing/2014/main" id="{2021FFF8-5AE5-4C6A-B288-BD6FA0ABCB92}"/>
              </a:ext>
            </a:extLst>
          </p:cNvPr>
          <p:cNvSpPr>
            <a:spLocks noGrp="1"/>
          </p:cNvSpPr>
          <p:nvPr>
            <p:ph type="body" sz="quarter" idx="4294967295"/>
          </p:nvPr>
        </p:nvSpPr>
        <p:spPr>
          <a:xfrm>
            <a:off x="231396" y="1638704"/>
            <a:ext cx="4625215" cy="3267561"/>
          </a:xfrm>
        </p:spPr>
        <p:txBody>
          <a:bodyPr wrap="square">
            <a:spAutoFit/>
          </a:bodyPr>
          <a:lstStyle/>
          <a:p>
            <a:pPr marL="0" indent="0">
              <a:buNone/>
            </a:pPr>
            <a:r>
              <a:rPr lang="en-US" sz="1800" b="1" dirty="0">
                <a:solidFill>
                  <a:schemeClr val="tx1"/>
                </a:solidFill>
                <a:latin typeface="Segoe UI" panose="020B0502040204020203" pitchFamily="34" charset="0"/>
                <a:cs typeface="Segoe UI" panose="020B0502040204020203" pitchFamily="34" charset="0"/>
              </a:rPr>
              <a:t>Central governance of all traffic flows</a:t>
            </a:r>
          </a:p>
          <a:p>
            <a:pPr marL="142875" indent="-142875">
              <a:buFont typeface="Arial" panose="020B0604020202020204" pitchFamily="34" charset="0"/>
              <a:buChar char="•"/>
            </a:pPr>
            <a:r>
              <a:rPr lang="en-US" sz="1350" dirty="0">
                <a:latin typeface="Segoe UI" panose="020B0502040204020203" pitchFamily="34" charset="0"/>
                <a:cs typeface="Segoe UI" panose="020B0502040204020203" pitchFamily="34" charset="0"/>
              </a:rPr>
              <a:t>Built-in high availability and auto scale</a:t>
            </a:r>
          </a:p>
          <a:p>
            <a:pPr marL="142875" indent="-142875">
              <a:buFont typeface="Arial" panose="020B0604020202020204" pitchFamily="34" charset="0"/>
              <a:buChar char="•"/>
            </a:pPr>
            <a:r>
              <a:rPr lang="en-US" sz="1350" dirty="0">
                <a:latin typeface="Segoe UI" panose="020B0502040204020203" pitchFamily="34" charset="0"/>
                <a:cs typeface="Segoe UI" panose="020B0502040204020203" pitchFamily="34" charset="0"/>
              </a:rPr>
              <a:t>Network and application traffic filtering</a:t>
            </a:r>
          </a:p>
          <a:p>
            <a:pPr marL="142875" indent="-142875">
              <a:buFont typeface="Arial" panose="020B0604020202020204" pitchFamily="34" charset="0"/>
              <a:buChar char="•"/>
            </a:pPr>
            <a:r>
              <a:rPr lang="en-US" sz="1350" dirty="0">
                <a:latin typeface="Segoe UI" panose="020B0502040204020203" pitchFamily="34" charset="0"/>
                <a:cs typeface="Segoe UI" panose="020B0502040204020203" pitchFamily="34" charset="0"/>
              </a:rPr>
              <a:t>Centralized policy across </a:t>
            </a:r>
            <a:r>
              <a:rPr lang="en-US" sz="1350" dirty="0" err="1">
                <a:latin typeface="Segoe UI" panose="020B0502040204020203" pitchFamily="34" charset="0"/>
                <a:cs typeface="Segoe UI" panose="020B0502040204020203" pitchFamily="34" charset="0"/>
              </a:rPr>
              <a:t>VNets</a:t>
            </a:r>
            <a:r>
              <a:rPr lang="en-US" sz="1350" dirty="0">
                <a:latin typeface="Segoe UI" panose="020B0502040204020203" pitchFamily="34" charset="0"/>
                <a:cs typeface="Segoe UI" panose="020B0502040204020203" pitchFamily="34" charset="0"/>
              </a:rPr>
              <a:t> and subscriptions</a:t>
            </a:r>
          </a:p>
          <a:p>
            <a:pPr marL="0" indent="0">
              <a:spcBef>
                <a:spcPts val="1350"/>
              </a:spcBef>
              <a:buNone/>
            </a:pPr>
            <a:r>
              <a:rPr lang="en-US" sz="1800" b="1" dirty="0">
                <a:latin typeface="Segoe UI" panose="020B0502040204020203" pitchFamily="34" charset="0"/>
                <a:cs typeface="Segoe UI" panose="020B0502040204020203" pitchFamily="34" charset="0"/>
              </a:rPr>
              <a:t>Complete VNET protection</a:t>
            </a:r>
          </a:p>
          <a:p>
            <a:pPr marL="142875" indent="-142875">
              <a:buFont typeface="Arial" panose="020B0604020202020204" pitchFamily="34" charset="0"/>
              <a:buChar char="•"/>
            </a:pPr>
            <a:r>
              <a:rPr lang="en-US" sz="1350" dirty="0">
                <a:latin typeface="Segoe UI" panose="020B0502040204020203" pitchFamily="34" charset="0"/>
                <a:cs typeface="Segoe UI" panose="020B0502040204020203" pitchFamily="34" charset="0"/>
              </a:rPr>
              <a:t>Filter Outbound, Inbound, Spoke-Spoke &amp; Hybrid Connections traffic (VPN and ExpressRoute) </a:t>
            </a:r>
          </a:p>
          <a:p>
            <a:pPr marL="0" indent="0">
              <a:spcBef>
                <a:spcPts val="1350"/>
              </a:spcBef>
              <a:buNone/>
            </a:pPr>
            <a:r>
              <a:rPr lang="en-US" sz="1800" b="1" dirty="0">
                <a:latin typeface="Segoe UI" panose="020B0502040204020203" pitchFamily="34" charset="0"/>
                <a:cs typeface="Segoe UI" panose="020B0502040204020203" pitchFamily="34" charset="0"/>
              </a:rPr>
              <a:t>Centralized logging</a:t>
            </a:r>
          </a:p>
          <a:p>
            <a:pPr marL="142875" indent="-142875">
              <a:buFont typeface="Arial" panose="020B0604020202020204" pitchFamily="34" charset="0"/>
              <a:buChar char="•"/>
            </a:pPr>
            <a:r>
              <a:rPr lang="en-US" sz="1350" dirty="0">
                <a:latin typeface="Segoe UI" panose="020B0502040204020203" pitchFamily="34" charset="0"/>
                <a:cs typeface="Segoe UI" panose="020B0502040204020203" pitchFamily="34" charset="0"/>
              </a:rPr>
              <a:t>Archive logs to a storage account, stream events to your Event Hub, or send them to Log Analytics or Security Integration and Event Management (SIEM) system of choice</a:t>
            </a:r>
          </a:p>
        </p:txBody>
      </p:sp>
      <p:sp>
        <p:nvSpPr>
          <p:cNvPr id="2" name="Rectangle 1">
            <a:extLst>
              <a:ext uri="{FF2B5EF4-FFF2-40B4-BE49-F238E27FC236}">
                <a16:creationId xmlns:a16="http://schemas.microsoft.com/office/drawing/2014/main" id="{4C3A7433-1A66-474C-BB0F-4DD4F29A8695}"/>
              </a:ext>
            </a:extLst>
          </p:cNvPr>
          <p:cNvSpPr/>
          <p:nvPr/>
        </p:nvSpPr>
        <p:spPr>
          <a:xfrm>
            <a:off x="231397" y="847517"/>
            <a:ext cx="5672507" cy="461665"/>
          </a:xfrm>
          <a:prstGeom prst="rect">
            <a:avLst/>
          </a:prstGeom>
        </p:spPr>
        <p:txBody>
          <a:bodyPr wrap="square" lIns="0">
            <a:spAutoFit/>
          </a:bodyPr>
          <a:lstStyle/>
          <a:p>
            <a:pPr defTabSz="685775" eaLnBrk="1" fontAlgn="auto" hangingPunct="1">
              <a:spcBef>
                <a:spcPts val="0"/>
              </a:spcBef>
              <a:spcAft>
                <a:spcPts val="0"/>
              </a:spcAft>
              <a:defRPr/>
            </a:pPr>
            <a:r>
              <a:rPr lang="en-US" sz="2400" dirty="0">
                <a:solidFill>
                  <a:srgbClr val="F37521"/>
                </a:solidFill>
                <a:latin typeface="Segoe UI"/>
              </a:rPr>
              <a:t>Cloud native stateful Firewall as a service</a:t>
            </a:r>
          </a:p>
        </p:txBody>
      </p:sp>
      <p:sp>
        <p:nvSpPr>
          <p:cNvPr id="55" name="Rectangle 54">
            <a:extLst>
              <a:ext uri="{FF2B5EF4-FFF2-40B4-BE49-F238E27FC236}">
                <a16:creationId xmlns:a16="http://schemas.microsoft.com/office/drawing/2014/main" id="{C0F3D205-8EBE-44EC-BE86-98666EC43D93}"/>
              </a:ext>
            </a:extLst>
          </p:cNvPr>
          <p:cNvSpPr/>
          <p:nvPr/>
        </p:nvSpPr>
        <p:spPr bwMode="auto">
          <a:xfrm>
            <a:off x="4959622" y="1290348"/>
            <a:ext cx="4153816" cy="3763459"/>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eaLnBrk="1" hangingPunct="1">
              <a:defRPr/>
            </a:pPr>
            <a:endParaRPr lang="en-US" sz="1200">
              <a:gradFill>
                <a:gsLst>
                  <a:gs pos="40075">
                    <a:srgbClr val="FFFFFF"/>
                  </a:gs>
                  <a:gs pos="30000">
                    <a:srgbClr val="FFFFFF"/>
                  </a:gs>
                </a:gsLst>
                <a:lin ang="5400000" scaled="0"/>
              </a:gradFill>
              <a:latin typeface="Segoe UI"/>
            </a:endParaRPr>
          </a:p>
        </p:txBody>
      </p:sp>
      <p:sp>
        <p:nvSpPr>
          <p:cNvPr id="7" name="Rectangle 6">
            <a:extLst>
              <a:ext uri="{FF2B5EF4-FFF2-40B4-BE49-F238E27FC236}">
                <a16:creationId xmlns:a16="http://schemas.microsoft.com/office/drawing/2014/main" id="{3004926C-3F6A-4BB0-B3F3-34A986C92C2C}"/>
              </a:ext>
            </a:extLst>
          </p:cNvPr>
          <p:cNvSpPr/>
          <p:nvPr/>
        </p:nvSpPr>
        <p:spPr bwMode="auto">
          <a:xfrm>
            <a:off x="6636737" y="2392863"/>
            <a:ext cx="1069848" cy="1169179"/>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eaLnBrk="1" hangingPunct="1">
              <a:lnSpc>
                <a:spcPct val="90000"/>
              </a:lnSpc>
              <a:defRPr/>
            </a:pPr>
            <a:br>
              <a:rPr lang="en-US" sz="1050" kern="0">
                <a:solidFill>
                  <a:srgbClr val="2F2F2F"/>
                </a:solidFill>
                <a:latin typeface="Segoe UI Semibold" panose="020B0702040204020203" pitchFamily="34" charset="0"/>
                <a:cs typeface="Segoe UI Semibold" panose="020B0702040204020203" pitchFamily="34" charset="0"/>
              </a:rPr>
            </a:br>
            <a:endParaRPr lang="en-US" sz="1050" kern="0">
              <a:solidFill>
                <a:srgbClr val="2F2F2F"/>
              </a:solidFill>
              <a:latin typeface="Segoe UI Semibold" panose="020B0702040204020203" pitchFamily="34" charset="0"/>
              <a:cs typeface="Segoe UI Semibold" panose="020B0702040204020203" pitchFamily="34" charset="0"/>
            </a:endParaRPr>
          </a:p>
        </p:txBody>
      </p:sp>
      <p:sp>
        <p:nvSpPr>
          <p:cNvPr id="37" name="Rectangle 36">
            <a:extLst>
              <a:ext uri="{FF2B5EF4-FFF2-40B4-BE49-F238E27FC236}">
                <a16:creationId xmlns:a16="http://schemas.microsoft.com/office/drawing/2014/main" id="{B1853161-D560-4007-A1C1-08412EBA8583}"/>
              </a:ext>
            </a:extLst>
          </p:cNvPr>
          <p:cNvSpPr/>
          <p:nvPr/>
        </p:nvSpPr>
        <p:spPr bwMode="auto">
          <a:xfrm>
            <a:off x="5100432" y="1715310"/>
            <a:ext cx="657083" cy="1098283"/>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800" eaLnBrk="1" fontAlgn="auto" hangingPunct="1">
              <a:lnSpc>
                <a:spcPct val="90000"/>
              </a:lnSpc>
              <a:spcBef>
                <a:spcPts val="0"/>
              </a:spcBef>
              <a:defRPr/>
            </a:pPr>
            <a:r>
              <a:rPr lang="en-US" sz="825" b="1" kern="0">
                <a:gradFill>
                  <a:gsLst>
                    <a:gs pos="15190">
                      <a:srgbClr val="353535"/>
                    </a:gs>
                    <a:gs pos="43000">
                      <a:srgbClr val="353535"/>
                    </a:gs>
                  </a:gsLst>
                  <a:lin ang="5400000" scaled="0"/>
                </a:gradFill>
                <a:latin typeface="Segoe UI Semibold"/>
                <a:cs typeface="Segoe UI" panose="020B0502040204020203" pitchFamily="34" charset="0"/>
              </a:rPr>
              <a:t>Spoke 1</a:t>
            </a:r>
          </a:p>
        </p:txBody>
      </p:sp>
      <p:sp>
        <p:nvSpPr>
          <p:cNvPr id="33" name="Rectangle 32">
            <a:extLst>
              <a:ext uri="{FF2B5EF4-FFF2-40B4-BE49-F238E27FC236}">
                <a16:creationId xmlns:a16="http://schemas.microsoft.com/office/drawing/2014/main" id="{4CD52856-CE8B-44C8-BAAB-141EE5406730}"/>
              </a:ext>
            </a:extLst>
          </p:cNvPr>
          <p:cNvSpPr/>
          <p:nvPr/>
        </p:nvSpPr>
        <p:spPr bwMode="auto">
          <a:xfrm>
            <a:off x="5100432" y="2910105"/>
            <a:ext cx="657083" cy="1098283"/>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85800" eaLnBrk="1" fontAlgn="auto" hangingPunct="1">
              <a:lnSpc>
                <a:spcPct val="90000"/>
              </a:lnSpc>
              <a:spcBef>
                <a:spcPts val="0"/>
              </a:spcBef>
              <a:defRPr/>
            </a:pPr>
            <a:r>
              <a:rPr lang="en-US" sz="825" b="1" kern="0">
                <a:gradFill>
                  <a:gsLst>
                    <a:gs pos="15190">
                      <a:srgbClr val="353535"/>
                    </a:gs>
                    <a:gs pos="43000">
                      <a:srgbClr val="353535"/>
                    </a:gs>
                  </a:gsLst>
                  <a:lin ang="5400000" scaled="0"/>
                </a:gradFill>
                <a:latin typeface="Segoe UI Semibold"/>
                <a:cs typeface="Segoe UI" panose="020B0502040204020203" pitchFamily="34" charset="0"/>
              </a:rPr>
              <a:t>Spoke2</a:t>
            </a:r>
          </a:p>
        </p:txBody>
      </p:sp>
      <p:sp>
        <p:nvSpPr>
          <p:cNvPr id="9" name="TextBox 8">
            <a:extLst>
              <a:ext uri="{FF2B5EF4-FFF2-40B4-BE49-F238E27FC236}">
                <a16:creationId xmlns:a16="http://schemas.microsoft.com/office/drawing/2014/main" id="{CE92BB74-71DF-4F0D-8512-4C1E27BEFB1B}"/>
              </a:ext>
            </a:extLst>
          </p:cNvPr>
          <p:cNvSpPr txBox="1"/>
          <p:nvPr/>
        </p:nvSpPr>
        <p:spPr>
          <a:xfrm>
            <a:off x="6751313" y="2454905"/>
            <a:ext cx="939450" cy="114262"/>
          </a:xfrm>
          <a:prstGeom prst="rect">
            <a:avLst/>
          </a:prstGeom>
          <a:noFill/>
        </p:spPr>
        <p:txBody>
          <a:bodyPr wrap="square" lIns="0" tIns="0" rIns="0" bIns="0" rtlCol="0">
            <a:spAutoFit/>
          </a:bodyPr>
          <a:lstStyle/>
          <a:p>
            <a:pPr defTabSz="685800" eaLnBrk="1" fontAlgn="auto" hangingPunct="1">
              <a:lnSpc>
                <a:spcPct val="90000"/>
              </a:lnSpc>
              <a:spcBef>
                <a:spcPts val="0"/>
              </a:spcBef>
              <a:spcAft>
                <a:spcPts val="0"/>
              </a:spcAft>
              <a:defRPr/>
            </a:pPr>
            <a:r>
              <a:rPr lang="en-US" sz="825" b="1" kern="0" dirty="0">
                <a:gradFill>
                  <a:gsLst>
                    <a:gs pos="15190">
                      <a:srgbClr val="353535"/>
                    </a:gs>
                    <a:gs pos="43000">
                      <a:srgbClr val="353535"/>
                    </a:gs>
                  </a:gsLst>
                  <a:lin ang="5400000" scaled="0"/>
                </a:gradFill>
                <a:latin typeface="Segoe UI Semibold"/>
                <a:cs typeface="Segoe UI" panose="020B0502040204020203" pitchFamily="34" charset="0"/>
              </a:rPr>
              <a:t>HUB VNet</a:t>
            </a:r>
          </a:p>
        </p:txBody>
      </p:sp>
      <p:sp>
        <p:nvSpPr>
          <p:cNvPr id="10" name="TextBox 9">
            <a:extLst>
              <a:ext uri="{FF2B5EF4-FFF2-40B4-BE49-F238E27FC236}">
                <a16:creationId xmlns:a16="http://schemas.microsoft.com/office/drawing/2014/main" id="{0896D74C-9497-41B1-B628-8FD0D43A6436}"/>
              </a:ext>
            </a:extLst>
          </p:cNvPr>
          <p:cNvSpPr txBox="1"/>
          <p:nvPr/>
        </p:nvSpPr>
        <p:spPr>
          <a:xfrm>
            <a:off x="4959622" y="4104899"/>
            <a:ext cx="935351" cy="109132"/>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defTabSz="685800" eaLnBrk="1" hangingPunct="1">
              <a:spcAft>
                <a:spcPts val="450"/>
              </a:spcAft>
              <a:defRPr/>
            </a:pPr>
            <a:r>
              <a:rPr lang="en-US" sz="788">
                <a:latin typeface="Segoe UI Semibold"/>
              </a:rPr>
              <a:t>Spoke </a:t>
            </a:r>
            <a:r>
              <a:rPr lang="en-US" sz="788" err="1">
                <a:latin typeface="Segoe UI Semibold"/>
              </a:rPr>
              <a:t>VNets</a:t>
            </a:r>
            <a:endParaRPr lang="en-US" sz="788">
              <a:latin typeface="Segoe UI Semibold"/>
            </a:endParaRPr>
          </a:p>
        </p:txBody>
      </p:sp>
      <p:cxnSp>
        <p:nvCxnSpPr>
          <p:cNvPr id="13" name="Straight Arrow Connector 12">
            <a:extLst>
              <a:ext uri="{FF2B5EF4-FFF2-40B4-BE49-F238E27FC236}">
                <a16:creationId xmlns:a16="http://schemas.microsoft.com/office/drawing/2014/main" id="{7C945681-3D5E-4EA5-ABCA-BF828E016733}"/>
              </a:ext>
            </a:extLst>
          </p:cNvPr>
          <p:cNvCxnSpPr>
            <a:cxnSpLocks/>
          </p:cNvCxnSpPr>
          <p:nvPr/>
        </p:nvCxnSpPr>
        <p:spPr>
          <a:xfrm>
            <a:off x="7782094" y="2921450"/>
            <a:ext cx="751642" cy="10067"/>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60DF2C2-6852-487E-8D49-E61B789A8F8E}"/>
              </a:ext>
            </a:extLst>
          </p:cNvPr>
          <p:cNvCxnSpPr>
            <a:cxnSpLocks/>
          </p:cNvCxnSpPr>
          <p:nvPr/>
        </p:nvCxnSpPr>
        <p:spPr>
          <a:xfrm>
            <a:off x="7782094" y="3098795"/>
            <a:ext cx="751642"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5" name="Cross 14">
            <a:extLst>
              <a:ext uri="{FF2B5EF4-FFF2-40B4-BE49-F238E27FC236}">
                <a16:creationId xmlns:a16="http://schemas.microsoft.com/office/drawing/2014/main" id="{9A12EE42-C03F-41E0-8770-89638AE097F4}"/>
              </a:ext>
            </a:extLst>
          </p:cNvPr>
          <p:cNvSpPr/>
          <p:nvPr/>
        </p:nvSpPr>
        <p:spPr>
          <a:xfrm rot="2700000">
            <a:off x="8039940" y="2992334"/>
            <a:ext cx="235949" cy="212922"/>
          </a:xfrm>
          <a:prstGeom prst="plus">
            <a:avLst>
              <a:gd name="adj" fmla="val 33130"/>
            </a:avLst>
          </a:prstGeom>
          <a:solidFill>
            <a:srgbClr val="E81123"/>
          </a:solidFill>
          <a:ln w="50800" cap="flat" cmpd="sng" algn="ctr">
            <a:solidFill>
              <a:schemeClr val="bg1"/>
            </a:solidFill>
            <a:prstDash val="solid"/>
          </a:ln>
          <a:effectLst/>
        </p:spPr>
        <p:txBody>
          <a:bodyPr rtlCol="0" anchor="ctr"/>
          <a:lstStyle/>
          <a:p>
            <a:pPr algn="ctr" defTabSz="685775" eaLnBrk="1" fontAlgn="auto" hangingPunct="1">
              <a:spcBef>
                <a:spcPts val="0"/>
              </a:spcBef>
              <a:spcAft>
                <a:spcPts val="0"/>
              </a:spcAft>
              <a:defRPr/>
            </a:pPr>
            <a:endParaRPr lang="en-IE" sz="1350" kern="0">
              <a:solidFill>
                <a:srgbClr val="FFFFFF"/>
              </a:solidFill>
              <a:latin typeface="Segoe UI Semilight"/>
            </a:endParaRPr>
          </a:p>
        </p:txBody>
      </p:sp>
      <p:sp>
        <p:nvSpPr>
          <p:cNvPr id="18" name="Freeform: Shape 68">
            <a:extLst>
              <a:ext uri="{FF2B5EF4-FFF2-40B4-BE49-F238E27FC236}">
                <a16:creationId xmlns:a16="http://schemas.microsoft.com/office/drawing/2014/main" id="{4ADFD0BB-C1E1-4973-B4D4-BB5FF36EC435}"/>
              </a:ext>
            </a:extLst>
          </p:cNvPr>
          <p:cNvSpPr/>
          <p:nvPr/>
        </p:nvSpPr>
        <p:spPr bwMode="auto">
          <a:xfrm flipV="1">
            <a:off x="8155645" y="3266073"/>
            <a:ext cx="131480" cy="837502"/>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5" eaLnBrk="1" fontAlgn="auto" hangingPunct="1">
              <a:spcBef>
                <a:spcPts val="0"/>
              </a:spcBef>
              <a:spcAft>
                <a:spcPts val="0"/>
              </a:spcAft>
              <a:defRPr/>
            </a:pPr>
            <a:endParaRPr lang="en-US" sz="1050">
              <a:solidFill>
                <a:srgbClr val="FFFFFF"/>
              </a:solidFill>
              <a:latin typeface="Segoe UI"/>
            </a:endParaRPr>
          </a:p>
        </p:txBody>
      </p:sp>
      <p:sp>
        <p:nvSpPr>
          <p:cNvPr id="19" name="TextBox 18">
            <a:extLst>
              <a:ext uri="{FF2B5EF4-FFF2-40B4-BE49-F238E27FC236}">
                <a16:creationId xmlns:a16="http://schemas.microsoft.com/office/drawing/2014/main" id="{A1491CAD-000F-4EB2-B4D2-24270E7280E3}"/>
              </a:ext>
            </a:extLst>
          </p:cNvPr>
          <p:cNvSpPr txBox="1"/>
          <p:nvPr/>
        </p:nvSpPr>
        <p:spPr>
          <a:xfrm>
            <a:off x="6252435" y="1377518"/>
            <a:ext cx="1454150" cy="109132"/>
          </a:xfrm>
          <a:prstGeom prst="rect">
            <a:avLst/>
          </a:prstGeom>
          <a:noFill/>
        </p:spPr>
        <p:txBody>
          <a:bodyPr wrap="square" lIns="0" tIns="0" rIns="0" bIns="0" rtlCol="0">
            <a:spAutoFit/>
          </a:bodyPr>
          <a:lstStyle/>
          <a:p>
            <a:pPr algn="ctr" defTabSz="685800" eaLnBrk="1" fontAlgn="auto" hangingPunct="1">
              <a:lnSpc>
                <a:spcPct val="90000"/>
              </a:lnSpc>
              <a:spcBef>
                <a:spcPts val="0"/>
              </a:spcBef>
              <a:spcAft>
                <a:spcPts val="450"/>
              </a:spcAft>
              <a:defRPr/>
            </a:pPr>
            <a:r>
              <a:rPr lang="en-US" sz="788" dirty="0">
                <a:gradFill>
                  <a:gsLst>
                    <a:gs pos="2917">
                      <a:srgbClr val="2F2F2F"/>
                    </a:gs>
                    <a:gs pos="30000">
                      <a:srgbClr val="2F2F2F"/>
                    </a:gs>
                  </a:gsLst>
                  <a:lin ang="5400000" scaled="0"/>
                </a:gradFill>
                <a:latin typeface="Segoe UI Semibold"/>
              </a:rPr>
              <a:t>L3-L7 Connectivity Policies</a:t>
            </a:r>
          </a:p>
        </p:txBody>
      </p:sp>
      <p:sp>
        <p:nvSpPr>
          <p:cNvPr id="21" name="Freeform: Shape 68">
            <a:extLst>
              <a:ext uri="{FF2B5EF4-FFF2-40B4-BE49-F238E27FC236}">
                <a16:creationId xmlns:a16="http://schemas.microsoft.com/office/drawing/2014/main" id="{C482E523-AF52-4E34-8B21-FD5AF421B409}"/>
              </a:ext>
            </a:extLst>
          </p:cNvPr>
          <p:cNvSpPr/>
          <p:nvPr/>
        </p:nvSpPr>
        <p:spPr bwMode="auto">
          <a:xfrm rot="10800000" flipV="1">
            <a:off x="7996505" y="2141776"/>
            <a:ext cx="170343" cy="702992"/>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5" eaLnBrk="1" fontAlgn="auto" hangingPunct="1">
              <a:spcBef>
                <a:spcPts val="0"/>
              </a:spcBef>
              <a:spcAft>
                <a:spcPts val="0"/>
              </a:spcAft>
              <a:defRPr/>
            </a:pPr>
            <a:endParaRPr lang="en-US" sz="1050">
              <a:solidFill>
                <a:srgbClr val="FFFFFF"/>
              </a:solidFill>
              <a:latin typeface="Segoe UI"/>
            </a:endParaRPr>
          </a:p>
        </p:txBody>
      </p:sp>
      <p:sp>
        <p:nvSpPr>
          <p:cNvPr id="22" name="TextBox 21">
            <a:extLst>
              <a:ext uri="{FF2B5EF4-FFF2-40B4-BE49-F238E27FC236}">
                <a16:creationId xmlns:a16="http://schemas.microsoft.com/office/drawing/2014/main" id="{143FE3F3-0E5A-4581-A8E4-778F56B5E479}"/>
              </a:ext>
            </a:extLst>
          </p:cNvPr>
          <p:cNvSpPr txBox="1"/>
          <p:nvPr/>
        </p:nvSpPr>
        <p:spPr>
          <a:xfrm>
            <a:off x="7373843" y="1651623"/>
            <a:ext cx="1586009" cy="327397"/>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685800" eaLnBrk="1" hangingPunct="1">
              <a:spcAft>
                <a:spcPts val="450"/>
              </a:spcAft>
              <a:defRPr/>
            </a:pPr>
            <a:r>
              <a:rPr lang="en-US" sz="788">
                <a:latin typeface="Segoe UI Semibold"/>
              </a:rPr>
              <a:t>NAT, Network and Application traffic filtering rules allows Inbound/Outbound access </a:t>
            </a:r>
          </a:p>
        </p:txBody>
      </p:sp>
      <p:sp>
        <p:nvSpPr>
          <p:cNvPr id="23" name="TextBox 22">
            <a:extLst>
              <a:ext uri="{FF2B5EF4-FFF2-40B4-BE49-F238E27FC236}">
                <a16:creationId xmlns:a16="http://schemas.microsoft.com/office/drawing/2014/main" id="{6EE292A6-D918-4464-B10A-454E1AA5E878}"/>
              </a:ext>
            </a:extLst>
          </p:cNvPr>
          <p:cNvSpPr txBox="1"/>
          <p:nvPr/>
        </p:nvSpPr>
        <p:spPr>
          <a:xfrm>
            <a:off x="7723530" y="4190323"/>
            <a:ext cx="864230" cy="218265"/>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685800" eaLnBrk="1" hangingPunct="1">
              <a:spcAft>
                <a:spcPts val="450"/>
              </a:spcAft>
              <a:defRPr/>
            </a:pPr>
            <a:r>
              <a:rPr lang="en-US" sz="788" dirty="0">
                <a:latin typeface="Segoe UI Semibold"/>
              </a:rPr>
              <a:t>Traffic is denied by default</a:t>
            </a:r>
          </a:p>
        </p:txBody>
      </p:sp>
      <p:sp>
        <p:nvSpPr>
          <p:cNvPr id="25" name="TextBox 24">
            <a:extLst>
              <a:ext uri="{FF2B5EF4-FFF2-40B4-BE49-F238E27FC236}">
                <a16:creationId xmlns:a16="http://schemas.microsoft.com/office/drawing/2014/main" id="{850C1190-8155-4802-842B-DACD4A85CBD9}"/>
              </a:ext>
            </a:extLst>
          </p:cNvPr>
          <p:cNvSpPr txBox="1"/>
          <p:nvPr/>
        </p:nvSpPr>
        <p:spPr>
          <a:xfrm>
            <a:off x="6889846" y="4751815"/>
            <a:ext cx="836252" cy="109132"/>
          </a:xfrm>
          <a:prstGeom prst="rect">
            <a:avLst/>
          </a:prstGeom>
          <a:noFill/>
        </p:spPr>
        <p:txBody>
          <a:bodyPr wrap="square" lIns="0" tIns="0" rIns="0" bIns="0" rtlCol="0">
            <a:spAutoFit/>
          </a:bodyPr>
          <a:lstStyle/>
          <a:p>
            <a:pPr algn="ctr" defTabSz="685800" eaLnBrk="1" fontAlgn="auto" hangingPunct="1">
              <a:lnSpc>
                <a:spcPct val="90000"/>
              </a:lnSpc>
              <a:spcBef>
                <a:spcPts val="0"/>
              </a:spcBef>
              <a:spcAft>
                <a:spcPts val="450"/>
              </a:spcAft>
              <a:defRPr/>
            </a:pPr>
            <a:r>
              <a:rPr lang="en-US" sz="788" dirty="0">
                <a:solidFill>
                  <a:srgbClr val="0070C0"/>
                </a:solidFill>
                <a:latin typeface="Segoe UI Semibold"/>
              </a:rPr>
              <a:t>On-Premises</a:t>
            </a:r>
          </a:p>
        </p:txBody>
      </p:sp>
      <p:sp>
        <p:nvSpPr>
          <p:cNvPr id="28" name="TextBox 27">
            <a:extLst>
              <a:ext uri="{FF2B5EF4-FFF2-40B4-BE49-F238E27FC236}">
                <a16:creationId xmlns:a16="http://schemas.microsoft.com/office/drawing/2014/main" id="{9B2459F3-18DF-4C0D-A90A-550F9D259092}"/>
              </a:ext>
            </a:extLst>
          </p:cNvPr>
          <p:cNvSpPr txBox="1"/>
          <p:nvPr/>
        </p:nvSpPr>
        <p:spPr>
          <a:xfrm>
            <a:off x="5871638" y="4190323"/>
            <a:ext cx="997463" cy="218265"/>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685800" eaLnBrk="1" hangingPunct="1">
              <a:spcAft>
                <a:spcPts val="450"/>
              </a:spcAft>
              <a:defRPr/>
            </a:pPr>
            <a:r>
              <a:rPr lang="en-US" sz="788">
                <a:latin typeface="Segoe UI Semibold"/>
              </a:rPr>
              <a:t>Azure to On-Prem traffic filtering</a:t>
            </a:r>
          </a:p>
        </p:txBody>
      </p:sp>
      <p:grpSp>
        <p:nvGrpSpPr>
          <p:cNvPr id="77" name="Group 76">
            <a:extLst>
              <a:ext uri="{FF2B5EF4-FFF2-40B4-BE49-F238E27FC236}">
                <a16:creationId xmlns:a16="http://schemas.microsoft.com/office/drawing/2014/main" id="{E4B5D497-CAB6-4CC6-99A4-88A8A0B7092B}"/>
              </a:ext>
            </a:extLst>
          </p:cNvPr>
          <p:cNvGrpSpPr/>
          <p:nvPr/>
        </p:nvGrpSpPr>
        <p:grpSpPr>
          <a:xfrm>
            <a:off x="7067715" y="4183997"/>
            <a:ext cx="457200" cy="499704"/>
            <a:chOff x="7497411" y="5482913"/>
            <a:chExt cx="840140" cy="840138"/>
          </a:xfrm>
        </p:grpSpPr>
        <p:grpSp>
          <p:nvGrpSpPr>
            <p:cNvPr id="65" name="Group 14">
              <a:extLst>
                <a:ext uri="{FF2B5EF4-FFF2-40B4-BE49-F238E27FC236}">
                  <a16:creationId xmlns:a16="http://schemas.microsoft.com/office/drawing/2014/main" id="{A033D591-1135-4C28-B6FF-297F85E95381}"/>
                </a:ext>
              </a:extLst>
            </p:cNvPr>
            <p:cNvGrpSpPr>
              <a:grpSpLocks noChangeAspect="1"/>
            </p:cNvGrpSpPr>
            <p:nvPr/>
          </p:nvGrpSpPr>
          <p:grpSpPr bwMode="auto">
            <a:xfrm>
              <a:off x="7697436" y="5701112"/>
              <a:ext cx="440090" cy="403738"/>
              <a:chOff x="4676" y="4145"/>
              <a:chExt cx="339" cy="311"/>
            </a:xfrm>
          </p:grpSpPr>
          <p:sp>
            <p:nvSpPr>
              <p:cNvPr id="67" name="Rectangle 15">
                <a:extLst>
                  <a:ext uri="{FF2B5EF4-FFF2-40B4-BE49-F238E27FC236}">
                    <a16:creationId xmlns:a16="http://schemas.microsoft.com/office/drawing/2014/main" id="{CBA2D674-D146-4010-A16A-034DCC7F4555}"/>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68" name="Line 16">
                <a:extLst>
                  <a:ext uri="{FF2B5EF4-FFF2-40B4-BE49-F238E27FC236}">
                    <a16:creationId xmlns:a16="http://schemas.microsoft.com/office/drawing/2014/main" id="{D7A3CAD3-C857-4EF4-90A9-8B7970199476}"/>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69" name="Rectangle 17">
                <a:extLst>
                  <a:ext uri="{FF2B5EF4-FFF2-40B4-BE49-F238E27FC236}">
                    <a16:creationId xmlns:a16="http://schemas.microsoft.com/office/drawing/2014/main" id="{25D4AE8B-8603-4D9C-9C6E-D89CCB0F9E68}"/>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70" name="Rectangle 18">
                <a:extLst>
                  <a:ext uri="{FF2B5EF4-FFF2-40B4-BE49-F238E27FC236}">
                    <a16:creationId xmlns:a16="http://schemas.microsoft.com/office/drawing/2014/main" id="{A928F392-BABE-4B68-9385-D165C8C7E985}"/>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71" name="Rectangle 19">
                <a:extLst>
                  <a:ext uri="{FF2B5EF4-FFF2-40B4-BE49-F238E27FC236}">
                    <a16:creationId xmlns:a16="http://schemas.microsoft.com/office/drawing/2014/main" id="{15DFE982-484B-4C7B-964A-0AE44DB10DF9}"/>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72" name="Rectangle 20">
                <a:extLst>
                  <a:ext uri="{FF2B5EF4-FFF2-40B4-BE49-F238E27FC236}">
                    <a16:creationId xmlns:a16="http://schemas.microsoft.com/office/drawing/2014/main" id="{7781BFDC-A857-4D27-B711-40070FEA2826}"/>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73" name="Rectangle 21">
                <a:extLst>
                  <a:ext uri="{FF2B5EF4-FFF2-40B4-BE49-F238E27FC236}">
                    <a16:creationId xmlns:a16="http://schemas.microsoft.com/office/drawing/2014/main" id="{EA691CE2-C32E-45FB-86C5-3D4B52F07CFC}"/>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74" name="Line 22">
                <a:extLst>
                  <a:ext uri="{FF2B5EF4-FFF2-40B4-BE49-F238E27FC236}">
                    <a16:creationId xmlns:a16="http://schemas.microsoft.com/office/drawing/2014/main" id="{4937BE4F-B068-44EC-8FC9-2555B7B51B52}"/>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grpSp>
        <p:sp>
          <p:nvSpPr>
            <p:cNvPr id="76" name="Oval 75">
              <a:extLst>
                <a:ext uri="{FF2B5EF4-FFF2-40B4-BE49-F238E27FC236}">
                  <a16:creationId xmlns:a16="http://schemas.microsoft.com/office/drawing/2014/main" id="{B06976D9-B286-4D88-9759-F9AB15A69C60}"/>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grpSp>
      <p:sp>
        <p:nvSpPr>
          <p:cNvPr id="81" name="Freeform: Shape 80">
            <a:extLst>
              <a:ext uri="{FF2B5EF4-FFF2-40B4-BE49-F238E27FC236}">
                <a16:creationId xmlns:a16="http://schemas.microsoft.com/office/drawing/2014/main" id="{6F8E4184-6BEE-46FC-9946-1A6CE7E6AFFA}"/>
              </a:ext>
            </a:extLst>
          </p:cNvPr>
          <p:cNvSpPr/>
          <p:nvPr/>
        </p:nvSpPr>
        <p:spPr bwMode="auto">
          <a:xfrm>
            <a:off x="6370370" y="3915418"/>
            <a:ext cx="919062" cy="189481"/>
          </a:xfrm>
          <a:custGeom>
            <a:avLst/>
            <a:gdLst>
              <a:gd name="connsiteX0" fmla="*/ 944880 w 944880"/>
              <a:gd name="connsiteY0" fmla="*/ 0 h 137160"/>
              <a:gd name="connsiteX1" fmla="*/ 0 w 944880"/>
              <a:gd name="connsiteY1" fmla="*/ 0 h 137160"/>
              <a:gd name="connsiteX2" fmla="*/ 0 w 944880"/>
              <a:gd name="connsiteY2" fmla="*/ 137160 h 137160"/>
            </a:gdLst>
            <a:ahLst/>
            <a:cxnLst>
              <a:cxn ang="0">
                <a:pos x="connsiteX0" y="connsiteY0"/>
              </a:cxn>
              <a:cxn ang="0">
                <a:pos x="connsiteX1" y="connsiteY1"/>
              </a:cxn>
              <a:cxn ang="0">
                <a:pos x="connsiteX2" y="connsiteY2"/>
              </a:cxn>
            </a:cxnLst>
            <a:rect l="l" t="t" r="r" b="b"/>
            <a:pathLst>
              <a:path w="944880" h="137160">
                <a:moveTo>
                  <a:pt x="944880" y="0"/>
                </a:moveTo>
                <a:lnTo>
                  <a:pt x="0" y="0"/>
                </a:lnTo>
                <a:lnTo>
                  <a:pt x="0" y="13716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5" eaLnBrk="1" fontAlgn="auto" hangingPunct="1">
              <a:spcBef>
                <a:spcPts val="0"/>
              </a:spcBef>
              <a:spcAft>
                <a:spcPts val="0"/>
              </a:spcAft>
              <a:defRPr/>
            </a:pPr>
            <a:endParaRPr lang="en-US" sz="1324">
              <a:solidFill>
                <a:srgbClr val="FFFFFF"/>
              </a:solidFill>
              <a:latin typeface="Segoe UI"/>
            </a:endParaRPr>
          </a:p>
        </p:txBody>
      </p:sp>
      <p:cxnSp>
        <p:nvCxnSpPr>
          <p:cNvPr id="79" name="Straight Connector 78">
            <a:extLst>
              <a:ext uri="{FF2B5EF4-FFF2-40B4-BE49-F238E27FC236}">
                <a16:creationId xmlns:a16="http://schemas.microsoft.com/office/drawing/2014/main" id="{3C74FBC0-E95B-4D7D-88F9-4B6B4D4C25E8}"/>
              </a:ext>
            </a:extLst>
          </p:cNvPr>
          <p:cNvCxnSpPr>
            <a:cxnSpLocks/>
          </p:cNvCxnSpPr>
          <p:nvPr/>
        </p:nvCxnSpPr>
        <p:spPr>
          <a:xfrm>
            <a:off x="7289432" y="3669745"/>
            <a:ext cx="0" cy="631277"/>
          </a:xfrm>
          <a:prstGeom prst="line">
            <a:avLst/>
          </a:prstGeom>
          <a:ln w="19050">
            <a:solidFill>
              <a:schemeClr val="accent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7E37BA0E-02A5-471E-9772-7089D03E2241}"/>
              </a:ext>
            </a:extLst>
          </p:cNvPr>
          <p:cNvCxnSpPr>
            <a:cxnSpLocks/>
          </p:cNvCxnSpPr>
          <p:nvPr/>
        </p:nvCxnSpPr>
        <p:spPr>
          <a:xfrm flipV="1">
            <a:off x="6950204" y="1561616"/>
            <a:ext cx="0" cy="837150"/>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00" name="Group 99">
            <a:extLst>
              <a:ext uri="{FF2B5EF4-FFF2-40B4-BE49-F238E27FC236}">
                <a16:creationId xmlns:a16="http://schemas.microsoft.com/office/drawing/2014/main" id="{A018016C-2F92-4E91-9EA4-78F11FEB4037}"/>
              </a:ext>
            </a:extLst>
          </p:cNvPr>
          <p:cNvGrpSpPr/>
          <p:nvPr/>
        </p:nvGrpSpPr>
        <p:grpSpPr>
          <a:xfrm>
            <a:off x="5257588" y="2045262"/>
            <a:ext cx="342767" cy="653332"/>
            <a:chOff x="6395339" y="2399977"/>
            <a:chExt cx="542945" cy="946857"/>
          </a:xfrm>
        </p:grpSpPr>
        <p:grpSp>
          <p:nvGrpSpPr>
            <p:cNvPr id="87" name="Group 25">
              <a:extLst>
                <a:ext uri="{FF2B5EF4-FFF2-40B4-BE49-F238E27FC236}">
                  <a16:creationId xmlns:a16="http://schemas.microsoft.com/office/drawing/2014/main" id="{C0803F12-4B55-4947-BEB5-A0A179860569}"/>
                </a:ext>
              </a:extLst>
            </p:cNvPr>
            <p:cNvGrpSpPr>
              <a:grpSpLocks noChangeAspect="1"/>
            </p:cNvGrpSpPr>
            <p:nvPr/>
          </p:nvGrpSpPr>
          <p:grpSpPr bwMode="auto">
            <a:xfrm>
              <a:off x="6395339" y="2399977"/>
              <a:ext cx="542945" cy="420915"/>
              <a:chOff x="3689" y="2040"/>
              <a:chExt cx="307" cy="238"/>
            </a:xfrm>
          </p:grpSpPr>
          <p:sp>
            <p:nvSpPr>
              <p:cNvPr id="89" name="Freeform 26">
                <a:extLst>
                  <a:ext uri="{FF2B5EF4-FFF2-40B4-BE49-F238E27FC236}">
                    <a16:creationId xmlns:a16="http://schemas.microsoft.com/office/drawing/2014/main" id="{80BA2229-D761-4123-AA51-BB294FC5D9D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90" name="Freeform 27">
                <a:extLst>
                  <a:ext uri="{FF2B5EF4-FFF2-40B4-BE49-F238E27FC236}">
                    <a16:creationId xmlns:a16="http://schemas.microsoft.com/office/drawing/2014/main" id="{E71ED72D-CD0C-442F-BA36-111B04589028}"/>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91" name="Freeform 28">
                <a:extLst>
                  <a:ext uri="{FF2B5EF4-FFF2-40B4-BE49-F238E27FC236}">
                    <a16:creationId xmlns:a16="http://schemas.microsoft.com/office/drawing/2014/main" id="{DD60DC78-83EA-46F2-B58E-505E5574741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92" name="Line 29">
                <a:extLst>
                  <a:ext uri="{FF2B5EF4-FFF2-40B4-BE49-F238E27FC236}">
                    <a16:creationId xmlns:a16="http://schemas.microsoft.com/office/drawing/2014/main" id="{B5C13BD3-BD1C-4174-875D-7E7D7F65CBF9}"/>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93" name="Freeform 30">
                <a:extLst>
                  <a:ext uri="{FF2B5EF4-FFF2-40B4-BE49-F238E27FC236}">
                    <a16:creationId xmlns:a16="http://schemas.microsoft.com/office/drawing/2014/main" id="{E0E4F4F1-7C09-4AE9-88DA-6F474950EEF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grpSp>
        <p:grpSp>
          <p:nvGrpSpPr>
            <p:cNvPr id="94" name="Group 25">
              <a:extLst>
                <a:ext uri="{FF2B5EF4-FFF2-40B4-BE49-F238E27FC236}">
                  <a16:creationId xmlns:a16="http://schemas.microsoft.com/office/drawing/2014/main" id="{74D5242C-7CA4-40EC-97D7-55A05A464FF1}"/>
                </a:ext>
              </a:extLst>
            </p:cNvPr>
            <p:cNvGrpSpPr>
              <a:grpSpLocks noChangeAspect="1"/>
            </p:cNvGrpSpPr>
            <p:nvPr/>
          </p:nvGrpSpPr>
          <p:grpSpPr bwMode="auto">
            <a:xfrm>
              <a:off x="6395339" y="2925919"/>
              <a:ext cx="542945" cy="420915"/>
              <a:chOff x="3689" y="2040"/>
              <a:chExt cx="307" cy="238"/>
            </a:xfrm>
          </p:grpSpPr>
          <p:sp>
            <p:nvSpPr>
              <p:cNvPr id="95" name="Freeform 26">
                <a:extLst>
                  <a:ext uri="{FF2B5EF4-FFF2-40B4-BE49-F238E27FC236}">
                    <a16:creationId xmlns:a16="http://schemas.microsoft.com/office/drawing/2014/main" id="{DE7D82B7-C731-412C-BF47-7FCEE29148BB}"/>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96" name="Freeform 27">
                <a:extLst>
                  <a:ext uri="{FF2B5EF4-FFF2-40B4-BE49-F238E27FC236}">
                    <a16:creationId xmlns:a16="http://schemas.microsoft.com/office/drawing/2014/main" id="{246BDD8B-0AFD-41C1-A6DC-567CEE97B2E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97" name="Freeform 28">
                <a:extLst>
                  <a:ext uri="{FF2B5EF4-FFF2-40B4-BE49-F238E27FC236}">
                    <a16:creationId xmlns:a16="http://schemas.microsoft.com/office/drawing/2014/main" id="{DB1274FF-7BD5-45A0-9E1F-2BC16B3E237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98" name="Line 29">
                <a:extLst>
                  <a:ext uri="{FF2B5EF4-FFF2-40B4-BE49-F238E27FC236}">
                    <a16:creationId xmlns:a16="http://schemas.microsoft.com/office/drawing/2014/main" id="{27B5D06E-4F52-4CBE-A98D-4427CD24286F}"/>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99" name="Freeform 30">
                <a:extLst>
                  <a:ext uri="{FF2B5EF4-FFF2-40B4-BE49-F238E27FC236}">
                    <a16:creationId xmlns:a16="http://schemas.microsoft.com/office/drawing/2014/main" id="{EC296745-A1D0-4C68-B9E6-539D2ABD573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grpSp>
      </p:grpSp>
      <p:grpSp>
        <p:nvGrpSpPr>
          <p:cNvPr id="101" name="Group 100">
            <a:extLst>
              <a:ext uri="{FF2B5EF4-FFF2-40B4-BE49-F238E27FC236}">
                <a16:creationId xmlns:a16="http://schemas.microsoft.com/office/drawing/2014/main" id="{719C5AD8-18FF-4C3D-85B5-9410180E015A}"/>
              </a:ext>
            </a:extLst>
          </p:cNvPr>
          <p:cNvGrpSpPr/>
          <p:nvPr/>
        </p:nvGrpSpPr>
        <p:grpSpPr>
          <a:xfrm>
            <a:off x="5261329" y="3253492"/>
            <a:ext cx="342767" cy="653332"/>
            <a:chOff x="6395339" y="2399977"/>
            <a:chExt cx="542945" cy="946857"/>
          </a:xfrm>
        </p:grpSpPr>
        <p:grpSp>
          <p:nvGrpSpPr>
            <p:cNvPr id="102" name="Group 25">
              <a:extLst>
                <a:ext uri="{FF2B5EF4-FFF2-40B4-BE49-F238E27FC236}">
                  <a16:creationId xmlns:a16="http://schemas.microsoft.com/office/drawing/2014/main" id="{03F22B1A-19A3-46D6-BB6D-5CF872D994CC}"/>
                </a:ext>
              </a:extLst>
            </p:cNvPr>
            <p:cNvGrpSpPr>
              <a:grpSpLocks noChangeAspect="1"/>
            </p:cNvGrpSpPr>
            <p:nvPr/>
          </p:nvGrpSpPr>
          <p:grpSpPr bwMode="auto">
            <a:xfrm>
              <a:off x="6395339" y="2399977"/>
              <a:ext cx="542945" cy="420915"/>
              <a:chOff x="3689" y="2040"/>
              <a:chExt cx="307" cy="238"/>
            </a:xfrm>
          </p:grpSpPr>
          <p:sp>
            <p:nvSpPr>
              <p:cNvPr id="109" name="Freeform 26">
                <a:extLst>
                  <a:ext uri="{FF2B5EF4-FFF2-40B4-BE49-F238E27FC236}">
                    <a16:creationId xmlns:a16="http://schemas.microsoft.com/office/drawing/2014/main" id="{AC5B8502-F1FD-49BB-AE40-6B720B5A2F4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110" name="Freeform 27">
                <a:extLst>
                  <a:ext uri="{FF2B5EF4-FFF2-40B4-BE49-F238E27FC236}">
                    <a16:creationId xmlns:a16="http://schemas.microsoft.com/office/drawing/2014/main" id="{9C9EE692-DFA5-4A84-ABF6-1F7918822EC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111" name="Freeform 28">
                <a:extLst>
                  <a:ext uri="{FF2B5EF4-FFF2-40B4-BE49-F238E27FC236}">
                    <a16:creationId xmlns:a16="http://schemas.microsoft.com/office/drawing/2014/main" id="{3800B0CD-EDEE-42F4-8472-C5D64EE0D4D0}"/>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112" name="Line 29">
                <a:extLst>
                  <a:ext uri="{FF2B5EF4-FFF2-40B4-BE49-F238E27FC236}">
                    <a16:creationId xmlns:a16="http://schemas.microsoft.com/office/drawing/2014/main" id="{919A4A51-A88B-47EC-B5A4-F5C38FFD6E66}"/>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113" name="Freeform 30">
                <a:extLst>
                  <a:ext uri="{FF2B5EF4-FFF2-40B4-BE49-F238E27FC236}">
                    <a16:creationId xmlns:a16="http://schemas.microsoft.com/office/drawing/2014/main" id="{80AC7F69-18F3-4B56-9092-9724A7A577BB}"/>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grpSp>
        <p:grpSp>
          <p:nvGrpSpPr>
            <p:cNvPr id="103" name="Group 25">
              <a:extLst>
                <a:ext uri="{FF2B5EF4-FFF2-40B4-BE49-F238E27FC236}">
                  <a16:creationId xmlns:a16="http://schemas.microsoft.com/office/drawing/2014/main" id="{3A602E75-203E-45CD-B479-969A78FDEF0E}"/>
                </a:ext>
              </a:extLst>
            </p:cNvPr>
            <p:cNvGrpSpPr>
              <a:grpSpLocks noChangeAspect="1"/>
            </p:cNvGrpSpPr>
            <p:nvPr/>
          </p:nvGrpSpPr>
          <p:grpSpPr bwMode="auto">
            <a:xfrm>
              <a:off x="6395339" y="2925919"/>
              <a:ext cx="542945" cy="420915"/>
              <a:chOff x="3689" y="2040"/>
              <a:chExt cx="307" cy="238"/>
            </a:xfrm>
          </p:grpSpPr>
          <p:sp>
            <p:nvSpPr>
              <p:cNvPr id="104" name="Freeform 26">
                <a:extLst>
                  <a:ext uri="{FF2B5EF4-FFF2-40B4-BE49-F238E27FC236}">
                    <a16:creationId xmlns:a16="http://schemas.microsoft.com/office/drawing/2014/main" id="{FC409BD6-3AE6-4ADB-9682-9F5190E7A25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105" name="Freeform 27">
                <a:extLst>
                  <a:ext uri="{FF2B5EF4-FFF2-40B4-BE49-F238E27FC236}">
                    <a16:creationId xmlns:a16="http://schemas.microsoft.com/office/drawing/2014/main" id="{9C97D486-0C77-426A-BA02-BCF72A55B7D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106" name="Freeform 28">
                <a:extLst>
                  <a:ext uri="{FF2B5EF4-FFF2-40B4-BE49-F238E27FC236}">
                    <a16:creationId xmlns:a16="http://schemas.microsoft.com/office/drawing/2014/main" id="{C67F3F0B-98A2-4490-AB51-7C952CE25F5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107" name="Line 29">
                <a:extLst>
                  <a:ext uri="{FF2B5EF4-FFF2-40B4-BE49-F238E27FC236}">
                    <a16:creationId xmlns:a16="http://schemas.microsoft.com/office/drawing/2014/main" id="{2E08A0B5-D3E9-4F31-B86C-36BF02D659FA}"/>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sp>
            <p:nvSpPr>
              <p:cNvPr id="108" name="Freeform 30">
                <a:extLst>
                  <a:ext uri="{FF2B5EF4-FFF2-40B4-BE49-F238E27FC236}">
                    <a16:creationId xmlns:a16="http://schemas.microsoft.com/office/drawing/2014/main" id="{5A184DFD-1B2D-46C9-A2A9-1034B33CCB3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grpSp>
      </p:grpSp>
      <p:sp>
        <p:nvSpPr>
          <p:cNvPr id="114" name="Freeform: Shape 113">
            <a:extLst>
              <a:ext uri="{FF2B5EF4-FFF2-40B4-BE49-F238E27FC236}">
                <a16:creationId xmlns:a16="http://schemas.microsoft.com/office/drawing/2014/main" id="{9345A5B7-52E2-4316-BD7F-51FCA56DEC34}"/>
              </a:ext>
            </a:extLst>
          </p:cNvPr>
          <p:cNvSpPr/>
          <p:nvPr/>
        </p:nvSpPr>
        <p:spPr bwMode="auto">
          <a:xfrm>
            <a:off x="5833024" y="3093919"/>
            <a:ext cx="725227" cy="292964"/>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eaLnBrk="1" hangingPunct="1">
              <a:lnSpc>
                <a:spcPct val="90000"/>
              </a:lnSpc>
              <a:defRPr/>
            </a:pPr>
            <a:endParaRPr lang="en-US" sz="1050" kern="0">
              <a:solidFill>
                <a:srgbClr val="2F2F2F"/>
              </a:solidFill>
              <a:latin typeface="Segoe UI Semibold" panose="020B0702040204020203" pitchFamily="34" charset="0"/>
              <a:cs typeface="Segoe UI Semibold" panose="020B0702040204020203" pitchFamily="34" charset="0"/>
            </a:endParaRPr>
          </a:p>
        </p:txBody>
      </p:sp>
      <p:sp>
        <p:nvSpPr>
          <p:cNvPr id="115" name="Freeform: Shape 114">
            <a:extLst>
              <a:ext uri="{FF2B5EF4-FFF2-40B4-BE49-F238E27FC236}">
                <a16:creationId xmlns:a16="http://schemas.microsoft.com/office/drawing/2014/main" id="{71E1B1AB-D3DC-48BD-9D79-294ACB2E9AAE}"/>
              </a:ext>
            </a:extLst>
          </p:cNvPr>
          <p:cNvSpPr/>
          <p:nvPr/>
        </p:nvSpPr>
        <p:spPr bwMode="auto">
          <a:xfrm flipH="1">
            <a:off x="5833024" y="2290477"/>
            <a:ext cx="725227" cy="633938"/>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eaLnBrk="1" hangingPunct="1">
              <a:lnSpc>
                <a:spcPct val="90000"/>
              </a:lnSpc>
              <a:defRPr/>
            </a:pPr>
            <a:endParaRPr lang="en-US" sz="1050" kern="0">
              <a:solidFill>
                <a:srgbClr val="2F2F2F"/>
              </a:solidFill>
              <a:latin typeface="Segoe UI Semibold" panose="020B0702040204020203" pitchFamily="34" charset="0"/>
              <a:cs typeface="Segoe UI Semibold" panose="020B0702040204020203" pitchFamily="34" charset="0"/>
            </a:endParaRPr>
          </a:p>
        </p:txBody>
      </p:sp>
      <p:sp>
        <p:nvSpPr>
          <p:cNvPr id="119" name="Oval 118">
            <a:extLst>
              <a:ext uri="{FF2B5EF4-FFF2-40B4-BE49-F238E27FC236}">
                <a16:creationId xmlns:a16="http://schemas.microsoft.com/office/drawing/2014/main" id="{1EC6F79A-3B61-48DC-BC99-F9CB00F27E6F}"/>
              </a:ext>
            </a:extLst>
          </p:cNvPr>
          <p:cNvSpPr/>
          <p:nvPr/>
        </p:nvSpPr>
        <p:spPr bwMode="auto">
          <a:xfrm>
            <a:off x="8611516" y="2756263"/>
            <a:ext cx="457200" cy="499704"/>
          </a:xfrm>
          <a:prstGeom prst="ellips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eaLnBrk="1" fontAlgn="auto" hangingPunct="1">
              <a:spcBef>
                <a:spcPts val="0"/>
              </a:spcBef>
              <a:spcAft>
                <a:spcPts val="0"/>
              </a:spcAft>
              <a:defRPr/>
            </a:pPr>
            <a:endParaRPr lang="en-US" sz="1324">
              <a:solidFill>
                <a:srgbClr val="1A1A1A"/>
              </a:solidFill>
              <a:latin typeface="Segoe UI"/>
            </a:endParaRPr>
          </a:p>
        </p:txBody>
      </p:sp>
      <p:grpSp>
        <p:nvGrpSpPr>
          <p:cNvPr id="131" name="Group 130">
            <a:extLst>
              <a:ext uri="{FF2B5EF4-FFF2-40B4-BE49-F238E27FC236}">
                <a16:creationId xmlns:a16="http://schemas.microsoft.com/office/drawing/2014/main" id="{7CACB892-CF1A-4DF4-86DC-D0A9663DB21A}"/>
              </a:ext>
            </a:extLst>
          </p:cNvPr>
          <p:cNvGrpSpPr/>
          <p:nvPr/>
        </p:nvGrpSpPr>
        <p:grpSpPr>
          <a:xfrm>
            <a:off x="8709536" y="2866394"/>
            <a:ext cx="261159" cy="276981"/>
            <a:chOff x="11105601" y="3231122"/>
            <a:chExt cx="348212" cy="337894"/>
          </a:xfrm>
        </p:grpSpPr>
        <p:sp>
          <p:nvSpPr>
            <p:cNvPr id="30" name="globe_2">
              <a:extLst>
                <a:ext uri="{FF2B5EF4-FFF2-40B4-BE49-F238E27FC236}">
                  <a16:creationId xmlns:a16="http://schemas.microsoft.com/office/drawing/2014/main" id="{EEC91E50-2FBF-4896-AF5C-94E5DFF00075}"/>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775" eaLnBrk="1" fontAlgn="auto" hangingPunct="1">
                <a:spcBef>
                  <a:spcPts val="0"/>
                </a:spcBef>
                <a:spcAft>
                  <a:spcPts val="0"/>
                </a:spcAft>
                <a:defRPr/>
              </a:pPr>
              <a:endParaRPr lang="en-US" sz="1050">
                <a:gradFill>
                  <a:gsLst>
                    <a:gs pos="0">
                      <a:srgbClr val="505050"/>
                    </a:gs>
                    <a:gs pos="100000">
                      <a:srgbClr val="505050"/>
                    </a:gs>
                  </a:gsLst>
                </a:gradFill>
                <a:latin typeface="Segoe UI"/>
              </a:endParaRPr>
            </a:p>
          </p:txBody>
        </p:sp>
        <p:cxnSp>
          <p:nvCxnSpPr>
            <p:cNvPr id="130" name="Straight Connector 129">
              <a:extLst>
                <a:ext uri="{FF2B5EF4-FFF2-40B4-BE49-F238E27FC236}">
                  <a16:creationId xmlns:a16="http://schemas.microsoft.com/office/drawing/2014/main" id="{BDFB565B-306F-423A-BC14-06B2CD4090F1}"/>
                </a:ext>
              </a:extLst>
            </p:cNvPr>
            <p:cNvCxnSpPr>
              <a:stCxn id="30" idx="1"/>
              <a:endCxn id="30" idx="3"/>
            </p:cNvCxnSpPr>
            <p:nvPr/>
          </p:nvCxnSpPr>
          <p:spPr>
            <a:xfrm>
              <a:off x="11280227" y="3231122"/>
              <a:ext cx="0" cy="337894"/>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85" name="TextBox 84">
            <a:extLst>
              <a:ext uri="{FF2B5EF4-FFF2-40B4-BE49-F238E27FC236}">
                <a16:creationId xmlns:a16="http://schemas.microsoft.com/office/drawing/2014/main" id="{E1AD68B6-C9AF-4D9D-B51E-C29A19D5FFEC}"/>
              </a:ext>
            </a:extLst>
          </p:cNvPr>
          <p:cNvSpPr txBox="1"/>
          <p:nvPr/>
        </p:nvSpPr>
        <p:spPr>
          <a:xfrm>
            <a:off x="6766201" y="3325236"/>
            <a:ext cx="904351" cy="161583"/>
          </a:xfrm>
          <a:prstGeom prst="rect">
            <a:avLst/>
          </a:prstGeom>
          <a:noFill/>
        </p:spPr>
        <p:txBody>
          <a:bodyPr wrap="square" lIns="0" tIns="0" rIns="0" bIns="0" rtlCol="0">
            <a:spAutoFit/>
          </a:bodyPr>
          <a:lstStyle/>
          <a:p>
            <a:pPr defTabSz="685775" eaLnBrk="1" fontAlgn="auto" hangingPunct="1">
              <a:spcBef>
                <a:spcPts val="0"/>
              </a:spcBef>
              <a:spcAft>
                <a:spcPts val="0"/>
              </a:spcAft>
              <a:defRPr/>
            </a:pPr>
            <a:r>
              <a:rPr lang="en-US" sz="1050" b="1">
                <a:gradFill>
                  <a:gsLst>
                    <a:gs pos="2917">
                      <a:srgbClr val="1A1A1A"/>
                    </a:gs>
                    <a:gs pos="30000">
                      <a:srgbClr val="1A1A1A"/>
                    </a:gs>
                  </a:gsLst>
                  <a:lin ang="5400000" scaled="0"/>
                </a:gradFill>
                <a:latin typeface="Segoe UI"/>
              </a:rPr>
              <a:t>Azure Firewall</a:t>
            </a:r>
          </a:p>
        </p:txBody>
      </p:sp>
      <p:pic>
        <p:nvPicPr>
          <p:cNvPr id="116" name="Graphic 115">
            <a:extLst>
              <a:ext uri="{FF2B5EF4-FFF2-40B4-BE49-F238E27FC236}">
                <a16:creationId xmlns:a16="http://schemas.microsoft.com/office/drawing/2014/main" id="{588B9E63-3E1F-AF4E-A1E3-A962071C0F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5757" y="187698"/>
            <a:ext cx="577797" cy="577797"/>
          </a:xfrm>
          <a:prstGeom prst="rect">
            <a:avLst/>
          </a:prstGeom>
        </p:spPr>
      </p:pic>
      <p:pic>
        <p:nvPicPr>
          <p:cNvPr id="80" name="Graphic 79">
            <a:extLst>
              <a:ext uri="{FF2B5EF4-FFF2-40B4-BE49-F238E27FC236}">
                <a16:creationId xmlns:a16="http://schemas.microsoft.com/office/drawing/2014/main" id="{64AB9668-9FC3-4B75-B288-DE71E93597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29900" y="2613424"/>
            <a:ext cx="558653" cy="558653"/>
          </a:xfrm>
          <a:prstGeom prst="rect">
            <a:avLst/>
          </a:prstGeom>
        </p:spPr>
      </p:pic>
    </p:spTree>
    <p:extLst>
      <p:ext uri="{BB962C8B-B14F-4D97-AF65-F5344CB8AC3E}">
        <p14:creationId xmlns:p14="http://schemas.microsoft.com/office/powerpoint/2010/main" val="2044369280"/>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E862BE82-D00D-42C1-BF16-93AA37870C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506"/>
            <a:ext cx="4206915" cy="4380209"/>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Calibri" panose="020F0502020204030204"/>
            </a:endParaRPr>
          </a:p>
        </p:txBody>
      </p:sp>
      <p:sp>
        <p:nvSpPr>
          <p:cNvPr id="24" name="Freeform: Shape 23">
            <a:extLst>
              <a:ext uri="{FF2B5EF4-FFF2-40B4-BE49-F238E27FC236}">
                <a16:creationId xmlns:a16="http://schemas.microsoft.com/office/drawing/2014/main" id="{F6D92C2D-1D3D-4974-918C-06579FB354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49" y="-2"/>
            <a:ext cx="4081394" cy="4241205"/>
          </a:xfrm>
          <a:custGeom>
            <a:avLst/>
            <a:gdLst>
              <a:gd name="connsiteX0" fmla="*/ 0 w 5441859"/>
              <a:gd name="connsiteY0" fmla="*/ 0 h 5654940"/>
              <a:gd name="connsiteX1" fmla="*/ 4400492 w 5441859"/>
              <a:gd name="connsiteY1" fmla="*/ 0 h 5654940"/>
              <a:gd name="connsiteX2" fmla="*/ 4484767 w 5441859"/>
              <a:gd name="connsiteY2" fmla="*/ 76595 h 5654940"/>
              <a:gd name="connsiteX3" fmla="*/ 5441859 w 5441859"/>
              <a:gd name="connsiteY3" fmla="*/ 2387221 h 5654940"/>
              <a:gd name="connsiteX4" fmla="*/ 2174140 w 5441859"/>
              <a:gd name="connsiteY4" fmla="*/ 5654940 h 5654940"/>
              <a:gd name="connsiteX5" fmla="*/ 156693 w 5441859"/>
              <a:gd name="connsiteY5" fmla="*/ 4957981 h 5654940"/>
              <a:gd name="connsiteX6" fmla="*/ 0 w 5441859"/>
              <a:gd name="connsiteY6" fmla="*/ 4820612 h 565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41859" h="5654940">
                <a:moveTo>
                  <a:pt x="0" y="0"/>
                </a:moveTo>
                <a:lnTo>
                  <a:pt x="4400492" y="0"/>
                </a:lnTo>
                <a:lnTo>
                  <a:pt x="4484767" y="76595"/>
                </a:lnTo>
                <a:cubicBezTo>
                  <a:pt x="5076108" y="667936"/>
                  <a:pt x="5441859" y="1484866"/>
                  <a:pt x="5441859" y="2387221"/>
                </a:cubicBezTo>
                <a:cubicBezTo>
                  <a:pt x="5441859" y="4191932"/>
                  <a:pt x="3978851" y="5654940"/>
                  <a:pt x="2174140" y="5654940"/>
                </a:cubicBezTo>
                <a:cubicBezTo>
                  <a:pt x="1412778" y="5654940"/>
                  <a:pt x="712231" y="5394557"/>
                  <a:pt x="156693" y="4957981"/>
                </a:cubicBezTo>
                <a:lnTo>
                  <a:pt x="0" y="4820612"/>
                </a:lnTo>
                <a:close/>
              </a:path>
            </a:pathLst>
          </a:custGeom>
          <a:solidFill>
            <a:schemeClr val="bg1">
              <a:lumMod val="95000"/>
              <a:lumOff val="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Calibri" panose="020F0502020204030204"/>
            </a:endParaRPr>
          </a:p>
        </p:txBody>
      </p:sp>
      <p:sp>
        <p:nvSpPr>
          <p:cNvPr id="17" name="Title 16"/>
          <p:cNvSpPr>
            <a:spLocks noGrp="1"/>
          </p:cNvSpPr>
          <p:nvPr>
            <p:ph type="title"/>
          </p:nvPr>
        </p:nvSpPr>
        <p:spPr>
          <a:xfrm>
            <a:off x="562682" y="474743"/>
            <a:ext cx="3046982" cy="782557"/>
          </a:xfrm>
        </p:spPr>
        <p:txBody>
          <a:bodyPr vert="horz" wrap="square" lIns="68580" tIns="34290" rIns="68580" bIns="34290" rtlCol="0" anchor="ctr">
            <a:normAutofit/>
          </a:bodyPr>
          <a:lstStyle/>
          <a:p>
            <a:pPr defTabSz="685800">
              <a:lnSpc>
                <a:spcPct val="90000"/>
              </a:lnSpc>
            </a:pPr>
            <a:r>
              <a:rPr lang="en-US" kern="1200">
                <a:solidFill>
                  <a:schemeClr val="tx1"/>
                </a:solidFill>
                <a:latin typeface="+mj-lt"/>
                <a:ea typeface="+mj-ea"/>
                <a:cs typeface="+mj-cs"/>
              </a:rPr>
              <a:t>NSG Rules</a:t>
            </a:r>
          </a:p>
        </p:txBody>
      </p:sp>
      <p:sp>
        <p:nvSpPr>
          <p:cNvPr id="8" name="Text Placeholder 7">
            <a:extLst>
              <a:ext uri="{FF2B5EF4-FFF2-40B4-BE49-F238E27FC236}">
                <a16:creationId xmlns:a16="http://schemas.microsoft.com/office/drawing/2014/main" id="{37B485B1-04A3-4531-A6A1-CA384C8FFB95}"/>
              </a:ext>
            </a:extLst>
          </p:cNvPr>
          <p:cNvSpPr>
            <a:spLocks noGrp="1"/>
          </p:cNvSpPr>
          <p:nvPr>
            <p:ph type="body" sz="quarter" idx="10"/>
          </p:nvPr>
        </p:nvSpPr>
        <p:spPr>
          <a:xfrm>
            <a:off x="388856" y="1330779"/>
            <a:ext cx="3048307" cy="2065565"/>
          </a:xfrm>
        </p:spPr>
        <p:txBody>
          <a:bodyPr vert="horz" wrap="square" lIns="68580" tIns="34290" rIns="68580" bIns="34290" rtlCol="0" anchor="t">
            <a:normAutofit/>
          </a:bodyPr>
          <a:lstStyle/>
          <a:p>
            <a:pPr defTabSz="685800">
              <a:lnSpc>
                <a:spcPct val="90000"/>
              </a:lnSpc>
              <a:buFont typeface="Arial" panose="020B0604020202020204" pitchFamily="34" charset="0"/>
              <a:buChar char="•"/>
            </a:pPr>
            <a:r>
              <a:rPr lang="en-US" sz="1350">
                <a:solidFill>
                  <a:schemeClr val="tx1"/>
                </a:solidFill>
                <a:latin typeface="+mn-lt"/>
                <a:cs typeface="+mn-cs"/>
              </a:rPr>
              <a:t>Security rules in NSGs enable you to filter network traffic that can flow in and out of virtual network subnets and network interfaces. </a:t>
            </a:r>
          </a:p>
          <a:p>
            <a:pPr defTabSz="685800">
              <a:lnSpc>
                <a:spcPct val="90000"/>
              </a:lnSpc>
              <a:buFont typeface="Arial" panose="020B0604020202020204" pitchFamily="34" charset="0"/>
              <a:buChar char="•"/>
            </a:pPr>
            <a:r>
              <a:rPr lang="en-US" sz="1350">
                <a:solidFill>
                  <a:schemeClr val="tx1"/>
                </a:solidFill>
                <a:latin typeface="+mn-lt"/>
                <a:cs typeface="+mn-cs"/>
              </a:rPr>
              <a:t>There are default security rules. You cannot delete the default rules, but you can add other rules with a higher priority. </a:t>
            </a:r>
          </a:p>
          <a:p>
            <a:pPr defTabSz="685800">
              <a:lnSpc>
                <a:spcPct val="90000"/>
              </a:lnSpc>
              <a:buFont typeface="Arial" panose="020B0604020202020204" pitchFamily="34" charset="0"/>
              <a:buChar char="•"/>
            </a:pPr>
            <a:endParaRPr lang="en-US" sz="1350">
              <a:solidFill>
                <a:schemeClr val="tx1"/>
              </a:solidFill>
              <a:latin typeface="+mn-lt"/>
              <a:cs typeface="+mn-cs"/>
            </a:endParaRPr>
          </a:p>
        </p:txBody>
      </p:sp>
      <p:pic>
        <p:nvPicPr>
          <p:cNvPr id="2" name="Picture 1" descr="Screenshot of the default inbound and outbound security rules. ">
            <a:extLst>
              <a:ext uri="{FF2B5EF4-FFF2-40B4-BE49-F238E27FC236}">
                <a16:creationId xmlns:a16="http://schemas.microsoft.com/office/drawing/2014/main" id="{46DEF714-7DA8-46C4-8A89-DC1B5C303705}"/>
              </a:ext>
            </a:extLst>
          </p:cNvPr>
          <p:cNvPicPr>
            <a:picLocks noChangeAspect="1"/>
          </p:cNvPicPr>
          <p:nvPr/>
        </p:nvPicPr>
        <p:blipFill>
          <a:blip r:embed="rId3"/>
          <a:stretch>
            <a:fillRect/>
          </a:stretch>
        </p:blipFill>
        <p:spPr>
          <a:xfrm>
            <a:off x="4528576" y="562020"/>
            <a:ext cx="4133078" cy="3799765"/>
          </a:xfrm>
          <a:prstGeom prst="rect">
            <a:avLst/>
          </a:prstGeom>
        </p:spPr>
      </p:pic>
    </p:spTree>
    <p:extLst>
      <p:ext uri="{BB962C8B-B14F-4D97-AF65-F5344CB8AC3E}">
        <p14:creationId xmlns:p14="http://schemas.microsoft.com/office/powerpoint/2010/main" val="759302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8C50DBD-83EB-4C65-9CCB-55666DD316D6}"/>
              </a:ext>
            </a:extLst>
          </p:cNvPr>
          <p:cNvSpPr>
            <a:spLocks noGrp="1"/>
          </p:cNvSpPr>
          <p:nvPr>
            <p:ph type="body" sz="quarter" idx="10"/>
          </p:nvPr>
        </p:nvSpPr>
        <p:spPr/>
        <p:txBody>
          <a:bodyPr/>
          <a:lstStyle/>
          <a:p>
            <a:r>
              <a:rPr lang="en-US" dirty="0"/>
              <a:t>N-Tier Example</a:t>
            </a:r>
          </a:p>
        </p:txBody>
      </p:sp>
      <p:sp>
        <p:nvSpPr>
          <p:cNvPr id="4" name="Title 3">
            <a:extLst>
              <a:ext uri="{FF2B5EF4-FFF2-40B4-BE49-F238E27FC236}">
                <a16:creationId xmlns:a16="http://schemas.microsoft.com/office/drawing/2014/main" id="{B3906305-5508-48D5-A403-CC7CC982962A}"/>
              </a:ext>
            </a:extLst>
          </p:cNvPr>
          <p:cNvSpPr>
            <a:spLocks noGrp="1"/>
          </p:cNvSpPr>
          <p:nvPr>
            <p:ph type="title"/>
          </p:nvPr>
        </p:nvSpPr>
        <p:spPr/>
        <p:txBody>
          <a:bodyPr>
            <a:normAutofit/>
          </a:bodyPr>
          <a:lstStyle/>
          <a:p>
            <a:r>
              <a:rPr lang="en-US" dirty="0"/>
              <a:t>Stateful Firewall Rules using NSGs</a:t>
            </a:r>
          </a:p>
        </p:txBody>
      </p:sp>
      <p:sp>
        <p:nvSpPr>
          <p:cNvPr id="5" name="Rectangle 4">
            <a:extLst>
              <a:ext uri="{FF2B5EF4-FFF2-40B4-BE49-F238E27FC236}">
                <a16:creationId xmlns:a16="http://schemas.microsoft.com/office/drawing/2014/main" id="{BDE7EFE2-97CB-4D00-A226-4784BAE217DA}"/>
              </a:ext>
            </a:extLst>
          </p:cNvPr>
          <p:cNvSpPr/>
          <p:nvPr/>
        </p:nvSpPr>
        <p:spPr bwMode="auto">
          <a:xfrm>
            <a:off x="2616053" y="808663"/>
            <a:ext cx="3724068" cy="3883313"/>
          </a:xfrm>
          <a:prstGeom prst="rect">
            <a:avLst/>
          </a:prstGeom>
          <a:noFill/>
          <a:ln w="25400" cmpd="sng">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0399" tIns="25199" rIns="50399" bIns="25199" numCol="1" rtlCol="0" anchor="ctr" anchorCtr="0" compatLnSpc="1">
            <a:prstTxWarp prst="textNoShape">
              <a:avLst/>
            </a:prstTxWarp>
          </a:bodyPr>
          <a:lstStyle/>
          <a:p>
            <a:pPr algn="ctr" defTabSz="503809"/>
            <a:endParaRPr lang="en-US" sz="1250" dirty="0">
              <a:solidFill>
                <a:srgbClr val="5F5F5F"/>
              </a:solidFill>
            </a:endParaRPr>
          </a:p>
        </p:txBody>
      </p:sp>
      <p:sp>
        <p:nvSpPr>
          <p:cNvPr id="6" name="TextBox 5">
            <a:extLst>
              <a:ext uri="{FF2B5EF4-FFF2-40B4-BE49-F238E27FC236}">
                <a16:creationId xmlns:a16="http://schemas.microsoft.com/office/drawing/2014/main" id="{F855216B-AC40-47EC-B40B-FD11B54B80A4}"/>
              </a:ext>
            </a:extLst>
          </p:cNvPr>
          <p:cNvSpPr txBox="1"/>
          <p:nvPr/>
        </p:nvSpPr>
        <p:spPr>
          <a:xfrm>
            <a:off x="2657847" y="854712"/>
            <a:ext cx="1797417" cy="459293"/>
          </a:xfrm>
          <a:prstGeom prst="rect">
            <a:avLst/>
          </a:prstGeom>
          <a:solidFill>
            <a:schemeClr val="accent2"/>
          </a:solidFill>
        </p:spPr>
        <p:txBody>
          <a:bodyPr wrap="square" lIns="0" tIns="0" rIns="0" bIns="0" rtlCol="0">
            <a:spAutoFit/>
          </a:bodyPr>
          <a:lstStyle/>
          <a:p>
            <a:pPr>
              <a:lnSpc>
                <a:spcPct val="90000"/>
              </a:lnSpc>
              <a:spcBef>
                <a:spcPct val="20000"/>
              </a:spcBef>
              <a:buSzPct val="80000"/>
            </a:pPr>
            <a:r>
              <a:rPr lang="en-US" sz="1029" b="1" dirty="0">
                <a:solidFill>
                  <a:schemeClr val="bg1"/>
                </a:solidFill>
              </a:rPr>
              <a:t>Virtual Network</a:t>
            </a:r>
          </a:p>
          <a:p>
            <a:pPr>
              <a:lnSpc>
                <a:spcPct val="90000"/>
              </a:lnSpc>
              <a:spcBef>
                <a:spcPct val="20000"/>
              </a:spcBef>
              <a:buSzPct val="80000"/>
            </a:pPr>
            <a:r>
              <a:rPr lang="en-US" sz="1029" b="1" dirty="0">
                <a:solidFill>
                  <a:schemeClr val="bg1"/>
                </a:solidFill>
              </a:rPr>
              <a:t>Address Space: 172.16.0.0/16</a:t>
            </a:r>
          </a:p>
        </p:txBody>
      </p:sp>
      <p:sp>
        <p:nvSpPr>
          <p:cNvPr id="7" name="Rectangle 6">
            <a:extLst>
              <a:ext uri="{FF2B5EF4-FFF2-40B4-BE49-F238E27FC236}">
                <a16:creationId xmlns:a16="http://schemas.microsoft.com/office/drawing/2014/main" id="{88B67386-9561-4098-AB3A-4502B3FC83E5}"/>
              </a:ext>
            </a:extLst>
          </p:cNvPr>
          <p:cNvSpPr/>
          <p:nvPr/>
        </p:nvSpPr>
        <p:spPr bwMode="auto">
          <a:xfrm>
            <a:off x="2711637" y="1362061"/>
            <a:ext cx="3487255" cy="1309930"/>
          </a:xfrm>
          <a:prstGeom prst="rect">
            <a:avLst/>
          </a:prstGeom>
          <a:solidFill>
            <a:schemeClr val="bg1"/>
          </a:solidFill>
          <a:ln w="254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29" tIns="33614" rIns="67229" bIns="33614" numCol="1" rtlCol="0" anchor="ctr" anchorCtr="0" compatLnSpc="1">
            <a:prstTxWarp prst="textNoShape">
              <a:avLst/>
            </a:prstTxWarp>
          </a:bodyPr>
          <a:lstStyle/>
          <a:p>
            <a:pPr algn="ctr" defTabSz="672068"/>
            <a:endParaRPr lang="en-US" sz="809" dirty="0">
              <a:solidFill>
                <a:schemeClr val="tx1"/>
              </a:solidFill>
            </a:endParaRPr>
          </a:p>
        </p:txBody>
      </p:sp>
      <p:sp>
        <p:nvSpPr>
          <p:cNvPr id="8" name="Rectangle 7">
            <a:extLst>
              <a:ext uri="{FF2B5EF4-FFF2-40B4-BE49-F238E27FC236}">
                <a16:creationId xmlns:a16="http://schemas.microsoft.com/office/drawing/2014/main" id="{DE7F19ED-07B5-4D43-9EF5-F338C8752890}"/>
              </a:ext>
            </a:extLst>
          </p:cNvPr>
          <p:cNvSpPr/>
          <p:nvPr/>
        </p:nvSpPr>
        <p:spPr bwMode="auto">
          <a:xfrm>
            <a:off x="2716541" y="2085184"/>
            <a:ext cx="794049" cy="5430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33616" tIns="33614" rIns="33616" bIns="33614" numCol="1" rtlCol="0" anchor="ctr" anchorCtr="0" compatLnSpc="1">
            <a:prstTxWarp prst="textNoShape">
              <a:avLst/>
            </a:prstTxWarp>
            <a:spAutoFit/>
          </a:bodyPr>
          <a:lstStyle/>
          <a:p>
            <a:pPr algn="ctr" defTabSz="671083"/>
            <a:r>
              <a:rPr lang="en-US" sz="1029" dirty="0">
                <a:ln>
                  <a:solidFill>
                    <a:schemeClr val="bg1">
                      <a:alpha val="0"/>
                    </a:schemeClr>
                  </a:solidFill>
                </a:ln>
                <a:solidFill>
                  <a:schemeClr val="tx1">
                    <a:alpha val="99000"/>
                  </a:schemeClr>
                </a:solidFill>
              </a:rPr>
              <a:t>NGINX-VM1</a:t>
            </a:r>
          </a:p>
          <a:p>
            <a:pPr algn="ctr" defTabSz="671083"/>
            <a:r>
              <a:rPr lang="en-US" sz="1029" dirty="0">
                <a:ln>
                  <a:solidFill>
                    <a:schemeClr val="bg1">
                      <a:alpha val="0"/>
                    </a:schemeClr>
                  </a:solidFill>
                </a:ln>
                <a:solidFill>
                  <a:schemeClr val="tx1">
                    <a:alpha val="99000"/>
                  </a:schemeClr>
                </a:solidFill>
              </a:rPr>
              <a:t>Subnet Web</a:t>
            </a:r>
          </a:p>
          <a:p>
            <a:pPr algn="ctr" defTabSz="671083"/>
            <a:r>
              <a:rPr lang="en-US" sz="1029" dirty="0">
                <a:ln>
                  <a:solidFill>
                    <a:schemeClr val="bg1">
                      <a:alpha val="0"/>
                    </a:schemeClr>
                  </a:solidFill>
                </a:ln>
                <a:solidFill>
                  <a:schemeClr val="tx1">
                    <a:alpha val="99000"/>
                  </a:schemeClr>
                </a:solidFill>
              </a:rPr>
              <a:t>172.16.1.4</a:t>
            </a:r>
          </a:p>
        </p:txBody>
      </p:sp>
      <p:sp>
        <p:nvSpPr>
          <p:cNvPr id="9" name="Rectangle 8">
            <a:extLst>
              <a:ext uri="{FF2B5EF4-FFF2-40B4-BE49-F238E27FC236}">
                <a16:creationId xmlns:a16="http://schemas.microsoft.com/office/drawing/2014/main" id="{52466076-AE15-485E-968D-F9B8A2BB47A0}"/>
              </a:ext>
            </a:extLst>
          </p:cNvPr>
          <p:cNvSpPr/>
          <p:nvPr/>
        </p:nvSpPr>
        <p:spPr bwMode="auto">
          <a:xfrm>
            <a:off x="3501366" y="2087023"/>
            <a:ext cx="829315" cy="5430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33616" tIns="33614" rIns="33616" bIns="33614" numCol="1" rtlCol="0" anchor="ctr" anchorCtr="0" compatLnSpc="1">
            <a:prstTxWarp prst="textNoShape">
              <a:avLst/>
            </a:prstTxWarp>
            <a:spAutoFit/>
          </a:bodyPr>
          <a:lstStyle/>
          <a:p>
            <a:pPr algn="ctr" defTabSz="671083"/>
            <a:r>
              <a:rPr lang="en-US" sz="1029" dirty="0">
                <a:ln>
                  <a:solidFill>
                    <a:schemeClr val="bg1">
                      <a:alpha val="0"/>
                    </a:schemeClr>
                  </a:solidFill>
                </a:ln>
                <a:solidFill>
                  <a:schemeClr val="tx1">
                    <a:alpha val="99000"/>
                  </a:schemeClr>
                </a:solidFill>
              </a:rPr>
              <a:t>NGINIX-VM2</a:t>
            </a:r>
          </a:p>
          <a:p>
            <a:pPr algn="ctr" defTabSz="671083"/>
            <a:r>
              <a:rPr lang="en-US" sz="1029" dirty="0">
                <a:ln>
                  <a:solidFill>
                    <a:schemeClr val="bg1">
                      <a:alpha val="0"/>
                    </a:schemeClr>
                  </a:solidFill>
                </a:ln>
                <a:solidFill>
                  <a:schemeClr val="tx1">
                    <a:alpha val="99000"/>
                  </a:schemeClr>
                </a:solidFill>
              </a:rPr>
              <a:t>Subnet Web</a:t>
            </a:r>
          </a:p>
          <a:p>
            <a:pPr algn="ctr" defTabSz="671083"/>
            <a:r>
              <a:rPr lang="en-US" sz="1029" dirty="0">
                <a:ln>
                  <a:solidFill>
                    <a:schemeClr val="bg1">
                      <a:alpha val="0"/>
                    </a:schemeClr>
                  </a:solidFill>
                </a:ln>
                <a:solidFill>
                  <a:schemeClr val="tx1">
                    <a:alpha val="99000"/>
                  </a:schemeClr>
                </a:solidFill>
              </a:rPr>
              <a:t>172.16.1.5</a:t>
            </a:r>
          </a:p>
        </p:txBody>
      </p:sp>
      <p:sp>
        <p:nvSpPr>
          <p:cNvPr id="10" name="Rectangle 9">
            <a:extLst>
              <a:ext uri="{FF2B5EF4-FFF2-40B4-BE49-F238E27FC236}">
                <a16:creationId xmlns:a16="http://schemas.microsoft.com/office/drawing/2014/main" id="{B9C5DF44-353E-47A0-BD1A-565621A0A313}"/>
              </a:ext>
            </a:extLst>
          </p:cNvPr>
          <p:cNvSpPr/>
          <p:nvPr/>
        </p:nvSpPr>
        <p:spPr bwMode="auto">
          <a:xfrm>
            <a:off x="2733395" y="1381397"/>
            <a:ext cx="1790344" cy="2262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3616" tIns="33614" rIns="33616" bIns="33614" numCol="1" rtlCol="0" anchor="ctr" anchorCtr="0" compatLnSpc="1">
            <a:prstTxWarp prst="textNoShape">
              <a:avLst/>
            </a:prstTxWarp>
            <a:spAutoFit/>
          </a:bodyPr>
          <a:lstStyle/>
          <a:p>
            <a:pPr algn="ctr" defTabSz="671083"/>
            <a:r>
              <a:rPr lang="en-US" sz="1029" b="1" dirty="0">
                <a:ln>
                  <a:solidFill>
                    <a:schemeClr val="bg1">
                      <a:alpha val="0"/>
                    </a:schemeClr>
                  </a:solidFill>
                </a:ln>
                <a:solidFill>
                  <a:schemeClr val="bg1">
                    <a:alpha val="99000"/>
                  </a:schemeClr>
                </a:solidFill>
              </a:rPr>
              <a:t>Subnet Web: 172.16.1.0/24</a:t>
            </a:r>
          </a:p>
        </p:txBody>
      </p:sp>
      <p:sp>
        <p:nvSpPr>
          <p:cNvPr id="11" name="Rectangle 10">
            <a:extLst>
              <a:ext uri="{FF2B5EF4-FFF2-40B4-BE49-F238E27FC236}">
                <a16:creationId xmlns:a16="http://schemas.microsoft.com/office/drawing/2014/main" id="{CA9F7B50-F04B-417E-BC98-42D6DB31ACFE}"/>
              </a:ext>
            </a:extLst>
          </p:cNvPr>
          <p:cNvSpPr/>
          <p:nvPr/>
        </p:nvSpPr>
        <p:spPr bwMode="auto">
          <a:xfrm>
            <a:off x="2711637" y="3281009"/>
            <a:ext cx="3487254" cy="1362830"/>
          </a:xfrm>
          <a:prstGeom prst="rect">
            <a:avLst/>
          </a:prstGeom>
          <a:solidFill>
            <a:schemeClr val="bg1"/>
          </a:solidFill>
          <a:ln w="254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7229" tIns="33614" rIns="67229" bIns="33614" numCol="1" rtlCol="0" anchor="ctr" anchorCtr="0" compatLnSpc="1">
            <a:prstTxWarp prst="textNoShape">
              <a:avLst/>
            </a:prstTxWarp>
          </a:bodyPr>
          <a:lstStyle/>
          <a:p>
            <a:pPr algn="ctr" defTabSz="672068"/>
            <a:endParaRPr lang="en-US" sz="1618" dirty="0">
              <a:gradFill>
                <a:gsLst>
                  <a:gs pos="0">
                    <a:srgbClr val="FFFFFF"/>
                  </a:gs>
                  <a:gs pos="100000">
                    <a:srgbClr val="FFFFFF"/>
                  </a:gs>
                </a:gsLst>
                <a:lin ang="5400000" scaled="0"/>
              </a:gradFill>
            </a:endParaRPr>
          </a:p>
        </p:txBody>
      </p:sp>
      <p:sp>
        <p:nvSpPr>
          <p:cNvPr id="12" name="Rectangle 11">
            <a:extLst>
              <a:ext uri="{FF2B5EF4-FFF2-40B4-BE49-F238E27FC236}">
                <a16:creationId xmlns:a16="http://schemas.microsoft.com/office/drawing/2014/main" id="{C6D34742-023F-40F5-BC3A-DE5FF19D38E8}"/>
              </a:ext>
            </a:extLst>
          </p:cNvPr>
          <p:cNvSpPr/>
          <p:nvPr/>
        </p:nvSpPr>
        <p:spPr bwMode="auto">
          <a:xfrm>
            <a:off x="3545342" y="4009360"/>
            <a:ext cx="933511" cy="5430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33616" tIns="33614" rIns="33616" bIns="33614" numCol="1" rtlCol="0" anchor="ctr" anchorCtr="0" compatLnSpc="1">
            <a:prstTxWarp prst="textNoShape">
              <a:avLst/>
            </a:prstTxWarp>
            <a:spAutoFit/>
          </a:bodyPr>
          <a:lstStyle/>
          <a:p>
            <a:pPr algn="ctr" defTabSz="671083"/>
            <a:r>
              <a:rPr lang="en-US" sz="1029" dirty="0">
                <a:ln>
                  <a:solidFill>
                    <a:schemeClr val="bg1">
                      <a:alpha val="0"/>
                    </a:schemeClr>
                  </a:solidFill>
                </a:ln>
                <a:solidFill>
                  <a:schemeClr val="tx1">
                    <a:alpha val="99000"/>
                  </a:schemeClr>
                </a:solidFill>
              </a:rPr>
              <a:t>PGRESQL-VM1</a:t>
            </a:r>
          </a:p>
          <a:p>
            <a:pPr algn="ctr" defTabSz="671083"/>
            <a:r>
              <a:rPr lang="en-US" sz="1029" dirty="0">
                <a:ln>
                  <a:solidFill>
                    <a:schemeClr val="bg1">
                      <a:alpha val="0"/>
                    </a:schemeClr>
                  </a:solidFill>
                </a:ln>
                <a:solidFill>
                  <a:schemeClr val="tx1">
                    <a:alpha val="99000"/>
                  </a:schemeClr>
                </a:solidFill>
              </a:rPr>
              <a:t>Subnet SQL</a:t>
            </a:r>
          </a:p>
          <a:p>
            <a:pPr algn="ctr" defTabSz="671083"/>
            <a:r>
              <a:rPr lang="en-US" sz="1029" dirty="0">
                <a:ln>
                  <a:solidFill>
                    <a:schemeClr val="bg1">
                      <a:alpha val="0"/>
                    </a:schemeClr>
                  </a:solidFill>
                </a:ln>
                <a:solidFill>
                  <a:schemeClr val="tx1">
                    <a:alpha val="99000"/>
                  </a:schemeClr>
                </a:solidFill>
              </a:rPr>
              <a:t>172.16.2.4</a:t>
            </a:r>
          </a:p>
        </p:txBody>
      </p:sp>
      <p:sp>
        <p:nvSpPr>
          <p:cNvPr id="13" name="Rectangle 12">
            <a:extLst>
              <a:ext uri="{FF2B5EF4-FFF2-40B4-BE49-F238E27FC236}">
                <a16:creationId xmlns:a16="http://schemas.microsoft.com/office/drawing/2014/main" id="{5A7A1021-74D1-4380-89E9-F12373707F91}"/>
              </a:ext>
            </a:extLst>
          </p:cNvPr>
          <p:cNvSpPr/>
          <p:nvPr/>
        </p:nvSpPr>
        <p:spPr bwMode="auto">
          <a:xfrm>
            <a:off x="2734103" y="3314889"/>
            <a:ext cx="1721161" cy="2262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3616" tIns="33614" rIns="33616" bIns="33614" numCol="1" rtlCol="0" anchor="ctr" anchorCtr="0" compatLnSpc="1">
            <a:prstTxWarp prst="textNoShape">
              <a:avLst/>
            </a:prstTxWarp>
            <a:spAutoFit/>
          </a:bodyPr>
          <a:lstStyle/>
          <a:p>
            <a:pPr algn="ctr" defTabSz="671083"/>
            <a:r>
              <a:rPr lang="en-US" sz="1029" b="1" dirty="0">
                <a:ln>
                  <a:solidFill>
                    <a:schemeClr val="bg1">
                      <a:alpha val="0"/>
                    </a:schemeClr>
                  </a:solidFill>
                </a:ln>
                <a:solidFill>
                  <a:schemeClr val="bg1">
                    <a:alpha val="99000"/>
                  </a:schemeClr>
                </a:solidFill>
              </a:rPr>
              <a:t>Subnet SQL: 172.16.2.0/24</a:t>
            </a:r>
          </a:p>
        </p:txBody>
      </p:sp>
      <p:sp>
        <p:nvSpPr>
          <p:cNvPr id="18" name="TextBox 17">
            <a:extLst>
              <a:ext uri="{FF2B5EF4-FFF2-40B4-BE49-F238E27FC236}">
                <a16:creationId xmlns:a16="http://schemas.microsoft.com/office/drawing/2014/main" id="{E0E6001D-0456-4C60-BDE3-AF8047D3F29F}"/>
              </a:ext>
            </a:extLst>
          </p:cNvPr>
          <p:cNvSpPr txBox="1"/>
          <p:nvPr/>
        </p:nvSpPr>
        <p:spPr>
          <a:xfrm>
            <a:off x="59191" y="1497681"/>
            <a:ext cx="2451602" cy="1187826"/>
          </a:xfrm>
          <a:prstGeom prst="rect">
            <a:avLst/>
          </a:prstGeom>
          <a:solidFill>
            <a:schemeClr val="accent2"/>
          </a:solidFill>
          <a:ln>
            <a:solidFill>
              <a:schemeClr val="tx1"/>
            </a:solidFill>
          </a:ln>
        </p:spPr>
        <p:txBody>
          <a:bodyPr wrap="square" lIns="0" tIns="0" rIns="0" bIns="0" rtlCol="0">
            <a:spAutoFit/>
          </a:bodyPr>
          <a:lstStyle/>
          <a:p>
            <a:pPr>
              <a:lnSpc>
                <a:spcPct val="90000"/>
              </a:lnSpc>
              <a:spcBef>
                <a:spcPct val="20000"/>
              </a:spcBef>
              <a:buSzPct val="80000"/>
            </a:pPr>
            <a:r>
              <a:rPr lang="en-US" sz="1029" dirty="0">
                <a:solidFill>
                  <a:schemeClr val="bg1"/>
                </a:solidFill>
              </a:rPr>
              <a:t> </a:t>
            </a:r>
          </a:p>
          <a:p>
            <a:pPr>
              <a:lnSpc>
                <a:spcPct val="90000"/>
              </a:lnSpc>
              <a:spcBef>
                <a:spcPct val="20000"/>
              </a:spcBef>
              <a:buSzPct val="80000"/>
            </a:pPr>
            <a:r>
              <a:rPr lang="en-US" sz="1029" b="1" dirty="0">
                <a:solidFill>
                  <a:schemeClr val="bg1"/>
                </a:solidFill>
              </a:rPr>
              <a:t>NginixSecurityGroup  </a:t>
            </a:r>
          </a:p>
          <a:p>
            <a:pPr>
              <a:lnSpc>
                <a:spcPct val="90000"/>
              </a:lnSpc>
              <a:spcBef>
                <a:spcPct val="20000"/>
              </a:spcBef>
              <a:buSzPct val="80000"/>
            </a:pPr>
            <a:r>
              <a:rPr lang="en-US" sz="1029" dirty="0">
                <a:solidFill>
                  <a:schemeClr val="bg1"/>
                </a:solidFill>
              </a:rPr>
              <a:t> SRC ADDRESS PREFIX: INTERNET</a:t>
            </a:r>
          </a:p>
          <a:p>
            <a:pPr>
              <a:lnSpc>
                <a:spcPct val="90000"/>
              </a:lnSpc>
              <a:spcBef>
                <a:spcPct val="20000"/>
              </a:spcBef>
              <a:buSzPct val="80000"/>
            </a:pPr>
            <a:r>
              <a:rPr lang="en-US" sz="1029" dirty="0">
                <a:solidFill>
                  <a:schemeClr val="bg1"/>
                </a:solidFill>
              </a:rPr>
              <a:t> SRC PORT RANGE: *</a:t>
            </a:r>
          </a:p>
          <a:p>
            <a:pPr>
              <a:lnSpc>
                <a:spcPct val="90000"/>
              </a:lnSpc>
              <a:spcBef>
                <a:spcPct val="20000"/>
              </a:spcBef>
              <a:buSzPct val="80000"/>
            </a:pPr>
            <a:r>
              <a:rPr lang="en-US" sz="1029" dirty="0">
                <a:solidFill>
                  <a:schemeClr val="bg1"/>
                </a:solidFill>
              </a:rPr>
              <a:t> DEST PORT RANGE: 80</a:t>
            </a:r>
          </a:p>
          <a:p>
            <a:pPr>
              <a:lnSpc>
                <a:spcPct val="90000"/>
              </a:lnSpc>
              <a:spcBef>
                <a:spcPct val="20000"/>
              </a:spcBef>
              <a:buSzPct val="80000"/>
            </a:pPr>
            <a:r>
              <a:rPr lang="en-US" sz="1029" dirty="0">
                <a:solidFill>
                  <a:schemeClr val="bg1"/>
                </a:solidFill>
              </a:rPr>
              <a:t> DEST ADDRESS PREFIX: 172.16.1.0/24    </a:t>
            </a:r>
          </a:p>
          <a:p>
            <a:pPr>
              <a:lnSpc>
                <a:spcPct val="90000"/>
              </a:lnSpc>
              <a:spcBef>
                <a:spcPct val="20000"/>
              </a:spcBef>
              <a:buSzPct val="80000"/>
            </a:pPr>
            <a:endParaRPr lang="en-US" sz="1029" dirty="0">
              <a:solidFill>
                <a:schemeClr val="bg1"/>
              </a:solidFill>
            </a:endParaRPr>
          </a:p>
        </p:txBody>
      </p:sp>
      <p:sp>
        <p:nvSpPr>
          <p:cNvPr id="19" name="TextBox 18">
            <a:extLst>
              <a:ext uri="{FF2B5EF4-FFF2-40B4-BE49-F238E27FC236}">
                <a16:creationId xmlns:a16="http://schemas.microsoft.com/office/drawing/2014/main" id="{7335821B-5001-4237-A101-43988D68A206}"/>
              </a:ext>
            </a:extLst>
          </p:cNvPr>
          <p:cNvSpPr txBox="1"/>
          <p:nvPr/>
        </p:nvSpPr>
        <p:spPr>
          <a:xfrm>
            <a:off x="58276" y="3365818"/>
            <a:ext cx="2415286" cy="1330364"/>
          </a:xfrm>
          <a:prstGeom prst="rect">
            <a:avLst/>
          </a:prstGeom>
          <a:solidFill>
            <a:schemeClr val="accent2"/>
          </a:solidFill>
          <a:ln>
            <a:solidFill>
              <a:schemeClr val="tx1"/>
            </a:solidFill>
          </a:ln>
        </p:spPr>
        <p:txBody>
          <a:bodyPr wrap="square" lIns="0" tIns="0" rIns="0" bIns="0" rtlCol="0">
            <a:spAutoFit/>
          </a:bodyPr>
          <a:lstStyle/>
          <a:p>
            <a:pPr>
              <a:lnSpc>
                <a:spcPct val="90000"/>
              </a:lnSpc>
              <a:spcBef>
                <a:spcPct val="20000"/>
              </a:spcBef>
              <a:buSzPct val="80000"/>
            </a:pPr>
            <a:r>
              <a:rPr lang="en-US" sz="1029" dirty="0">
                <a:solidFill>
                  <a:schemeClr val="bg1"/>
                </a:solidFill>
              </a:rPr>
              <a:t> </a:t>
            </a:r>
          </a:p>
          <a:p>
            <a:pPr>
              <a:lnSpc>
                <a:spcPct val="90000"/>
              </a:lnSpc>
              <a:spcBef>
                <a:spcPct val="20000"/>
              </a:spcBef>
              <a:buSzPct val="80000"/>
            </a:pPr>
            <a:r>
              <a:rPr lang="en-US" sz="1029" b="1" dirty="0" err="1">
                <a:solidFill>
                  <a:schemeClr val="bg1"/>
                </a:solidFill>
              </a:rPr>
              <a:t>PostGreSQLSecurityGroup</a:t>
            </a:r>
            <a:r>
              <a:rPr lang="en-US" sz="1029" b="1" dirty="0">
                <a:solidFill>
                  <a:schemeClr val="bg1"/>
                </a:solidFill>
              </a:rPr>
              <a:t> </a:t>
            </a:r>
            <a:r>
              <a:rPr lang="en-US" sz="1029" dirty="0">
                <a:solidFill>
                  <a:schemeClr val="bg1"/>
                </a:solidFill>
              </a:rPr>
              <a:t> </a:t>
            </a:r>
          </a:p>
          <a:p>
            <a:pPr>
              <a:lnSpc>
                <a:spcPct val="90000"/>
              </a:lnSpc>
              <a:spcBef>
                <a:spcPct val="20000"/>
              </a:spcBef>
              <a:buSzPct val="80000"/>
            </a:pPr>
            <a:r>
              <a:rPr lang="en-US" sz="1029" dirty="0">
                <a:solidFill>
                  <a:schemeClr val="bg1"/>
                </a:solidFill>
              </a:rPr>
              <a:t> SRC ADDRESS PREFIX: 172.16.1.0/24</a:t>
            </a:r>
          </a:p>
          <a:p>
            <a:pPr>
              <a:lnSpc>
                <a:spcPct val="90000"/>
              </a:lnSpc>
              <a:spcBef>
                <a:spcPct val="20000"/>
              </a:spcBef>
              <a:buSzPct val="80000"/>
            </a:pPr>
            <a:r>
              <a:rPr lang="en-US" sz="1029" dirty="0">
                <a:solidFill>
                  <a:schemeClr val="bg1"/>
                </a:solidFill>
              </a:rPr>
              <a:t> SRC PORT RANGE: *</a:t>
            </a:r>
          </a:p>
          <a:p>
            <a:pPr>
              <a:lnSpc>
                <a:spcPct val="90000"/>
              </a:lnSpc>
              <a:spcBef>
                <a:spcPct val="20000"/>
              </a:spcBef>
              <a:buSzPct val="80000"/>
            </a:pPr>
            <a:r>
              <a:rPr lang="en-US" sz="1029" dirty="0">
                <a:solidFill>
                  <a:schemeClr val="bg1"/>
                </a:solidFill>
              </a:rPr>
              <a:t> DEST PORT RANGE: 5432</a:t>
            </a:r>
          </a:p>
          <a:p>
            <a:pPr>
              <a:lnSpc>
                <a:spcPct val="90000"/>
              </a:lnSpc>
              <a:spcBef>
                <a:spcPct val="20000"/>
              </a:spcBef>
              <a:buSzPct val="80000"/>
            </a:pPr>
            <a:r>
              <a:rPr lang="en-US" sz="1029" dirty="0">
                <a:solidFill>
                  <a:schemeClr val="bg1"/>
                </a:solidFill>
              </a:rPr>
              <a:t> DEST ADDRESS PREFIX: 172.16.2.0/24</a:t>
            </a:r>
          </a:p>
          <a:p>
            <a:pPr>
              <a:lnSpc>
                <a:spcPct val="90000"/>
              </a:lnSpc>
              <a:spcBef>
                <a:spcPct val="20000"/>
              </a:spcBef>
              <a:buSzPct val="80000"/>
            </a:pPr>
            <a:endParaRPr lang="en-US" sz="1029" dirty="0">
              <a:solidFill>
                <a:schemeClr val="bg1"/>
              </a:solidFill>
            </a:endParaRPr>
          </a:p>
        </p:txBody>
      </p:sp>
      <p:pic>
        <p:nvPicPr>
          <p:cNvPr id="21" name="Picture 20">
            <a:extLst>
              <a:ext uri="{FF2B5EF4-FFF2-40B4-BE49-F238E27FC236}">
                <a16:creationId xmlns:a16="http://schemas.microsoft.com/office/drawing/2014/main" id="{CD13FC4F-3EED-4DE6-B8DE-C3E0A38B820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60057" y="1775142"/>
            <a:ext cx="573713" cy="573713"/>
          </a:xfrm>
          <a:prstGeom prst="rect">
            <a:avLst/>
          </a:prstGeom>
        </p:spPr>
      </p:pic>
      <p:cxnSp>
        <p:nvCxnSpPr>
          <p:cNvPr id="22" name="Straight Arrow Connector 21">
            <a:extLst>
              <a:ext uri="{FF2B5EF4-FFF2-40B4-BE49-F238E27FC236}">
                <a16:creationId xmlns:a16="http://schemas.microsoft.com/office/drawing/2014/main" id="{EFEBFBCE-622E-4AC1-A55D-6C741F9AFF72}"/>
              </a:ext>
            </a:extLst>
          </p:cNvPr>
          <p:cNvCxnSpPr>
            <a:cxnSpLocks/>
          </p:cNvCxnSpPr>
          <p:nvPr/>
        </p:nvCxnSpPr>
        <p:spPr>
          <a:xfrm flipH="1">
            <a:off x="6739646" y="2061998"/>
            <a:ext cx="675959"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D69D734-8FD7-4CB7-859C-5A301431B53B}"/>
              </a:ext>
            </a:extLst>
          </p:cNvPr>
          <p:cNvCxnSpPr>
            <a:stCxn id="7" idx="2"/>
            <a:endCxn id="11" idx="0"/>
          </p:cNvCxnSpPr>
          <p:nvPr/>
        </p:nvCxnSpPr>
        <p:spPr>
          <a:xfrm>
            <a:off x="4544369" y="2671990"/>
            <a:ext cx="0" cy="59868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6F2AEF3-1C74-4BC4-AE51-D660B311215E}"/>
              </a:ext>
            </a:extLst>
          </p:cNvPr>
          <p:cNvSpPr txBox="1"/>
          <p:nvPr/>
        </p:nvSpPr>
        <p:spPr>
          <a:xfrm>
            <a:off x="5967374" y="1284083"/>
            <a:ext cx="2451602" cy="490968"/>
          </a:xfrm>
          <a:prstGeom prst="rect">
            <a:avLst/>
          </a:prstGeom>
          <a:solidFill>
            <a:schemeClr val="accent2"/>
          </a:solidFill>
          <a:ln>
            <a:solidFill>
              <a:schemeClr val="tx1"/>
            </a:solidFill>
          </a:ln>
        </p:spPr>
        <p:txBody>
          <a:bodyPr wrap="square" lIns="0" tIns="0" rIns="0" bIns="0" rtlCol="0">
            <a:spAutoFit/>
          </a:bodyPr>
          <a:lstStyle/>
          <a:p>
            <a:pPr>
              <a:lnSpc>
                <a:spcPct val="90000"/>
              </a:lnSpc>
              <a:spcBef>
                <a:spcPct val="20000"/>
              </a:spcBef>
              <a:buSzPct val="80000"/>
            </a:pPr>
            <a:r>
              <a:rPr lang="en-US" sz="1029" dirty="0">
                <a:gradFill>
                  <a:gsLst>
                    <a:gs pos="0">
                      <a:srgbClr val="292929">
                        <a:lumMod val="90000"/>
                        <a:lumOff val="10000"/>
                      </a:srgbClr>
                    </a:gs>
                    <a:gs pos="86000">
                      <a:srgbClr val="292929">
                        <a:lumMod val="90000"/>
                        <a:lumOff val="10000"/>
                      </a:srgbClr>
                    </a:gs>
                  </a:gsLst>
                  <a:lin ang="5400000" scaled="0"/>
                </a:gradFill>
              </a:rPr>
              <a:t> </a:t>
            </a:r>
          </a:p>
          <a:p>
            <a:pPr>
              <a:lnSpc>
                <a:spcPct val="90000"/>
              </a:lnSpc>
              <a:spcBef>
                <a:spcPct val="20000"/>
              </a:spcBef>
              <a:buSzPct val="80000"/>
            </a:pPr>
            <a:r>
              <a:rPr lang="en-US" sz="1029" b="1" dirty="0">
                <a:solidFill>
                  <a:schemeClr val="bg1"/>
                </a:solidFill>
              </a:rPr>
              <a:t> Allowed via NgnixSecurityGroup  </a:t>
            </a:r>
          </a:p>
          <a:p>
            <a:pPr>
              <a:lnSpc>
                <a:spcPct val="90000"/>
              </a:lnSpc>
              <a:spcBef>
                <a:spcPct val="20000"/>
              </a:spcBef>
              <a:buSzPct val="80000"/>
            </a:pPr>
            <a:endParaRPr lang="en-US" sz="1029" b="1" dirty="0">
              <a:solidFill>
                <a:schemeClr val="bg1"/>
              </a:solidFill>
            </a:endParaRPr>
          </a:p>
        </p:txBody>
      </p:sp>
      <p:sp>
        <p:nvSpPr>
          <p:cNvPr id="25" name="TextBox 24">
            <a:extLst>
              <a:ext uri="{FF2B5EF4-FFF2-40B4-BE49-F238E27FC236}">
                <a16:creationId xmlns:a16="http://schemas.microsoft.com/office/drawing/2014/main" id="{2369D3F8-8F7A-457B-977F-43125BAAC6BF}"/>
              </a:ext>
            </a:extLst>
          </p:cNvPr>
          <p:cNvSpPr txBox="1"/>
          <p:nvPr/>
        </p:nvSpPr>
        <p:spPr>
          <a:xfrm>
            <a:off x="4649631" y="2725800"/>
            <a:ext cx="2451602" cy="633507"/>
          </a:xfrm>
          <a:prstGeom prst="rect">
            <a:avLst/>
          </a:prstGeom>
          <a:solidFill>
            <a:schemeClr val="accent2"/>
          </a:solidFill>
          <a:ln>
            <a:solidFill>
              <a:schemeClr val="tx1"/>
            </a:solidFill>
          </a:ln>
        </p:spPr>
        <p:txBody>
          <a:bodyPr wrap="square" lIns="0" tIns="0" rIns="0" bIns="0" rtlCol="0">
            <a:spAutoFit/>
          </a:bodyPr>
          <a:lstStyle/>
          <a:p>
            <a:pPr>
              <a:lnSpc>
                <a:spcPct val="90000"/>
              </a:lnSpc>
              <a:spcBef>
                <a:spcPct val="20000"/>
              </a:spcBef>
              <a:buSzPct val="80000"/>
            </a:pPr>
            <a:r>
              <a:rPr lang="en-US" sz="1029" dirty="0">
                <a:solidFill>
                  <a:schemeClr val="bg1"/>
                </a:solidFill>
              </a:rPr>
              <a:t> </a:t>
            </a:r>
          </a:p>
          <a:p>
            <a:pPr>
              <a:lnSpc>
                <a:spcPct val="90000"/>
              </a:lnSpc>
              <a:spcBef>
                <a:spcPct val="20000"/>
              </a:spcBef>
              <a:buSzPct val="80000"/>
            </a:pPr>
            <a:r>
              <a:rPr lang="en-US" sz="1029" b="1" dirty="0">
                <a:solidFill>
                  <a:schemeClr val="bg1"/>
                </a:solidFill>
              </a:rPr>
              <a:t> Allowed via PostgreSQLSecurityGroup  </a:t>
            </a:r>
          </a:p>
          <a:p>
            <a:pPr>
              <a:lnSpc>
                <a:spcPct val="90000"/>
              </a:lnSpc>
              <a:spcBef>
                <a:spcPct val="20000"/>
              </a:spcBef>
              <a:buSzPct val="80000"/>
            </a:pPr>
            <a:endParaRPr lang="en-US" sz="1029" b="1" dirty="0">
              <a:solidFill>
                <a:schemeClr val="bg1"/>
              </a:solidFill>
            </a:endParaRPr>
          </a:p>
        </p:txBody>
      </p:sp>
      <p:sp>
        <p:nvSpPr>
          <p:cNvPr id="26" name="Rectangle 25">
            <a:extLst>
              <a:ext uri="{FF2B5EF4-FFF2-40B4-BE49-F238E27FC236}">
                <a16:creationId xmlns:a16="http://schemas.microsoft.com/office/drawing/2014/main" id="{377CFE74-E142-4A8D-A11B-E7503C8103B2}"/>
              </a:ext>
            </a:extLst>
          </p:cNvPr>
          <p:cNvSpPr/>
          <p:nvPr/>
        </p:nvSpPr>
        <p:spPr bwMode="auto">
          <a:xfrm>
            <a:off x="4304382" y="2087023"/>
            <a:ext cx="829315" cy="5430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33616" tIns="33614" rIns="33616" bIns="33614" numCol="1" rtlCol="0" anchor="ctr" anchorCtr="0" compatLnSpc="1">
            <a:prstTxWarp prst="textNoShape">
              <a:avLst/>
            </a:prstTxWarp>
            <a:spAutoFit/>
          </a:bodyPr>
          <a:lstStyle/>
          <a:p>
            <a:pPr algn="ctr" defTabSz="671083"/>
            <a:r>
              <a:rPr lang="en-US" sz="1029" dirty="0">
                <a:ln>
                  <a:solidFill>
                    <a:schemeClr val="bg1">
                      <a:alpha val="0"/>
                    </a:schemeClr>
                  </a:solidFill>
                </a:ln>
                <a:solidFill>
                  <a:schemeClr val="tx1">
                    <a:alpha val="99000"/>
                  </a:schemeClr>
                </a:solidFill>
              </a:rPr>
              <a:t>NGINIX-VM3</a:t>
            </a:r>
          </a:p>
          <a:p>
            <a:pPr algn="ctr" defTabSz="671083"/>
            <a:r>
              <a:rPr lang="en-US" sz="1029" dirty="0">
                <a:ln>
                  <a:solidFill>
                    <a:schemeClr val="bg1">
                      <a:alpha val="0"/>
                    </a:schemeClr>
                  </a:solidFill>
                </a:ln>
                <a:solidFill>
                  <a:schemeClr val="tx1">
                    <a:alpha val="99000"/>
                  </a:schemeClr>
                </a:solidFill>
              </a:rPr>
              <a:t>Subnet Web</a:t>
            </a:r>
          </a:p>
          <a:p>
            <a:pPr algn="ctr" defTabSz="671083"/>
            <a:r>
              <a:rPr lang="en-US" sz="1029" dirty="0">
                <a:ln>
                  <a:solidFill>
                    <a:schemeClr val="bg1">
                      <a:alpha val="0"/>
                    </a:schemeClr>
                  </a:solidFill>
                </a:ln>
                <a:solidFill>
                  <a:schemeClr val="tx1">
                    <a:alpha val="99000"/>
                  </a:schemeClr>
                </a:solidFill>
              </a:rPr>
              <a:t>172.16.1.6</a:t>
            </a:r>
          </a:p>
        </p:txBody>
      </p:sp>
      <p:sp>
        <p:nvSpPr>
          <p:cNvPr id="28" name="Rectangle 27">
            <a:extLst>
              <a:ext uri="{FF2B5EF4-FFF2-40B4-BE49-F238E27FC236}">
                <a16:creationId xmlns:a16="http://schemas.microsoft.com/office/drawing/2014/main" id="{0B285121-979A-4C91-8143-2C30581671A8}"/>
              </a:ext>
            </a:extLst>
          </p:cNvPr>
          <p:cNvSpPr/>
          <p:nvPr/>
        </p:nvSpPr>
        <p:spPr bwMode="auto">
          <a:xfrm>
            <a:off x="4455233" y="4014866"/>
            <a:ext cx="933511" cy="5430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33616" tIns="33614" rIns="33616" bIns="33614" numCol="1" rtlCol="0" anchor="ctr" anchorCtr="0" compatLnSpc="1">
            <a:prstTxWarp prst="textNoShape">
              <a:avLst/>
            </a:prstTxWarp>
            <a:spAutoFit/>
          </a:bodyPr>
          <a:lstStyle/>
          <a:p>
            <a:pPr algn="ctr" defTabSz="671083"/>
            <a:r>
              <a:rPr lang="en-US" sz="1029" dirty="0">
                <a:ln>
                  <a:solidFill>
                    <a:schemeClr val="bg1">
                      <a:alpha val="0"/>
                    </a:schemeClr>
                  </a:solidFill>
                </a:ln>
                <a:solidFill>
                  <a:schemeClr val="tx1">
                    <a:alpha val="99000"/>
                  </a:schemeClr>
                </a:solidFill>
              </a:rPr>
              <a:t>PGRESQL-VM2</a:t>
            </a:r>
          </a:p>
          <a:p>
            <a:pPr algn="ctr" defTabSz="671083"/>
            <a:r>
              <a:rPr lang="en-US" sz="1029" dirty="0">
                <a:ln>
                  <a:solidFill>
                    <a:schemeClr val="bg1">
                      <a:alpha val="0"/>
                    </a:schemeClr>
                  </a:solidFill>
                </a:ln>
                <a:solidFill>
                  <a:schemeClr val="tx1">
                    <a:alpha val="99000"/>
                  </a:schemeClr>
                </a:solidFill>
              </a:rPr>
              <a:t>Subnet SQL</a:t>
            </a:r>
          </a:p>
          <a:p>
            <a:pPr algn="ctr" defTabSz="671083"/>
            <a:r>
              <a:rPr lang="en-US" sz="1029" dirty="0">
                <a:ln>
                  <a:solidFill>
                    <a:schemeClr val="bg1">
                      <a:alpha val="0"/>
                    </a:schemeClr>
                  </a:solidFill>
                </a:ln>
                <a:solidFill>
                  <a:schemeClr val="tx1">
                    <a:alpha val="99000"/>
                  </a:schemeClr>
                </a:solidFill>
              </a:rPr>
              <a:t>172.16.2.5</a:t>
            </a:r>
          </a:p>
        </p:txBody>
      </p:sp>
      <p:sp>
        <p:nvSpPr>
          <p:cNvPr id="32" name="Rectangle 31">
            <a:extLst>
              <a:ext uri="{FF2B5EF4-FFF2-40B4-BE49-F238E27FC236}">
                <a16:creationId xmlns:a16="http://schemas.microsoft.com/office/drawing/2014/main" id="{74C495EB-A0B9-4A4F-82CF-57EB9AFE064D}"/>
              </a:ext>
            </a:extLst>
          </p:cNvPr>
          <p:cNvSpPr/>
          <p:nvPr/>
        </p:nvSpPr>
        <p:spPr bwMode="auto">
          <a:xfrm>
            <a:off x="5132976" y="2098157"/>
            <a:ext cx="829315" cy="5430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33616" tIns="33614" rIns="33616" bIns="33614" numCol="1" rtlCol="0" anchor="ctr" anchorCtr="0" compatLnSpc="1">
            <a:prstTxWarp prst="textNoShape">
              <a:avLst/>
            </a:prstTxWarp>
            <a:spAutoFit/>
          </a:bodyPr>
          <a:lstStyle/>
          <a:p>
            <a:pPr algn="ctr" defTabSz="671083"/>
            <a:r>
              <a:rPr lang="en-US" sz="1029" dirty="0">
                <a:ln>
                  <a:solidFill>
                    <a:schemeClr val="bg1">
                      <a:alpha val="0"/>
                    </a:schemeClr>
                  </a:solidFill>
                </a:ln>
                <a:solidFill>
                  <a:schemeClr val="tx1">
                    <a:alpha val="99000"/>
                  </a:schemeClr>
                </a:solidFill>
              </a:rPr>
              <a:t>NGINIX-VM4</a:t>
            </a:r>
          </a:p>
          <a:p>
            <a:pPr algn="ctr" defTabSz="671083"/>
            <a:r>
              <a:rPr lang="en-US" sz="1029" dirty="0">
                <a:ln>
                  <a:solidFill>
                    <a:schemeClr val="bg1">
                      <a:alpha val="0"/>
                    </a:schemeClr>
                  </a:solidFill>
                </a:ln>
                <a:solidFill>
                  <a:schemeClr val="tx1">
                    <a:alpha val="99000"/>
                  </a:schemeClr>
                </a:solidFill>
              </a:rPr>
              <a:t>Subnet Web</a:t>
            </a:r>
          </a:p>
          <a:p>
            <a:pPr algn="ctr" defTabSz="671083"/>
            <a:r>
              <a:rPr lang="en-US" sz="1029" dirty="0">
                <a:ln>
                  <a:solidFill>
                    <a:schemeClr val="bg1">
                      <a:alpha val="0"/>
                    </a:schemeClr>
                  </a:solidFill>
                </a:ln>
                <a:solidFill>
                  <a:schemeClr val="tx1">
                    <a:alpha val="99000"/>
                  </a:schemeClr>
                </a:solidFill>
              </a:rPr>
              <a:t>172.16.1.7</a:t>
            </a:r>
          </a:p>
        </p:txBody>
      </p:sp>
      <p:grpSp>
        <p:nvGrpSpPr>
          <p:cNvPr id="34" name="Group 33">
            <a:extLst>
              <a:ext uri="{FF2B5EF4-FFF2-40B4-BE49-F238E27FC236}">
                <a16:creationId xmlns:a16="http://schemas.microsoft.com/office/drawing/2014/main" id="{07F66C06-5BBD-4CAA-9B72-C59C9AB085DC}"/>
              </a:ext>
            </a:extLst>
          </p:cNvPr>
          <p:cNvGrpSpPr/>
          <p:nvPr/>
        </p:nvGrpSpPr>
        <p:grpSpPr>
          <a:xfrm>
            <a:off x="5599155" y="2492284"/>
            <a:ext cx="3211676" cy="2176197"/>
            <a:chOff x="7615237" y="3389181"/>
            <a:chExt cx="4368103" cy="2959780"/>
          </a:xfrm>
        </p:grpSpPr>
        <p:sp>
          <p:nvSpPr>
            <p:cNvPr id="35" name="Rectangle 34">
              <a:extLst>
                <a:ext uri="{FF2B5EF4-FFF2-40B4-BE49-F238E27FC236}">
                  <a16:creationId xmlns:a16="http://schemas.microsoft.com/office/drawing/2014/main" id="{062563B4-53E8-4CCE-90C8-C5990AE41211}"/>
                </a:ext>
              </a:extLst>
            </p:cNvPr>
            <p:cNvSpPr/>
            <p:nvPr/>
          </p:nvSpPr>
          <p:spPr>
            <a:xfrm>
              <a:off x="9007017" y="4992007"/>
              <a:ext cx="2976323" cy="1356954"/>
            </a:xfrm>
            <a:prstGeom prst="rect">
              <a:avLst/>
            </a:prstGeom>
            <a:solidFill>
              <a:srgbClr val="E81123"/>
            </a:solidFill>
          </p:spPr>
          <p:txBody>
            <a:bodyPr wrap="square">
              <a:spAutoFit/>
            </a:bodyPr>
            <a:lstStyle/>
            <a:p>
              <a:pPr algn="ctr"/>
              <a:r>
                <a:rPr lang="en-US" sz="1471" i="1" dirty="0">
                  <a:solidFill>
                    <a:schemeClr val="bg1"/>
                  </a:solidFill>
                </a:rPr>
                <a:t>Remember that OS Ports &amp; Firewalls must be configured to allow traffic</a:t>
              </a:r>
              <a:endParaRPr lang="en-US" sz="1471" b="1" i="1" dirty="0">
                <a:solidFill>
                  <a:schemeClr val="bg1"/>
                </a:solidFill>
              </a:endParaRPr>
            </a:p>
          </p:txBody>
        </p:sp>
        <p:cxnSp>
          <p:nvCxnSpPr>
            <p:cNvPr id="36" name="Straight Arrow Connector 35">
              <a:extLst>
                <a:ext uri="{FF2B5EF4-FFF2-40B4-BE49-F238E27FC236}">
                  <a16:creationId xmlns:a16="http://schemas.microsoft.com/office/drawing/2014/main" id="{8585F32D-3BA1-4CE3-A2B0-56447E66B59A}"/>
                </a:ext>
              </a:extLst>
            </p:cNvPr>
            <p:cNvCxnSpPr/>
            <p:nvPr/>
          </p:nvCxnSpPr>
          <p:spPr>
            <a:xfrm flipH="1" flipV="1">
              <a:off x="8194265" y="3389181"/>
              <a:ext cx="2863595" cy="1602827"/>
            </a:xfrm>
            <a:prstGeom prst="straightConnector1">
              <a:avLst/>
            </a:prstGeom>
            <a:solidFill>
              <a:srgbClr val="E81123"/>
            </a:solidFill>
            <a:ln>
              <a:solidFill>
                <a:srgbClr val="FF0000">
                  <a:alpha val="50000"/>
                </a:srgbClr>
              </a:solidFill>
              <a:tailEnd type="triangle"/>
            </a:ln>
          </p:spPr>
          <p:style>
            <a:lnRef idx="3">
              <a:schemeClr val="accent1"/>
            </a:lnRef>
            <a:fillRef idx="0">
              <a:schemeClr val="accent1"/>
            </a:fillRef>
            <a:effectRef idx="2">
              <a:schemeClr val="accent1"/>
            </a:effectRef>
            <a:fontRef idx="minor">
              <a:schemeClr val="tx1"/>
            </a:fontRef>
          </p:style>
        </p:cxnSp>
        <p:cxnSp>
          <p:nvCxnSpPr>
            <p:cNvPr id="37" name="Straight Arrow Connector 36">
              <a:extLst>
                <a:ext uri="{FF2B5EF4-FFF2-40B4-BE49-F238E27FC236}">
                  <a16:creationId xmlns:a16="http://schemas.microsoft.com/office/drawing/2014/main" id="{62726CBC-4E54-4D69-B909-8300EBA8FB0E}"/>
                </a:ext>
              </a:extLst>
            </p:cNvPr>
            <p:cNvCxnSpPr/>
            <p:nvPr/>
          </p:nvCxnSpPr>
          <p:spPr>
            <a:xfrm flipH="1">
              <a:off x="7615237" y="5105616"/>
              <a:ext cx="1391779" cy="1"/>
            </a:xfrm>
            <a:prstGeom prst="straightConnector1">
              <a:avLst/>
            </a:prstGeom>
            <a:solidFill>
              <a:srgbClr val="E81123"/>
            </a:solidFill>
            <a:ln>
              <a:solidFill>
                <a:srgbClr val="FF0000">
                  <a:alpha val="50000"/>
                </a:srgbClr>
              </a:solidFill>
              <a:tailEnd type="triangle"/>
            </a:ln>
          </p:spPr>
          <p:style>
            <a:lnRef idx="3">
              <a:schemeClr val="accent1"/>
            </a:lnRef>
            <a:fillRef idx="0">
              <a:schemeClr val="accent1"/>
            </a:fillRef>
            <a:effectRef idx="2">
              <a:schemeClr val="accent1"/>
            </a:effectRef>
            <a:fontRef idx="minor">
              <a:schemeClr val="tx1"/>
            </a:fontRef>
          </p:style>
        </p:cxnSp>
      </p:grpSp>
      <p:pic>
        <p:nvPicPr>
          <p:cNvPr id="38" name="Graphic 37">
            <a:extLst>
              <a:ext uri="{FF2B5EF4-FFF2-40B4-BE49-F238E27FC236}">
                <a16:creationId xmlns:a16="http://schemas.microsoft.com/office/drawing/2014/main" id="{B634378D-7C17-4C8E-9DBB-7C1949C972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75978" y="799375"/>
            <a:ext cx="357188" cy="357188"/>
          </a:xfrm>
          <a:prstGeom prst="rect">
            <a:avLst/>
          </a:prstGeom>
        </p:spPr>
      </p:pic>
      <p:pic>
        <p:nvPicPr>
          <p:cNvPr id="40" name="Graphic 39">
            <a:extLst>
              <a:ext uri="{FF2B5EF4-FFF2-40B4-BE49-F238E27FC236}">
                <a16:creationId xmlns:a16="http://schemas.microsoft.com/office/drawing/2014/main" id="{B6304287-9791-4BB0-A6AE-7A415BA014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63489" y="1891248"/>
            <a:ext cx="357188" cy="357188"/>
          </a:xfrm>
          <a:prstGeom prst="rect">
            <a:avLst/>
          </a:prstGeom>
        </p:spPr>
      </p:pic>
      <p:pic>
        <p:nvPicPr>
          <p:cNvPr id="42" name="Graphic 41">
            <a:extLst>
              <a:ext uri="{FF2B5EF4-FFF2-40B4-BE49-F238E27FC236}">
                <a16:creationId xmlns:a16="http://schemas.microsoft.com/office/drawing/2014/main" id="{FC4CD0FF-2340-45CD-99D7-978BBC87D14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34971" y="1688962"/>
            <a:ext cx="357188" cy="357188"/>
          </a:xfrm>
          <a:prstGeom prst="rect">
            <a:avLst/>
          </a:prstGeom>
        </p:spPr>
      </p:pic>
      <p:pic>
        <p:nvPicPr>
          <p:cNvPr id="43" name="Graphic 42">
            <a:extLst>
              <a:ext uri="{FF2B5EF4-FFF2-40B4-BE49-F238E27FC236}">
                <a16:creationId xmlns:a16="http://schemas.microsoft.com/office/drawing/2014/main" id="{D2BAA892-701F-4AFB-AE44-022EADA0B16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33975" y="1700627"/>
            <a:ext cx="357188" cy="357188"/>
          </a:xfrm>
          <a:prstGeom prst="rect">
            <a:avLst/>
          </a:prstGeom>
        </p:spPr>
      </p:pic>
      <p:pic>
        <p:nvPicPr>
          <p:cNvPr id="44" name="Graphic 43">
            <a:extLst>
              <a:ext uri="{FF2B5EF4-FFF2-40B4-BE49-F238E27FC236}">
                <a16:creationId xmlns:a16="http://schemas.microsoft.com/office/drawing/2014/main" id="{5365D27C-6D21-4E34-8B6A-49B862C9F1E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32978" y="1701838"/>
            <a:ext cx="357188" cy="357188"/>
          </a:xfrm>
          <a:prstGeom prst="rect">
            <a:avLst/>
          </a:prstGeom>
        </p:spPr>
      </p:pic>
      <p:pic>
        <p:nvPicPr>
          <p:cNvPr id="45" name="Graphic 44">
            <a:extLst>
              <a:ext uri="{FF2B5EF4-FFF2-40B4-BE49-F238E27FC236}">
                <a16:creationId xmlns:a16="http://schemas.microsoft.com/office/drawing/2014/main" id="{31C351FF-28C2-4CB6-BAB9-EFB51899172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356204" y="1700627"/>
            <a:ext cx="357188" cy="357188"/>
          </a:xfrm>
          <a:prstGeom prst="rect">
            <a:avLst/>
          </a:prstGeom>
        </p:spPr>
      </p:pic>
      <p:pic>
        <p:nvPicPr>
          <p:cNvPr id="46" name="Graphic 45">
            <a:extLst>
              <a:ext uri="{FF2B5EF4-FFF2-40B4-BE49-F238E27FC236}">
                <a16:creationId xmlns:a16="http://schemas.microsoft.com/office/drawing/2014/main" id="{0EF4B1E9-F6A1-445B-96C0-9BC8018FFD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38080" y="3620053"/>
            <a:ext cx="357188" cy="357188"/>
          </a:xfrm>
          <a:prstGeom prst="rect">
            <a:avLst/>
          </a:prstGeom>
        </p:spPr>
      </p:pic>
      <p:pic>
        <p:nvPicPr>
          <p:cNvPr id="47" name="Graphic 46">
            <a:extLst>
              <a:ext uri="{FF2B5EF4-FFF2-40B4-BE49-F238E27FC236}">
                <a16:creationId xmlns:a16="http://schemas.microsoft.com/office/drawing/2014/main" id="{D53FFB86-C811-4F8D-AC56-36DD1C7BC7C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56933" y="3622365"/>
            <a:ext cx="357188" cy="357188"/>
          </a:xfrm>
          <a:prstGeom prst="rect">
            <a:avLst/>
          </a:prstGeom>
        </p:spPr>
      </p:pic>
    </p:spTree>
    <p:extLst>
      <p:ext uri="{BB962C8B-B14F-4D97-AF65-F5344CB8AC3E}">
        <p14:creationId xmlns:p14="http://schemas.microsoft.com/office/powerpoint/2010/main" val="4047662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anim calcmode="lin" valueType="num">
                                      <p:cBhvr additive="base">
                                        <p:cTn id="25" dur="500" fill="hold"/>
                                        <p:tgtEl>
                                          <p:spTgt spid="25"/>
                                        </p:tgtEl>
                                        <p:attrNameLst>
                                          <p:attrName>ppt_x</p:attrName>
                                        </p:attrNameLst>
                                      </p:cBhvr>
                                      <p:tavLst>
                                        <p:tav tm="0">
                                          <p:val>
                                            <p:strVal val="#ppt_x"/>
                                          </p:val>
                                        </p:tav>
                                        <p:tav tm="100000">
                                          <p:val>
                                            <p:strVal val="#ppt_x"/>
                                          </p:val>
                                        </p:tav>
                                      </p:tavLst>
                                    </p:anim>
                                    <p:anim calcmode="lin" valueType="num">
                                      <p:cBhvr additive="base">
                                        <p:cTn id="2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1" presetClass="entr" presetSubtype="1" fill="hold" nodeType="click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wheel(1)">
                                      <p:cBhvr>
                                        <p:cTn id="37" dur="2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4" grpId="0" animBg="1"/>
      <p:bldP spid="2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ervice Endpoints</a:t>
            </a:r>
          </a:p>
        </p:txBody>
      </p:sp>
      <p:sp>
        <p:nvSpPr>
          <p:cNvPr id="3" name="Text Placeholder 2">
            <a:extLst>
              <a:ext uri="{FF2B5EF4-FFF2-40B4-BE49-F238E27FC236}">
                <a16:creationId xmlns:a16="http://schemas.microsoft.com/office/drawing/2014/main" id="{6F2AAAC8-094B-41C1-A2D0-75EFC15A0BD9}"/>
              </a:ext>
            </a:extLst>
          </p:cNvPr>
          <p:cNvSpPr>
            <a:spLocks noGrp="1"/>
          </p:cNvSpPr>
          <p:nvPr>
            <p:ph type="body" sz="quarter" idx="10"/>
          </p:nvPr>
        </p:nvSpPr>
        <p:spPr>
          <a:xfrm>
            <a:off x="305991" y="2869210"/>
            <a:ext cx="8263890" cy="1874360"/>
          </a:xfrm>
        </p:spPr>
        <p:txBody>
          <a:bodyPr/>
          <a:lstStyle/>
          <a:p>
            <a:r>
              <a:rPr lang="en-US" dirty="0"/>
              <a:t>Endpoints limit network access to specific subnets and IP addresses </a:t>
            </a:r>
          </a:p>
          <a:p>
            <a:r>
              <a:rPr lang="en-US" dirty="0"/>
              <a:t>Improved security for your Azure service resources</a:t>
            </a:r>
          </a:p>
          <a:p>
            <a:r>
              <a:rPr lang="en-US" dirty="0"/>
              <a:t>Optimal routing for Azure service traffic from your virtual network</a:t>
            </a:r>
          </a:p>
          <a:p>
            <a:r>
              <a:rPr lang="en-US" dirty="0"/>
              <a:t>Endpoints use the Microsoft Azure backbone network</a:t>
            </a:r>
          </a:p>
          <a:p>
            <a:r>
              <a:rPr lang="en-US" dirty="0"/>
              <a:t>Simple to set up with less management overhead</a:t>
            </a:r>
          </a:p>
        </p:txBody>
      </p:sp>
      <p:pic>
        <p:nvPicPr>
          <p:cNvPr id="9" name="Picture 8" descr="Diagram of a VM connecting to the Azure service through a service endpoint. The Azure services include CosmosDB, Event Hub, Key Vault, SQL, and Storage. The Azure Service cannot connect to the Internet.">
            <a:extLst>
              <a:ext uri="{FF2B5EF4-FFF2-40B4-BE49-F238E27FC236}">
                <a16:creationId xmlns:a16="http://schemas.microsoft.com/office/drawing/2014/main" id="{FF189CB0-330C-4D15-9028-04FDB6194AC9}"/>
              </a:ext>
            </a:extLst>
          </p:cNvPr>
          <p:cNvPicPr/>
          <p:nvPr/>
        </p:nvPicPr>
        <p:blipFill>
          <a:blip r:embed="rId3">
            <a:extLst>
              <a:ext uri="{28A0092B-C50C-407E-A947-70E740481C1C}">
                <a14:useLocalDpi xmlns:a14="http://schemas.microsoft.com/office/drawing/2010/main" val="0"/>
              </a:ext>
            </a:extLst>
          </a:blip>
          <a:stretch>
            <a:fillRect/>
          </a:stretch>
        </p:blipFill>
        <p:spPr bwMode="auto">
          <a:xfrm>
            <a:off x="1639171" y="921204"/>
            <a:ext cx="5321699" cy="1684836"/>
          </a:xfrm>
          <a:prstGeom prst="rect">
            <a:avLst/>
          </a:prstGeom>
          <a:noFill/>
        </p:spPr>
      </p:pic>
    </p:spTree>
    <p:extLst>
      <p:ext uri="{BB962C8B-B14F-4D97-AF65-F5344CB8AC3E}">
        <p14:creationId xmlns:p14="http://schemas.microsoft.com/office/powerpoint/2010/main" val="2208866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36012CE-6DBC-428B-A252-9F38B4ABB806}"/>
              </a:ext>
            </a:extLst>
          </p:cNvPr>
          <p:cNvSpPr>
            <a:spLocks noGrp="1"/>
          </p:cNvSpPr>
          <p:nvPr>
            <p:ph type="title"/>
          </p:nvPr>
        </p:nvSpPr>
        <p:spPr>
          <a:xfrm>
            <a:off x="441197" y="342901"/>
            <a:ext cx="8263890" cy="646331"/>
          </a:xfrm>
        </p:spPr>
        <p:txBody>
          <a:bodyPr/>
          <a:lstStyle/>
          <a:p>
            <a:r>
              <a:rPr lang="en-US" dirty="0">
                <a:solidFill>
                  <a:srgbClr val="0070C0"/>
                </a:solidFill>
                <a:latin typeface="Segoe UI Semibold"/>
                <a:cs typeface="Segoe UI Semibold"/>
              </a:rPr>
              <a:t>Azure Private Link</a:t>
            </a:r>
            <a:br>
              <a:rPr lang="en-US" dirty="0"/>
            </a:br>
            <a:r>
              <a:rPr lang="en-US" sz="1500" dirty="0">
                <a:solidFill>
                  <a:schemeClr val="accent2"/>
                </a:solidFill>
              </a:rPr>
              <a:t>Highly secure and private connectivity solution for Azure Platform</a:t>
            </a:r>
            <a:endParaRPr lang="en-US" sz="1800" dirty="0">
              <a:solidFill>
                <a:schemeClr val="accent2"/>
              </a:solidFill>
            </a:endParaRPr>
          </a:p>
        </p:txBody>
      </p:sp>
      <p:grpSp>
        <p:nvGrpSpPr>
          <p:cNvPr id="25" name="Group 24">
            <a:extLst>
              <a:ext uri="{FF2B5EF4-FFF2-40B4-BE49-F238E27FC236}">
                <a16:creationId xmlns:a16="http://schemas.microsoft.com/office/drawing/2014/main" id="{76850296-4A04-4FF3-A5DB-F7BE06926379}"/>
              </a:ext>
            </a:extLst>
          </p:cNvPr>
          <p:cNvGrpSpPr/>
          <p:nvPr/>
        </p:nvGrpSpPr>
        <p:grpSpPr>
          <a:xfrm>
            <a:off x="748991" y="1254875"/>
            <a:ext cx="7729669" cy="2890239"/>
            <a:chOff x="943697" y="1582245"/>
            <a:chExt cx="10306225" cy="3853652"/>
          </a:xfrm>
        </p:grpSpPr>
        <p:sp>
          <p:nvSpPr>
            <p:cNvPr id="90" name="Rectangle 89">
              <a:extLst>
                <a:ext uri="{FF2B5EF4-FFF2-40B4-BE49-F238E27FC236}">
                  <a16:creationId xmlns:a16="http://schemas.microsoft.com/office/drawing/2014/main" id="{3FE12AC0-90E5-48CB-B6FB-912CD3606F04}"/>
                </a:ext>
              </a:extLst>
            </p:cNvPr>
            <p:cNvSpPr/>
            <p:nvPr/>
          </p:nvSpPr>
          <p:spPr bwMode="auto">
            <a:xfrm>
              <a:off x="9617318" y="1813560"/>
              <a:ext cx="1339559" cy="792440"/>
            </a:xfrm>
            <a:prstGeom prst="rect">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endParaRPr lang="en-US" sz="1500">
                <a:gradFill>
                  <a:gsLst>
                    <a:gs pos="0">
                      <a:srgbClr val="FFFFFF"/>
                    </a:gs>
                    <a:gs pos="100000">
                      <a:srgbClr val="FFFFFF"/>
                    </a:gs>
                  </a:gsLst>
                  <a:lin ang="5400000" scaled="0"/>
                </a:gradFill>
                <a:latin typeface="Segoe UI"/>
                <a:cs typeface="Segoe UI" pitchFamily="34" charset="0"/>
              </a:endParaRPr>
            </a:p>
          </p:txBody>
        </p:sp>
        <p:sp>
          <p:nvSpPr>
            <p:cNvPr id="83" name="Rectangle 82">
              <a:extLst>
                <a:ext uri="{FF2B5EF4-FFF2-40B4-BE49-F238E27FC236}">
                  <a16:creationId xmlns:a16="http://schemas.microsoft.com/office/drawing/2014/main" id="{A626F3CF-C7DF-4DAA-98D8-919B42C1D78B}"/>
                </a:ext>
              </a:extLst>
            </p:cNvPr>
            <p:cNvSpPr/>
            <p:nvPr/>
          </p:nvSpPr>
          <p:spPr bwMode="auto">
            <a:xfrm>
              <a:off x="3043746" y="1988820"/>
              <a:ext cx="2375540" cy="2536033"/>
            </a:xfrm>
            <a:prstGeom prst="rect">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br>
                <a:rPr lang="en-US" sz="1500">
                  <a:gradFill>
                    <a:gsLst>
                      <a:gs pos="0">
                        <a:srgbClr val="FFFFFF"/>
                      </a:gs>
                      <a:gs pos="100000">
                        <a:srgbClr val="FFFFFF"/>
                      </a:gs>
                    </a:gsLst>
                    <a:lin ang="5400000" scaled="0"/>
                  </a:gradFill>
                  <a:latin typeface="Segoe UI"/>
                  <a:cs typeface="Segoe UI" pitchFamily="34" charset="0"/>
                </a:rPr>
              </a:br>
              <a:endParaRPr lang="en-US" sz="1500">
                <a:gradFill>
                  <a:gsLst>
                    <a:gs pos="0">
                      <a:srgbClr val="FFFFFF"/>
                    </a:gs>
                    <a:gs pos="100000">
                      <a:srgbClr val="FFFFFF"/>
                    </a:gs>
                  </a:gsLst>
                  <a:lin ang="5400000" scaled="0"/>
                </a:gradFill>
                <a:latin typeface="Segoe UI"/>
                <a:cs typeface="Segoe UI" pitchFamily="34" charset="0"/>
              </a:endParaRPr>
            </a:p>
          </p:txBody>
        </p:sp>
        <p:sp>
          <p:nvSpPr>
            <p:cNvPr id="84" name="TextBox 83">
              <a:extLst>
                <a:ext uri="{FF2B5EF4-FFF2-40B4-BE49-F238E27FC236}">
                  <a16:creationId xmlns:a16="http://schemas.microsoft.com/office/drawing/2014/main" id="{4B4F7F11-2C37-46F4-9DAB-A5A2BD1CE45F}"/>
                </a:ext>
              </a:extLst>
            </p:cNvPr>
            <p:cNvSpPr txBox="1"/>
            <p:nvPr/>
          </p:nvSpPr>
          <p:spPr>
            <a:xfrm>
              <a:off x="4364773" y="3691688"/>
              <a:ext cx="583493" cy="338555"/>
            </a:xfrm>
            <a:prstGeom prst="rect">
              <a:avLst/>
            </a:prstGeom>
            <a:noFill/>
          </p:spPr>
          <p:txBody>
            <a:bodyPr wrap="none" lIns="0" tIns="0" rIns="0" bIns="0" rtlCol="0">
              <a:spAutoFit/>
            </a:bodyPr>
            <a:lstStyle/>
            <a:p>
              <a:pPr algn="ctr" defTabSz="685800" eaLnBrk="1" fontAlgn="auto" hangingPunct="1">
                <a:spcBef>
                  <a:spcPts val="0"/>
                </a:spcBef>
                <a:spcAft>
                  <a:spcPts val="0"/>
                </a:spcAft>
                <a:defRPr/>
              </a:pPr>
              <a:r>
                <a:rPr lang="en-US" sz="825" kern="0">
                  <a:latin typeface="Segoe UI Semibold"/>
                </a:rPr>
                <a:t>Private</a:t>
              </a:r>
              <a:br>
                <a:rPr lang="en-US" sz="825" kern="0">
                  <a:latin typeface="Segoe UI Semibold"/>
                </a:rPr>
              </a:br>
              <a:r>
                <a:rPr lang="en-US" sz="825" kern="0">
                  <a:latin typeface="Segoe UI Semibold"/>
                </a:rPr>
                <a:t>endpoint</a:t>
              </a:r>
            </a:p>
          </p:txBody>
        </p:sp>
        <p:sp>
          <p:nvSpPr>
            <p:cNvPr id="85" name="TextBox 84">
              <a:extLst>
                <a:ext uri="{FF2B5EF4-FFF2-40B4-BE49-F238E27FC236}">
                  <a16:creationId xmlns:a16="http://schemas.microsoft.com/office/drawing/2014/main" id="{D2E6934D-FDFA-4B88-94A1-EE7E167827F6}"/>
                </a:ext>
              </a:extLst>
            </p:cNvPr>
            <p:cNvSpPr txBox="1"/>
            <p:nvPr/>
          </p:nvSpPr>
          <p:spPr>
            <a:xfrm>
              <a:off x="8670235" y="3582689"/>
              <a:ext cx="601027" cy="153888"/>
            </a:xfrm>
            <a:prstGeom prst="rect">
              <a:avLst/>
            </a:prstGeom>
            <a:noFill/>
          </p:spPr>
          <p:txBody>
            <a:bodyPr wrap="square" lIns="0" tIns="0" rIns="0" bIns="0" rtlCol="0">
              <a:spAutoFit/>
            </a:bodyPr>
            <a:lstStyle/>
            <a:p>
              <a:pPr algn="ctr" defTabSz="514400" eaLnBrk="1" fontAlgn="auto" hangingPunct="1">
                <a:spcBef>
                  <a:spcPts val="0"/>
                </a:spcBef>
                <a:spcAft>
                  <a:spcPts val="0"/>
                </a:spcAft>
                <a:defRPr/>
              </a:pPr>
              <a:r>
                <a:rPr lang="en-US" sz="750" kern="0">
                  <a:latin typeface="+mj-lt"/>
                </a:rPr>
                <a:t>Storage</a:t>
              </a:r>
            </a:p>
          </p:txBody>
        </p:sp>
        <p:cxnSp>
          <p:nvCxnSpPr>
            <p:cNvPr id="86" name="Connector: Elbow 85">
              <a:extLst>
                <a:ext uri="{FF2B5EF4-FFF2-40B4-BE49-F238E27FC236}">
                  <a16:creationId xmlns:a16="http://schemas.microsoft.com/office/drawing/2014/main" id="{9D4AED27-31A8-4AB4-B35D-4F068BF43AE4}"/>
                </a:ext>
              </a:extLst>
            </p:cNvPr>
            <p:cNvCxnSpPr>
              <a:cxnSpLocks/>
            </p:cNvCxnSpPr>
            <p:nvPr/>
          </p:nvCxnSpPr>
          <p:spPr>
            <a:xfrm rot="16200000" flipH="1">
              <a:off x="3804437" y="2759371"/>
              <a:ext cx="439797" cy="495830"/>
            </a:xfrm>
            <a:prstGeom prst="bentConnector2">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899D141F-1747-4A5F-A5D4-CAF5E35B84B1}"/>
                </a:ext>
              </a:extLst>
            </p:cNvPr>
            <p:cNvSpPr txBox="1"/>
            <p:nvPr/>
          </p:nvSpPr>
          <p:spPr>
            <a:xfrm>
              <a:off x="4316345" y="2683768"/>
              <a:ext cx="680348" cy="161669"/>
            </a:xfrm>
            <a:prstGeom prst="rect">
              <a:avLst/>
            </a:prstGeom>
            <a:noFill/>
          </p:spPr>
          <p:txBody>
            <a:bodyPr wrap="square" lIns="0" tIns="0" rIns="0" bIns="0" rtlCol="0">
              <a:spAutoFit/>
            </a:bodyPr>
            <a:lstStyle/>
            <a:p>
              <a:pPr algn="ctr" defTabSz="685775" eaLnBrk="1" fontAlgn="auto" hangingPunct="1">
                <a:spcBef>
                  <a:spcPts val="0"/>
                </a:spcBef>
                <a:spcAft>
                  <a:spcPts val="0"/>
                </a:spcAft>
                <a:defRPr/>
              </a:pPr>
              <a:r>
                <a:rPr lang="en-US" sz="788" kern="0">
                  <a:latin typeface="Segoe UI Semibold"/>
                </a:rPr>
                <a:t>10.0.0.5</a:t>
              </a:r>
            </a:p>
          </p:txBody>
        </p:sp>
        <p:cxnSp>
          <p:nvCxnSpPr>
            <p:cNvPr id="88" name="Connector: Elbow 87">
              <a:extLst>
                <a:ext uri="{FF2B5EF4-FFF2-40B4-BE49-F238E27FC236}">
                  <a16:creationId xmlns:a16="http://schemas.microsoft.com/office/drawing/2014/main" id="{830871E5-25BF-4318-BD16-D3C261310678}"/>
                </a:ext>
              </a:extLst>
            </p:cNvPr>
            <p:cNvCxnSpPr>
              <a:cxnSpLocks/>
            </p:cNvCxnSpPr>
            <p:nvPr/>
          </p:nvCxnSpPr>
          <p:spPr>
            <a:xfrm flipV="1">
              <a:off x="3349441" y="3365029"/>
              <a:ext cx="922810" cy="1"/>
            </a:xfrm>
            <a:prstGeom prst="bentConnector3">
              <a:avLst>
                <a:gd name="adj1" fmla="val 50000"/>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B36E64C6-CD49-4770-AAF0-94BD2487CB0F}"/>
                </a:ext>
              </a:extLst>
            </p:cNvPr>
            <p:cNvSpPr txBox="1"/>
            <p:nvPr/>
          </p:nvSpPr>
          <p:spPr>
            <a:xfrm>
              <a:off x="9830679" y="3598674"/>
              <a:ext cx="927963" cy="153888"/>
            </a:xfrm>
            <a:prstGeom prst="rect">
              <a:avLst/>
            </a:prstGeom>
            <a:noFill/>
          </p:spPr>
          <p:txBody>
            <a:bodyPr wrap="square" lIns="0" tIns="0" rIns="0" bIns="0" rtlCol="0">
              <a:spAutoFit/>
            </a:bodyPr>
            <a:lstStyle/>
            <a:p>
              <a:pPr algn="ctr" defTabSz="514400" eaLnBrk="1" fontAlgn="auto" hangingPunct="1">
                <a:spcBef>
                  <a:spcPts val="0"/>
                </a:spcBef>
                <a:spcAft>
                  <a:spcPts val="0"/>
                </a:spcAft>
                <a:defRPr/>
              </a:pPr>
              <a:r>
                <a:rPr lang="en-US" sz="750" kern="0">
                  <a:latin typeface="+mj-lt"/>
                </a:rPr>
                <a:t>SQL DW</a:t>
              </a:r>
            </a:p>
          </p:txBody>
        </p:sp>
        <p:sp>
          <p:nvSpPr>
            <p:cNvPr id="92" name="TextBox 91">
              <a:extLst>
                <a:ext uri="{FF2B5EF4-FFF2-40B4-BE49-F238E27FC236}">
                  <a16:creationId xmlns:a16="http://schemas.microsoft.com/office/drawing/2014/main" id="{B02D9F57-64D7-4E94-822B-6350E3805954}"/>
                </a:ext>
              </a:extLst>
            </p:cNvPr>
            <p:cNvSpPr txBox="1"/>
            <p:nvPr/>
          </p:nvSpPr>
          <p:spPr>
            <a:xfrm flipH="1">
              <a:off x="9414995" y="3591176"/>
              <a:ext cx="422979" cy="153888"/>
            </a:xfrm>
            <a:prstGeom prst="rect">
              <a:avLst/>
            </a:prstGeom>
            <a:noFill/>
          </p:spPr>
          <p:txBody>
            <a:bodyPr wrap="square" lIns="0" tIns="0" rIns="0" bIns="0" rtlCol="0">
              <a:spAutoFit/>
            </a:bodyPr>
            <a:lstStyle/>
            <a:p>
              <a:pPr algn="ctr" defTabSz="514400" eaLnBrk="1" fontAlgn="auto" hangingPunct="1">
                <a:spcBef>
                  <a:spcPts val="0"/>
                </a:spcBef>
                <a:spcAft>
                  <a:spcPts val="0"/>
                </a:spcAft>
                <a:defRPr/>
              </a:pPr>
              <a:r>
                <a:rPr lang="en-US" sz="750" kern="0">
                  <a:latin typeface="+mj-lt"/>
                </a:rPr>
                <a:t>SQL</a:t>
              </a:r>
            </a:p>
          </p:txBody>
        </p:sp>
        <p:cxnSp>
          <p:nvCxnSpPr>
            <p:cNvPr id="93" name="Straight Connector 92">
              <a:extLst>
                <a:ext uri="{FF2B5EF4-FFF2-40B4-BE49-F238E27FC236}">
                  <a16:creationId xmlns:a16="http://schemas.microsoft.com/office/drawing/2014/main" id="{4C3D764B-6516-4A78-BF8D-B8635C2E7728}"/>
                </a:ext>
              </a:extLst>
            </p:cNvPr>
            <p:cNvCxnSpPr>
              <a:cxnSpLocks/>
            </p:cNvCxnSpPr>
            <p:nvPr/>
          </p:nvCxnSpPr>
          <p:spPr>
            <a:xfrm>
              <a:off x="1675718" y="3368028"/>
              <a:ext cx="1047042" cy="0"/>
            </a:xfrm>
            <a:prstGeom prst="line">
              <a:avLst/>
            </a:prstGeom>
            <a:ln w="15875" cmpd="sng">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F5AFED5E-732E-401A-B4C7-7F26539A5EAB}"/>
                </a:ext>
              </a:extLst>
            </p:cNvPr>
            <p:cNvSpPr txBox="1"/>
            <p:nvPr/>
          </p:nvSpPr>
          <p:spPr>
            <a:xfrm>
              <a:off x="8548027" y="2458206"/>
              <a:ext cx="840377" cy="307776"/>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sz="750" b="1" kern="0">
                  <a:latin typeface="Segoe UI Semibold"/>
                </a:rPr>
                <a:t>Private Link Service</a:t>
              </a:r>
            </a:p>
          </p:txBody>
        </p:sp>
        <p:sp>
          <p:nvSpPr>
            <p:cNvPr id="96" name="TextBox 95">
              <a:extLst>
                <a:ext uri="{FF2B5EF4-FFF2-40B4-BE49-F238E27FC236}">
                  <a16:creationId xmlns:a16="http://schemas.microsoft.com/office/drawing/2014/main" id="{528DE53C-7044-4DD5-B203-B05C6BA6D7E9}"/>
                </a:ext>
              </a:extLst>
            </p:cNvPr>
            <p:cNvSpPr txBox="1"/>
            <p:nvPr/>
          </p:nvSpPr>
          <p:spPr>
            <a:xfrm>
              <a:off x="4026608" y="1750133"/>
              <a:ext cx="1259823" cy="16166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685775">
                <a:lnSpc>
                  <a:spcPct val="100000"/>
                </a:lnSpc>
                <a:spcAft>
                  <a:spcPts val="0"/>
                </a:spcAft>
                <a:defRPr/>
              </a:pPr>
              <a:r>
                <a:rPr lang="en-US" sz="788" kern="0">
                  <a:solidFill>
                    <a:schemeClr val="tx1"/>
                  </a:solidFill>
                  <a:latin typeface="Segoe UI Semibold"/>
                </a:rPr>
                <a:t>Deny Internet</a:t>
              </a:r>
            </a:p>
          </p:txBody>
        </p:sp>
        <p:sp>
          <p:nvSpPr>
            <p:cNvPr id="98" name="TextBox 97">
              <a:extLst>
                <a:ext uri="{FF2B5EF4-FFF2-40B4-BE49-F238E27FC236}">
                  <a16:creationId xmlns:a16="http://schemas.microsoft.com/office/drawing/2014/main" id="{7E74FCDB-C718-4566-83C2-CF1F0E6681D4}"/>
                </a:ext>
              </a:extLst>
            </p:cNvPr>
            <p:cNvSpPr txBox="1"/>
            <p:nvPr/>
          </p:nvSpPr>
          <p:spPr>
            <a:xfrm>
              <a:off x="9638999" y="1582245"/>
              <a:ext cx="1259823" cy="16166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685775">
                <a:lnSpc>
                  <a:spcPct val="100000"/>
                </a:lnSpc>
                <a:spcAft>
                  <a:spcPts val="0"/>
                </a:spcAft>
                <a:defRPr/>
              </a:pPr>
              <a:r>
                <a:rPr lang="en-US" sz="788" kern="0">
                  <a:solidFill>
                    <a:schemeClr val="tx1"/>
                  </a:solidFill>
                  <a:latin typeface="Segoe UI Semibold"/>
                </a:rPr>
                <a:t>Deny Internet</a:t>
              </a:r>
            </a:p>
          </p:txBody>
        </p:sp>
        <p:pic>
          <p:nvPicPr>
            <p:cNvPr id="99" name="Graphic 98">
              <a:extLst>
                <a:ext uri="{FF2B5EF4-FFF2-40B4-BE49-F238E27FC236}">
                  <a16:creationId xmlns:a16="http://schemas.microsoft.com/office/drawing/2014/main" id="{B67792B5-A24F-4FE7-ACFB-65F6B1B08C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14018" y="2206103"/>
              <a:ext cx="657818" cy="657818"/>
            </a:xfrm>
            <a:prstGeom prst="rect">
              <a:avLst/>
            </a:prstGeom>
          </p:spPr>
        </p:pic>
        <p:grpSp>
          <p:nvGrpSpPr>
            <p:cNvPr id="100" name="Group 99">
              <a:extLst>
                <a:ext uri="{FF2B5EF4-FFF2-40B4-BE49-F238E27FC236}">
                  <a16:creationId xmlns:a16="http://schemas.microsoft.com/office/drawing/2014/main" id="{3CE5862C-0F78-42D5-93B2-388728709DCD}"/>
                </a:ext>
              </a:extLst>
            </p:cNvPr>
            <p:cNvGrpSpPr/>
            <p:nvPr/>
          </p:nvGrpSpPr>
          <p:grpSpPr>
            <a:xfrm>
              <a:off x="4335847" y="2936878"/>
              <a:ext cx="641344" cy="641344"/>
              <a:chOff x="3824722" y="3081939"/>
              <a:chExt cx="678105" cy="678105"/>
            </a:xfrm>
          </p:grpSpPr>
          <p:sp>
            <p:nvSpPr>
              <p:cNvPr id="101" name="Oval 100">
                <a:extLst>
                  <a:ext uri="{FF2B5EF4-FFF2-40B4-BE49-F238E27FC236}">
                    <a16:creationId xmlns:a16="http://schemas.microsoft.com/office/drawing/2014/main" id="{D9551EAB-CC18-4B4B-8123-D16BD0C9B676}"/>
                  </a:ext>
                </a:extLst>
              </p:cNvPr>
              <p:cNvSpPr/>
              <p:nvPr/>
            </p:nvSpPr>
            <p:spPr bwMode="auto">
              <a:xfrm>
                <a:off x="3824722" y="3081939"/>
                <a:ext cx="678105" cy="678105"/>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endParaRPr lang="en-US" sz="1500" err="1">
                  <a:gradFill>
                    <a:gsLst>
                      <a:gs pos="0">
                        <a:srgbClr val="FFFFFF"/>
                      </a:gs>
                      <a:gs pos="100000">
                        <a:srgbClr val="FFFFFF"/>
                      </a:gs>
                    </a:gsLst>
                    <a:lin ang="5400000" scaled="0"/>
                  </a:gradFill>
                  <a:ea typeface="Segoe UI" pitchFamily="34" charset="0"/>
                  <a:cs typeface="Segoe UI" pitchFamily="34" charset="0"/>
                </a:endParaRPr>
              </a:p>
            </p:txBody>
          </p:sp>
          <p:pic>
            <p:nvPicPr>
              <p:cNvPr id="102" name="Picture 101">
                <a:extLst>
                  <a:ext uri="{FF2B5EF4-FFF2-40B4-BE49-F238E27FC236}">
                    <a16:creationId xmlns:a16="http://schemas.microsoft.com/office/drawing/2014/main" id="{4066C9B2-8B55-4501-88E4-3C3C9DE5CE78}"/>
                  </a:ext>
                </a:extLst>
              </p:cNvPr>
              <p:cNvPicPr>
                <a:picLocks noChangeAspect="1"/>
              </p:cNvPicPr>
              <p:nvPr/>
            </p:nvPicPr>
            <p:blipFill>
              <a:blip r:embed="rId5"/>
              <a:stretch>
                <a:fillRect/>
              </a:stretch>
            </p:blipFill>
            <p:spPr>
              <a:xfrm rot="10800000">
                <a:off x="3962215" y="3212995"/>
                <a:ext cx="370659" cy="361839"/>
              </a:xfrm>
              <a:prstGeom prst="rect">
                <a:avLst/>
              </a:prstGeom>
            </p:spPr>
          </p:pic>
        </p:grpSp>
        <p:sp>
          <p:nvSpPr>
            <p:cNvPr id="103" name="TextBox 102">
              <a:extLst>
                <a:ext uri="{FF2B5EF4-FFF2-40B4-BE49-F238E27FC236}">
                  <a16:creationId xmlns:a16="http://schemas.microsoft.com/office/drawing/2014/main" id="{0E449756-E010-4D43-B2F2-DA544A4E0030}"/>
                </a:ext>
              </a:extLst>
            </p:cNvPr>
            <p:cNvSpPr txBox="1"/>
            <p:nvPr/>
          </p:nvSpPr>
          <p:spPr>
            <a:xfrm>
              <a:off x="2583932" y="2902706"/>
              <a:ext cx="913523" cy="230832"/>
            </a:xfrm>
            <a:prstGeom prst="rect">
              <a:avLst/>
            </a:prstGeom>
            <a:solidFill>
              <a:schemeClr val="bg1"/>
            </a:solidFill>
          </p:spPr>
          <p:txBody>
            <a:bodyPr wrap="square" lIns="0" tIns="34290" rIns="0" bIns="3429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685800" eaLnBrk="1" hangingPunct="1">
                <a:spcAft>
                  <a:spcPts val="450"/>
                </a:spcAft>
                <a:defRPr/>
              </a:pPr>
              <a:r>
                <a:rPr lang="en-US" sz="750" kern="0">
                  <a:solidFill>
                    <a:schemeClr val="tx1"/>
                  </a:solidFill>
                  <a:latin typeface="Segoe UI Semibold"/>
                </a:rPr>
                <a:t>ER Gateway</a:t>
              </a:r>
            </a:p>
          </p:txBody>
        </p:sp>
        <p:pic>
          <p:nvPicPr>
            <p:cNvPr id="104" name="Graphic 103">
              <a:extLst>
                <a:ext uri="{FF2B5EF4-FFF2-40B4-BE49-F238E27FC236}">
                  <a16:creationId xmlns:a16="http://schemas.microsoft.com/office/drawing/2014/main" id="{0E5F1465-55B6-460B-9478-75999166FE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60152" y="2399937"/>
              <a:ext cx="424226" cy="424226"/>
            </a:xfrm>
            <a:prstGeom prst="rect">
              <a:avLst/>
            </a:prstGeom>
          </p:spPr>
        </p:pic>
        <p:grpSp>
          <p:nvGrpSpPr>
            <p:cNvPr id="12" name="Group 11">
              <a:extLst>
                <a:ext uri="{FF2B5EF4-FFF2-40B4-BE49-F238E27FC236}">
                  <a16:creationId xmlns:a16="http://schemas.microsoft.com/office/drawing/2014/main" id="{69FC9580-0163-4719-9472-00B71A59797E}"/>
                </a:ext>
              </a:extLst>
            </p:cNvPr>
            <p:cNvGrpSpPr/>
            <p:nvPr/>
          </p:nvGrpSpPr>
          <p:grpSpPr>
            <a:xfrm>
              <a:off x="943697" y="2994660"/>
              <a:ext cx="814326" cy="871160"/>
              <a:chOff x="1089159" y="4427220"/>
              <a:chExt cx="814326" cy="871160"/>
            </a:xfrm>
          </p:grpSpPr>
          <p:sp>
            <p:nvSpPr>
              <p:cNvPr id="94" name="TextBox 93">
                <a:extLst>
                  <a:ext uri="{FF2B5EF4-FFF2-40B4-BE49-F238E27FC236}">
                    <a16:creationId xmlns:a16="http://schemas.microsoft.com/office/drawing/2014/main" id="{D322D38A-7083-45F7-B4D8-EAF9FDECF987}"/>
                  </a:ext>
                </a:extLst>
              </p:cNvPr>
              <p:cNvSpPr txBox="1"/>
              <p:nvPr/>
            </p:nvSpPr>
            <p:spPr>
              <a:xfrm>
                <a:off x="1089159" y="5146031"/>
                <a:ext cx="814326" cy="152349"/>
              </a:xfrm>
              <a:prstGeom prst="rect">
                <a:avLst/>
              </a:prstGeom>
              <a:noFill/>
            </p:spPr>
            <p:txBody>
              <a:bodyPr wrap="none" lIns="0" tIns="0" rIns="0" bIns="0" rtlCol="0">
                <a:spAutoFit/>
              </a:bodyPr>
              <a:lstStyle/>
              <a:p>
                <a:pPr algn="ctr" defTabSz="685800" eaLnBrk="1" fontAlgn="auto" hangingPunct="1">
                  <a:lnSpc>
                    <a:spcPct val="90000"/>
                  </a:lnSpc>
                  <a:spcBef>
                    <a:spcPts val="0"/>
                  </a:spcBef>
                  <a:spcAft>
                    <a:spcPts val="450"/>
                  </a:spcAft>
                  <a:defRPr/>
                </a:pPr>
                <a:r>
                  <a:rPr lang="en-US" sz="825" kern="0">
                    <a:latin typeface="Segoe UI Semibold"/>
                  </a:rPr>
                  <a:t>On-premises</a:t>
                </a:r>
              </a:p>
            </p:txBody>
          </p:sp>
          <p:pic>
            <p:nvPicPr>
              <p:cNvPr id="107" name="Graphic 106">
                <a:extLst>
                  <a:ext uri="{FF2B5EF4-FFF2-40B4-BE49-F238E27FC236}">
                    <a16:creationId xmlns:a16="http://schemas.microsoft.com/office/drawing/2014/main" id="{9A4443D0-71B9-4E4E-9D0D-3F92DE824D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73347" y="4427220"/>
                <a:ext cx="645949" cy="645949"/>
              </a:xfrm>
              <a:prstGeom prst="rect">
                <a:avLst/>
              </a:prstGeom>
            </p:spPr>
          </p:pic>
        </p:grpSp>
        <p:sp>
          <p:nvSpPr>
            <p:cNvPr id="110" name="Rectangle 109">
              <a:extLst>
                <a:ext uri="{FF2B5EF4-FFF2-40B4-BE49-F238E27FC236}">
                  <a16:creationId xmlns:a16="http://schemas.microsoft.com/office/drawing/2014/main" id="{6F719D41-77EE-4BCD-A559-03639BB4B7D0}"/>
                </a:ext>
              </a:extLst>
            </p:cNvPr>
            <p:cNvSpPr/>
            <p:nvPr/>
          </p:nvSpPr>
          <p:spPr>
            <a:xfrm>
              <a:off x="5799078" y="1981199"/>
              <a:ext cx="866345" cy="2545081"/>
            </a:xfrm>
            <a:prstGeom prst="rect">
              <a:avLst/>
            </a:prstGeom>
            <a:solidFill>
              <a:schemeClr val="accent2"/>
            </a:solidFill>
            <a:ln w="158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0" tIns="342900" rIns="68580" bIns="68580" numCol="1" spcCol="0" rtlCol="0" fromWordArt="0" anchor="ctr" anchorCtr="0" forceAA="0" compatLnSpc="1">
              <a:prstTxWarp prst="textNoShape">
                <a:avLst/>
              </a:prstTxWarp>
              <a:noAutofit/>
            </a:bodyPr>
            <a:lstStyle/>
            <a:p>
              <a:pPr algn="ctr" defTabSz="699354"/>
              <a:r>
                <a:rPr lang="en-US" sz="1050">
                  <a:solidFill>
                    <a:schemeClr val="bg1"/>
                  </a:solidFill>
                  <a:latin typeface="Segoe UI Semibold"/>
                  <a:cs typeface="Segoe UI" pitchFamily="34" charset="0"/>
                </a:rPr>
                <a:t>Private </a:t>
              </a:r>
              <a:br>
                <a:rPr lang="en-US" sz="1050">
                  <a:solidFill>
                    <a:schemeClr val="bg1"/>
                  </a:solidFill>
                  <a:latin typeface="Segoe UI Semibold"/>
                  <a:cs typeface="Segoe UI" pitchFamily="34" charset="0"/>
                </a:rPr>
              </a:br>
              <a:r>
                <a:rPr lang="en-US" sz="1050">
                  <a:solidFill>
                    <a:schemeClr val="bg1"/>
                  </a:solidFill>
                  <a:latin typeface="Segoe UI Semibold"/>
                  <a:cs typeface="Segoe UI" pitchFamily="34" charset="0"/>
                </a:rPr>
                <a:t>Link</a:t>
              </a:r>
            </a:p>
          </p:txBody>
        </p:sp>
        <p:grpSp>
          <p:nvGrpSpPr>
            <p:cNvPr id="4" name="Group 3">
              <a:extLst>
                <a:ext uri="{FF2B5EF4-FFF2-40B4-BE49-F238E27FC236}">
                  <a16:creationId xmlns:a16="http://schemas.microsoft.com/office/drawing/2014/main" id="{6757921C-B97B-4D91-AE95-9ECDA922735C}"/>
                </a:ext>
              </a:extLst>
            </p:cNvPr>
            <p:cNvGrpSpPr/>
            <p:nvPr/>
          </p:nvGrpSpPr>
          <p:grpSpPr>
            <a:xfrm>
              <a:off x="7195351" y="1864223"/>
              <a:ext cx="1226924" cy="2681636"/>
              <a:chOff x="7279467" y="3111209"/>
              <a:chExt cx="1349616" cy="2949799"/>
            </a:xfrm>
          </p:grpSpPr>
          <p:sp>
            <p:nvSpPr>
              <p:cNvPr id="108" name="Freeform 33">
                <a:extLst>
                  <a:ext uri="{FF2B5EF4-FFF2-40B4-BE49-F238E27FC236}">
                    <a16:creationId xmlns:a16="http://schemas.microsoft.com/office/drawing/2014/main" id="{0B2862EA-1C80-4708-8F73-664A201FFF13}"/>
                  </a:ext>
                </a:extLst>
              </p:cNvPr>
              <p:cNvSpPr>
                <a:spLocks/>
              </p:cNvSpPr>
              <p:nvPr/>
            </p:nvSpPr>
            <p:spPr bwMode="auto">
              <a:xfrm flipH="1">
                <a:off x="7281136" y="3111209"/>
                <a:ext cx="1347947" cy="812758"/>
              </a:xfrm>
              <a:custGeom>
                <a:avLst/>
                <a:gdLst>
                  <a:gd name="T0" fmla="*/ 208 w 247"/>
                  <a:gd name="T1" fmla="*/ 72 h 163"/>
                  <a:gd name="T2" fmla="*/ 208 w 247"/>
                  <a:gd name="T3" fmla="*/ 69 h 163"/>
                  <a:gd name="T4" fmla="*/ 140 w 247"/>
                  <a:gd name="T5" fmla="*/ 0 h 163"/>
                  <a:gd name="T6" fmla="*/ 83 w 247"/>
                  <a:gd name="T7" fmla="*/ 31 h 163"/>
                  <a:gd name="T8" fmla="*/ 64 w 247"/>
                  <a:gd name="T9" fmla="*/ 26 h 163"/>
                  <a:gd name="T10" fmla="*/ 42 w 247"/>
                  <a:gd name="T11" fmla="*/ 32 h 163"/>
                  <a:gd name="T12" fmla="*/ 24 w 247"/>
                  <a:gd name="T13" fmla="*/ 64 h 163"/>
                  <a:gd name="T14" fmla="*/ 0 w 247"/>
                  <a:gd name="T15" fmla="*/ 109 h 163"/>
                  <a:gd name="T16" fmla="*/ 48 w 247"/>
                  <a:gd name="T17" fmla="*/ 163 h 163"/>
                  <a:gd name="T18" fmla="*/ 54 w 247"/>
                  <a:gd name="T19" fmla="*/ 163 h 163"/>
                  <a:gd name="T20" fmla="*/ 59 w 247"/>
                  <a:gd name="T21" fmla="*/ 163 h 163"/>
                  <a:gd name="T22" fmla="*/ 170 w 247"/>
                  <a:gd name="T23" fmla="*/ 163 h 163"/>
                  <a:gd name="T24" fmla="*/ 173 w 247"/>
                  <a:gd name="T25" fmla="*/ 163 h 163"/>
                  <a:gd name="T26" fmla="*/ 175 w 247"/>
                  <a:gd name="T27" fmla="*/ 163 h 163"/>
                  <a:gd name="T28" fmla="*/ 184 w 247"/>
                  <a:gd name="T29" fmla="*/ 163 h 163"/>
                  <a:gd name="T30" fmla="*/ 201 w 247"/>
                  <a:gd name="T31" fmla="*/ 163 h 163"/>
                  <a:gd name="T32" fmla="*/ 247 w 247"/>
                  <a:gd name="T33" fmla="*/ 117 h 163"/>
                  <a:gd name="T34" fmla="*/ 208 w 247"/>
                  <a:gd name="T35" fmla="*/ 7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163">
                    <a:moveTo>
                      <a:pt x="208" y="72"/>
                    </a:moveTo>
                    <a:cubicBezTo>
                      <a:pt x="208" y="71"/>
                      <a:pt x="208" y="69"/>
                      <a:pt x="208" y="69"/>
                    </a:cubicBezTo>
                    <a:cubicBezTo>
                      <a:pt x="208" y="31"/>
                      <a:pt x="177" y="0"/>
                      <a:pt x="140" y="0"/>
                    </a:cubicBezTo>
                    <a:cubicBezTo>
                      <a:pt x="116" y="0"/>
                      <a:pt x="95" y="13"/>
                      <a:pt x="83" y="31"/>
                    </a:cubicBezTo>
                    <a:cubicBezTo>
                      <a:pt x="77" y="28"/>
                      <a:pt x="71" y="26"/>
                      <a:pt x="64" y="26"/>
                    </a:cubicBezTo>
                    <a:cubicBezTo>
                      <a:pt x="56" y="26"/>
                      <a:pt x="48" y="28"/>
                      <a:pt x="42" y="32"/>
                    </a:cubicBezTo>
                    <a:cubicBezTo>
                      <a:pt x="32" y="39"/>
                      <a:pt x="25" y="51"/>
                      <a:pt x="24" y="64"/>
                    </a:cubicBezTo>
                    <a:cubicBezTo>
                      <a:pt x="10" y="74"/>
                      <a:pt x="0" y="91"/>
                      <a:pt x="0" y="109"/>
                    </a:cubicBezTo>
                    <a:cubicBezTo>
                      <a:pt x="0" y="137"/>
                      <a:pt x="21" y="160"/>
                      <a:pt x="48" y="163"/>
                    </a:cubicBezTo>
                    <a:cubicBezTo>
                      <a:pt x="49" y="163"/>
                      <a:pt x="52" y="163"/>
                      <a:pt x="54" y="163"/>
                    </a:cubicBezTo>
                    <a:cubicBezTo>
                      <a:pt x="55" y="163"/>
                      <a:pt x="57" y="163"/>
                      <a:pt x="59" y="163"/>
                    </a:cubicBezTo>
                    <a:cubicBezTo>
                      <a:pt x="84" y="163"/>
                      <a:pt x="143" y="163"/>
                      <a:pt x="170" y="163"/>
                    </a:cubicBezTo>
                    <a:cubicBezTo>
                      <a:pt x="171" y="163"/>
                      <a:pt x="172" y="163"/>
                      <a:pt x="173" y="163"/>
                    </a:cubicBezTo>
                    <a:cubicBezTo>
                      <a:pt x="175" y="163"/>
                      <a:pt x="175" y="163"/>
                      <a:pt x="175" y="163"/>
                    </a:cubicBezTo>
                    <a:cubicBezTo>
                      <a:pt x="177" y="163"/>
                      <a:pt x="181" y="163"/>
                      <a:pt x="184" y="163"/>
                    </a:cubicBezTo>
                    <a:cubicBezTo>
                      <a:pt x="201" y="163"/>
                      <a:pt x="201" y="163"/>
                      <a:pt x="201" y="163"/>
                    </a:cubicBezTo>
                    <a:cubicBezTo>
                      <a:pt x="227" y="163"/>
                      <a:pt x="247" y="142"/>
                      <a:pt x="247" y="117"/>
                    </a:cubicBezTo>
                    <a:cubicBezTo>
                      <a:pt x="247" y="94"/>
                      <a:pt x="230" y="75"/>
                      <a:pt x="208" y="72"/>
                    </a:cubicBezTo>
                    <a:close/>
                  </a:path>
                </a:pathLst>
              </a:custGeom>
              <a:solidFill>
                <a:schemeClr val="bg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68580" numCol="1" rtlCol="0" anchor="b" anchorCtr="0" compatLnSpc="1">
                <a:prstTxWarp prst="textNoShape">
                  <a:avLst/>
                </a:prstTxWarp>
              </a:bodyPr>
              <a:lstStyle/>
              <a:p>
                <a:pPr algn="ctr" defTabSz="699354" eaLnBrk="1" hangingPunct="1">
                  <a:lnSpc>
                    <a:spcPct val="90000"/>
                  </a:lnSpc>
                  <a:defRPr/>
                </a:pPr>
                <a:r>
                  <a:rPr lang="en-US" sz="750">
                    <a:solidFill>
                      <a:schemeClr val="tx1"/>
                    </a:solidFill>
                    <a:latin typeface="+mj-lt"/>
                  </a:rPr>
                  <a:t>Customer </a:t>
                </a:r>
                <a:br>
                  <a:rPr lang="en-US" sz="750">
                    <a:solidFill>
                      <a:schemeClr val="tx1"/>
                    </a:solidFill>
                    <a:latin typeface="+mj-lt"/>
                  </a:rPr>
                </a:br>
                <a:r>
                  <a:rPr lang="en-US" sz="750">
                    <a:solidFill>
                      <a:schemeClr val="tx1"/>
                    </a:solidFill>
                    <a:latin typeface="+mj-lt"/>
                  </a:rPr>
                  <a:t>owned </a:t>
                </a:r>
                <a:br>
                  <a:rPr lang="en-US" sz="750">
                    <a:solidFill>
                      <a:schemeClr val="tx1"/>
                    </a:solidFill>
                    <a:latin typeface="+mj-lt"/>
                  </a:rPr>
                </a:br>
                <a:r>
                  <a:rPr lang="en-US" sz="750">
                    <a:solidFill>
                      <a:schemeClr val="tx1"/>
                    </a:solidFill>
                    <a:latin typeface="+mj-lt"/>
                  </a:rPr>
                  <a:t>services</a:t>
                </a:r>
              </a:p>
            </p:txBody>
          </p:sp>
          <p:sp>
            <p:nvSpPr>
              <p:cNvPr id="109" name="Freeform 33">
                <a:extLst>
                  <a:ext uri="{FF2B5EF4-FFF2-40B4-BE49-F238E27FC236}">
                    <a16:creationId xmlns:a16="http://schemas.microsoft.com/office/drawing/2014/main" id="{38C4E9DB-EFC5-4483-AD42-73AFEB85F52B}"/>
                  </a:ext>
                </a:extLst>
              </p:cNvPr>
              <p:cNvSpPr>
                <a:spLocks/>
              </p:cNvSpPr>
              <p:nvPr/>
            </p:nvSpPr>
            <p:spPr bwMode="auto">
              <a:xfrm flipH="1">
                <a:off x="7281136" y="4179729"/>
                <a:ext cx="1347947" cy="812758"/>
              </a:xfrm>
              <a:custGeom>
                <a:avLst/>
                <a:gdLst>
                  <a:gd name="T0" fmla="*/ 208 w 247"/>
                  <a:gd name="T1" fmla="*/ 72 h 163"/>
                  <a:gd name="T2" fmla="*/ 208 w 247"/>
                  <a:gd name="T3" fmla="*/ 69 h 163"/>
                  <a:gd name="T4" fmla="*/ 140 w 247"/>
                  <a:gd name="T5" fmla="*/ 0 h 163"/>
                  <a:gd name="T6" fmla="*/ 83 w 247"/>
                  <a:gd name="T7" fmla="*/ 31 h 163"/>
                  <a:gd name="T8" fmla="*/ 64 w 247"/>
                  <a:gd name="T9" fmla="*/ 26 h 163"/>
                  <a:gd name="T10" fmla="*/ 42 w 247"/>
                  <a:gd name="T11" fmla="*/ 32 h 163"/>
                  <a:gd name="T12" fmla="*/ 24 w 247"/>
                  <a:gd name="T13" fmla="*/ 64 h 163"/>
                  <a:gd name="T14" fmla="*/ 0 w 247"/>
                  <a:gd name="T15" fmla="*/ 109 h 163"/>
                  <a:gd name="T16" fmla="*/ 48 w 247"/>
                  <a:gd name="T17" fmla="*/ 163 h 163"/>
                  <a:gd name="T18" fmla="*/ 54 w 247"/>
                  <a:gd name="T19" fmla="*/ 163 h 163"/>
                  <a:gd name="T20" fmla="*/ 59 w 247"/>
                  <a:gd name="T21" fmla="*/ 163 h 163"/>
                  <a:gd name="T22" fmla="*/ 170 w 247"/>
                  <a:gd name="T23" fmla="*/ 163 h 163"/>
                  <a:gd name="T24" fmla="*/ 173 w 247"/>
                  <a:gd name="T25" fmla="*/ 163 h 163"/>
                  <a:gd name="T26" fmla="*/ 175 w 247"/>
                  <a:gd name="T27" fmla="*/ 163 h 163"/>
                  <a:gd name="T28" fmla="*/ 184 w 247"/>
                  <a:gd name="T29" fmla="*/ 163 h 163"/>
                  <a:gd name="T30" fmla="*/ 201 w 247"/>
                  <a:gd name="T31" fmla="*/ 163 h 163"/>
                  <a:gd name="T32" fmla="*/ 247 w 247"/>
                  <a:gd name="T33" fmla="*/ 117 h 163"/>
                  <a:gd name="T34" fmla="*/ 208 w 247"/>
                  <a:gd name="T35" fmla="*/ 7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163">
                    <a:moveTo>
                      <a:pt x="208" y="72"/>
                    </a:moveTo>
                    <a:cubicBezTo>
                      <a:pt x="208" y="71"/>
                      <a:pt x="208" y="69"/>
                      <a:pt x="208" y="69"/>
                    </a:cubicBezTo>
                    <a:cubicBezTo>
                      <a:pt x="208" y="31"/>
                      <a:pt x="177" y="0"/>
                      <a:pt x="140" y="0"/>
                    </a:cubicBezTo>
                    <a:cubicBezTo>
                      <a:pt x="116" y="0"/>
                      <a:pt x="95" y="13"/>
                      <a:pt x="83" y="31"/>
                    </a:cubicBezTo>
                    <a:cubicBezTo>
                      <a:pt x="77" y="28"/>
                      <a:pt x="71" y="26"/>
                      <a:pt x="64" y="26"/>
                    </a:cubicBezTo>
                    <a:cubicBezTo>
                      <a:pt x="56" y="26"/>
                      <a:pt x="48" y="28"/>
                      <a:pt x="42" y="32"/>
                    </a:cubicBezTo>
                    <a:cubicBezTo>
                      <a:pt x="32" y="39"/>
                      <a:pt x="25" y="51"/>
                      <a:pt x="24" y="64"/>
                    </a:cubicBezTo>
                    <a:cubicBezTo>
                      <a:pt x="10" y="74"/>
                      <a:pt x="0" y="91"/>
                      <a:pt x="0" y="109"/>
                    </a:cubicBezTo>
                    <a:cubicBezTo>
                      <a:pt x="0" y="137"/>
                      <a:pt x="21" y="160"/>
                      <a:pt x="48" y="163"/>
                    </a:cubicBezTo>
                    <a:cubicBezTo>
                      <a:pt x="49" y="163"/>
                      <a:pt x="52" y="163"/>
                      <a:pt x="54" y="163"/>
                    </a:cubicBezTo>
                    <a:cubicBezTo>
                      <a:pt x="55" y="163"/>
                      <a:pt x="57" y="163"/>
                      <a:pt x="59" y="163"/>
                    </a:cubicBezTo>
                    <a:cubicBezTo>
                      <a:pt x="84" y="163"/>
                      <a:pt x="143" y="163"/>
                      <a:pt x="170" y="163"/>
                    </a:cubicBezTo>
                    <a:cubicBezTo>
                      <a:pt x="171" y="163"/>
                      <a:pt x="172" y="163"/>
                      <a:pt x="173" y="163"/>
                    </a:cubicBezTo>
                    <a:cubicBezTo>
                      <a:pt x="175" y="163"/>
                      <a:pt x="175" y="163"/>
                      <a:pt x="175" y="163"/>
                    </a:cubicBezTo>
                    <a:cubicBezTo>
                      <a:pt x="177" y="163"/>
                      <a:pt x="181" y="163"/>
                      <a:pt x="184" y="163"/>
                    </a:cubicBezTo>
                    <a:cubicBezTo>
                      <a:pt x="201" y="163"/>
                      <a:pt x="201" y="163"/>
                      <a:pt x="201" y="163"/>
                    </a:cubicBezTo>
                    <a:cubicBezTo>
                      <a:pt x="227" y="163"/>
                      <a:pt x="247" y="142"/>
                      <a:pt x="247" y="117"/>
                    </a:cubicBezTo>
                    <a:cubicBezTo>
                      <a:pt x="247" y="94"/>
                      <a:pt x="230" y="75"/>
                      <a:pt x="208" y="72"/>
                    </a:cubicBezTo>
                    <a:close/>
                  </a:path>
                </a:pathLst>
              </a:custGeom>
              <a:solidFill>
                <a:schemeClr val="bg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68580" numCol="1" rtlCol="0" anchor="b" anchorCtr="0" compatLnSpc="1">
                <a:prstTxWarp prst="textNoShape">
                  <a:avLst/>
                </a:prstTxWarp>
              </a:bodyPr>
              <a:lstStyle/>
              <a:p>
                <a:pPr algn="ctr" defTabSz="699354" eaLnBrk="1" hangingPunct="1">
                  <a:lnSpc>
                    <a:spcPct val="90000"/>
                  </a:lnSpc>
                  <a:defRPr/>
                </a:pPr>
                <a:r>
                  <a:rPr lang="en-US" sz="750">
                    <a:solidFill>
                      <a:schemeClr val="tx1"/>
                    </a:solidFill>
                    <a:latin typeface="+mj-lt"/>
                  </a:rPr>
                  <a:t>Azure</a:t>
                </a:r>
                <a:br>
                  <a:rPr lang="en-US" sz="750">
                    <a:solidFill>
                      <a:schemeClr val="tx1"/>
                    </a:solidFill>
                    <a:latin typeface="+mj-lt"/>
                  </a:rPr>
                </a:br>
                <a:r>
                  <a:rPr lang="en-US" sz="750">
                    <a:solidFill>
                      <a:schemeClr val="tx1"/>
                    </a:solidFill>
                    <a:latin typeface="+mj-lt"/>
                  </a:rPr>
                  <a:t>PaaS</a:t>
                </a:r>
                <a:br>
                  <a:rPr lang="en-US" sz="750">
                    <a:solidFill>
                      <a:schemeClr val="tx1"/>
                    </a:solidFill>
                    <a:latin typeface="+mj-lt"/>
                  </a:rPr>
                </a:br>
                <a:r>
                  <a:rPr lang="en-US" sz="750">
                    <a:solidFill>
                      <a:schemeClr val="tx1"/>
                    </a:solidFill>
                    <a:latin typeface="+mj-lt"/>
                  </a:rPr>
                  <a:t>services</a:t>
                </a:r>
              </a:p>
            </p:txBody>
          </p:sp>
          <p:sp>
            <p:nvSpPr>
              <p:cNvPr id="111" name="Freeform 33">
                <a:extLst>
                  <a:ext uri="{FF2B5EF4-FFF2-40B4-BE49-F238E27FC236}">
                    <a16:creationId xmlns:a16="http://schemas.microsoft.com/office/drawing/2014/main" id="{427FB46C-1247-4093-987A-F974703F0968}"/>
                  </a:ext>
                </a:extLst>
              </p:cNvPr>
              <p:cNvSpPr>
                <a:spLocks/>
              </p:cNvSpPr>
              <p:nvPr/>
            </p:nvSpPr>
            <p:spPr bwMode="auto">
              <a:xfrm flipH="1">
                <a:off x="7279467" y="5248250"/>
                <a:ext cx="1347947" cy="812758"/>
              </a:xfrm>
              <a:custGeom>
                <a:avLst/>
                <a:gdLst>
                  <a:gd name="T0" fmla="*/ 208 w 247"/>
                  <a:gd name="T1" fmla="*/ 72 h 163"/>
                  <a:gd name="T2" fmla="*/ 208 w 247"/>
                  <a:gd name="T3" fmla="*/ 69 h 163"/>
                  <a:gd name="T4" fmla="*/ 140 w 247"/>
                  <a:gd name="T5" fmla="*/ 0 h 163"/>
                  <a:gd name="T6" fmla="*/ 83 w 247"/>
                  <a:gd name="T7" fmla="*/ 31 h 163"/>
                  <a:gd name="T8" fmla="*/ 64 w 247"/>
                  <a:gd name="T9" fmla="*/ 26 h 163"/>
                  <a:gd name="T10" fmla="*/ 42 w 247"/>
                  <a:gd name="T11" fmla="*/ 32 h 163"/>
                  <a:gd name="T12" fmla="*/ 24 w 247"/>
                  <a:gd name="T13" fmla="*/ 64 h 163"/>
                  <a:gd name="T14" fmla="*/ 0 w 247"/>
                  <a:gd name="T15" fmla="*/ 109 h 163"/>
                  <a:gd name="T16" fmla="*/ 48 w 247"/>
                  <a:gd name="T17" fmla="*/ 163 h 163"/>
                  <a:gd name="T18" fmla="*/ 54 w 247"/>
                  <a:gd name="T19" fmla="*/ 163 h 163"/>
                  <a:gd name="T20" fmla="*/ 59 w 247"/>
                  <a:gd name="T21" fmla="*/ 163 h 163"/>
                  <a:gd name="T22" fmla="*/ 170 w 247"/>
                  <a:gd name="T23" fmla="*/ 163 h 163"/>
                  <a:gd name="T24" fmla="*/ 173 w 247"/>
                  <a:gd name="T25" fmla="*/ 163 h 163"/>
                  <a:gd name="T26" fmla="*/ 175 w 247"/>
                  <a:gd name="T27" fmla="*/ 163 h 163"/>
                  <a:gd name="T28" fmla="*/ 184 w 247"/>
                  <a:gd name="T29" fmla="*/ 163 h 163"/>
                  <a:gd name="T30" fmla="*/ 201 w 247"/>
                  <a:gd name="T31" fmla="*/ 163 h 163"/>
                  <a:gd name="T32" fmla="*/ 247 w 247"/>
                  <a:gd name="T33" fmla="*/ 117 h 163"/>
                  <a:gd name="T34" fmla="*/ 208 w 247"/>
                  <a:gd name="T35" fmla="*/ 7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163">
                    <a:moveTo>
                      <a:pt x="208" y="72"/>
                    </a:moveTo>
                    <a:cubicBezTo>
                      <a:pt x="208" y="71"/>
                      <a:pt x="208" y="69"/>
                      <a:pt x="208" y="69"/>
                    </a:cubicBezTo>
                    <a:cubicBezTo>
                      <a:pt x="208" y="31"/>
                      <a:pt x="177" y="0"/>
                      <a:pt x="140" y="0"/>
                    </a:cubicBezTo>
                    <a:cubicBezTo>
                      <a:pt x="116" y="0"/>
                      <a:pt x="95" y="13"/>
                      <a:pt x="83" y="31"/>
                    </a:cubicBezTo>
                    <a:cubicBezTo>
                      <a:pt x="77" y="28"/>
                      <a:pt x="71" y="26"/>
                      <a:pt x="64" y="26"/>
                    </a:cubicBezTo>
                    <a:cubicBezTo>
                      <a:pt x="56" y="26"/>
                      <a:pt x="48" y="28"/>
                      <a:pt x="42" y="32"/>
                    </a:cubicBezTo>
                    <a:cubicBezTo>
                      <a:pt x="32" y="39"/>
                      <a:pt x="25" y="51"/>
                      <a:pt x="24" y="64"/>
                    </a:cubicBezTo>
                    <a:cubicBezTo>
                      <a:pt x="10" y="74"/>
                      <a:pt x="0" y="91"/>
                      <a:pt x="0" y="109"/>
                    </a:cubicBezTo>
                    <a:cubicBezTo>
                      <a:pt x="0" y="137"/>
                      <a:pt x="21" y="160"/>
                      <a:pt x="48" y="163"/>
                    </a:cubicBezTo>
                    <a:cubicBezTo>
                      <a:pt x="49" y="163"/>
                      <a:pt x="52" y="163"/>
                      <a:pt x="54" y="163"/>
                    </a:cubicBezTo>
                    <a:cubicBezTo>
                      <a:pt x="55" y="163"/>
                      <a:pt x="57" y="163"/>
                      <a:pt x="59" y="163"/>
                    </a:cubicBezTo>
                    <a:cubicBezTo>
                      <a:pt x="84" y="163"/>
                      <a:pt x="143" y="163"/>
                      <a:pt x="170" y="163"/>
                    </a:cubicBezTo>
                    <a:cubicBezTo>
                      <a:pt x="171" y="163"/>
                      <a:pt x="172" y="163"/>
                      <a:pt x="173" y="163"/>
                    </a:cubicBezTo>
                    <a:cubicBezTo>
                      <a:pt x="175" y="163"/>
                      <a:pt x="175" y="163"/>
                      <a:pt x="175" y="163"/>
                    </a:cubicBezTo>
                    <a:cubicBezTo>
                      <a:pt x="177" y="163"/>
                      <a:pt x="181" y="163"/>
                      <a:pt x="184" y="163"/>
                    </a:cubicBezTo>
                    <a:cubicBezTo>
                      <a:pt x="201" y="163"/>
                      <a:pt x="201" y="163"/>
                      <a:pt x="201" y="163"/>
                    </a:cubicBezTo>
                    <a:cubicBezTo>
                      <a:pt x="227" y="163"/>
                      <a:pt x="247" y="142"/>
                      <a:pt x="247" y="117"/>
                    </a:cubicBezTo>
                    <a:cubicBezTo>
                      <a:pt x="247" y="94"/>
                      <a:pt x="230" y="75"/>
                      <a:pt x="208" y="72"/>
                    </a:cubicBezTo>
                    <a:close/>
                  </a:path>
                </a:pathLst>
              </a:custGeom>
              <a:solidFill>
                <a:schemeClr val="bg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102870" numCol="1" rtlCol="0" anchor="b" anchorCtr="0" compatLnSpc="1">
                <a:prstTxWarp prst="textNoShape">
                  <a:avLst/>
                </a:prstTxWarp>
              </a:bodyPr>
              <a:lstStyle/>
              <a:p>
                <a:pPr algn="ctr" defTabSz="699354">
                  <a:lnSpc>
                    <a:spcPct val="90000"/>
                  </a:lnSpc>
                  <a:defRPr/>
                </a:pPr>
                <a:r>
                  <a:rPr lang="en-US" sz="750">
                    <a:solidFill>
                      <a:schemeClr val="tx1"/>
                    </a:solidFill>
                    <a:latin typeface="+mj-lt"/>
                  </a:rPr>
                  <a:t>Marketplace</a:t>
                </a:r>
                <a:br>
                  <a:rPr lang="en-US" sz="750">
                    <a:solidFill>
                      <a:schemeClr val="tx1"/>
                    </a:solidFill>
                    <a:latin typeface="+mj-lt"/>
                  </a:rPr>
                </a:br>
                <a:r>
                  <a:rPr lang="en-US" sz="750">
                    <a:solidFill>
                      <a:schemeClr val="tx1"/>
                    </a:solidFill>
                    <a:latin typeface="+mj-lt"/>
                  </a:rPr>
                  <a:t>services</a:t>
                </a:r>
              </a:p>
            </p:txBody>
          </p:sp>
        </p:grpSp>
        <p:pic>
          <p:nvPicPr>
            <p:cNvPr id="112" name="Graphic 111">
              <a:extLst>
                <a:ext uri="{FF2B5EF4-FFF2-40B4-BE49-F238E27FC236}">
                  <a16:creationId xmlns:a16="http://schemas.microsoft.com/office/drawing/2014/main" id="{3D6FA0EF-4DEB-42A5-B74B-3DE9DE3116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768214" y="4116773"/>
              <a:ext cx="452560" cy="452558"/>
            </a:xfrm>
            <a:prstGeom prst="rect">
              <a:avLst/>
            </a:prstGeom>
          </p:spPr>
        </p:pic>
        <p:pic>
          <p:nvPicPr>
            <p:cNvPr id="113" name="Graphic 112">
              <a:extLst>
                <a:ext uri="{FF2B5EF4-FFF2-40B4-BE49-F238E27FC236}">
                  <a16:creationId xmlns:a16="http://schemas.microsoft.com/office/drawing/2014/main" id="{D4D76791-36B4-4FD1-8278-198A0B4932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17205" y="4116773"/>
              <a:ext cx="452560" cy="452558"/>
            </a:xfrm>
            <a:prstGeom prst="rect">
              <a:avLst/>
            </a:prstGeom>
          </p:spPr>
        </p:pic>
        <p:pic>
          <p:nvPicPr>
            <p:cNvPr id="114" name="Graphic 113">
              <a:extLst>
                <a:ext uri="{FF2B5EF4-FFF2-40B4-BE49-F238E27FC236}">
                  <a16:creationId xmlns:a16="http://schemas.microsoft.com/office/drawing/2014/main" id="{2B4E4A86-00F1-4B8F-A865-2FA99A37EDD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66197" y="4116773"/>
              <a:ext cx="452560" cy="452558"/>
            </a:xfrm>
            <a:prstGeom prst="rect">
              <a:avLst/>
            </a:prstGeom>
          </p:spPr>
        </p:pic>
        <p:pic>
          <p:nvPicPr>
            <p:cNvPr id="115" name="Graphic 114">
              <a:extLst>
                <a:ext uri="{FF2B5EF4-FFF2-40B4-BE49-F238E27FC236}">
                  <a16:creationId xmlns:a16="http://schemas.microsoft.com/office/drawing/2014/main" id="{7F2D6D9A-44E6-4EA0-A2BE-B627E2A7A2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71893" y="1941169"/>
              <a:ext cx="515951" cy="515951"/>
            </a:xfrm>
            <a:prstGeom prst="rect">
              <a:avLst/>
            </a:prstGeom>
          </p:spPr>
        </p:pic>
        <p:pic>
          <p:nvPicPr>
            <p:cNvPr id="116" name="Graphic 115">
              <a:extLst>
                <a:ext uri="{FF2B5EF4-FFF2-40B4-BE49-F238E27FC236}">
                  <a16:creationId xmlns:a16="http://schemas.microsoft.com/office/drawing/2014/main" id="{813376F4-6920-42CF-9052-5E33AD81854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21091" y="3116853"/>
              <a:ext cx="410788" cy="410788"/>
            </a:xfrm>
            <a:prstGeom prst="rect">
              <a:avLst/>
            </a:prstGeom>
          </p:spPr>
        </p:pic>
        <p:pic>
          <p:nvPicPr>
            <p:cNvPr id="117" name="Graphic 116">
              <a:extLst>
                <a:ext uri="{FF2B5EF4-FFF2-40B4-BE49-F238E27FC236}">
                  <a16:creationId xmlns:a16="http://schemas.microsoft.com/office/drawing/2014/main" id="{8546A83E-DEB6-432B-A156-A18C18CD625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082419" y="3111611"/>
              <a:ext cx="424482" cy="424480"/>
            </a:xfrm>
            <a:prstGeom prst="rect">
              <a:avLst/>
            </a:prstGeom>
          </p:spPr>
        </p:pic>
        <p:pic>
          <p:nvPicPr>
            <p:cNvPr id="118" name="Graphic 117">
              <a:extLst>
                <a:ext uri="{FF2B5EF4-FFF2-40B4-BE49-F238E27FC236}">
                  <a16:creationId xmlns:a16="http://schemas.microsoft.com/office/drawing/2014/main" id="{17307352-63A3-4AF4-B158-6CB7F8A647F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783613" y="3134163"/>
              <a:ext cx="374273" cy="374273"/>
            </a:xfrm>
            <a:prstGeom prst="rect">
              <a:avLst/>
            </a:prstGeom>
          </p:spPr>
        </p:pic>
        <p:grpSp>
          <p:nvGrpSpPr>
            <p:cNvPr id="18" name="Group 17">
              <a:extLst>
                <a:ext uri="{FF2B5EF4-FFF2-40B4-BE49-F238E27FC236}">
                  <a16:creationId xmlns:a16="http://schemas.microsoft.com/office/drawing/2014/main" id="{ED904EEA-5AFD-4032-B7C3-579D98835100}"/>
                </a:ext>
              </a:extLst>
            </p:cNvPr>
            <p:cNvGrpSpPr/>
            <p:nvPr/>
          </p:nvGrpSpPr>
          <p:grpSpPr>
            <a:xfrm>
              <a:off x="10085167" y="2415540"/>
              <a:ext cx="403860" cy="344545"/>
              <a:chOff x="10157460" y="3794760"/>
              <a:chExt cx="403860" cy="344545"/>
            </a:xfrm>
          </p:grpSpPr>
          <p:sp>
            <p:nvSpPr>
              <p:cNvPr id="79" name="Rectangle 78">
                <a:extLst>
                  <a:ext uri="{FF2B5EF4-FFF2-40B4-BE49-F238E27FC236}">
                    <a16:creationId xmlns:a16="http://schemas.microsoft.com/office/drawing/2014/main" id="{6317AED8-1487-40A4-B0BE-5CBA19706009}"/>
                  </a:ext>
                </a:extLst>
              </p:cNvPr>
              <p:cNvSpPr/>
              <p:nvPr/>
            </p:nvSpPr>
            <p:spPr bwMode="auto">
              <a:xfrm>
                <a:off x="10157460" y="3794760"/>
                <a:ext cx="403860" cy="3124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endParaRPr lang="en-US" sz="1500" err="1">
                  <a:gradFill>
                    <a:gsLst>
                      <a:gs pos="0">
                        <a:srgbClr val="FFFFFF"/>
                      </a:gs>
                      <a:gs pos="100000">
                        <a:srgbClr val="FFFFFF"/>
                      </a:gs>
                    </a:gsLst>
                    <a:lin ang="5400000" scaled="0"/>
                  </a:gradFill>
                  <a:ea typeface="Segoe UI" pitchFamily="34" charset="0"/>
                  <a:cs typeface="Segoe UI" pitchFamily="34" charset="0"/>
                </a:endParaRPr>
              </a:p>
            </p:txBody>
          </p:sp>
          <p:pic>
            <p:nvPicPr>
              <p:cNvPr id="119" name="Picture 88">
                <a:extLst>
                  <a:ext uri="{FF2B5EF4-FFF2-40B4-BE49-F238E27FC236}">
                    <a16:creationId xmlns:a16="http://schemas.microsoft.com/office/drawing/2014/main" id="{E68BAA57-C117-4B6B-8B09-0BC5E2BB8DBE}"/>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10208162" y="3836848"/>
                <a:ext cx="302457" cy="302457"/>
              </a:xfrm>
              <a:prstGeom prst="rect">
                <a:avLst/>
              </a:prstGeom>
            </p:spPr>
          </p:pic>
        </p:grpSp>
        <p:grpSp>
          <p:nvGrpSpPr>
            <p:cNvPr id="14" name="Group 13">
              <a:extLst>
                <a:ext uri="{FF2B5EF4-FFF2-40B4-BE49-F238E27FC236}">
                  <a16:creationId xmlns:a16="http://schemas.microsoft.com/office/drawing/2014/main" id="{2C98A669-C34A-41C1-89B1-080C463EEA27}"/>
                </a:ext>
              </a:extLst>
            </p:cNvPr>
            <p:cNvGrpSpPr/>
            <p:nvPr/>
          </p:nvGrpSpPr>
          <p:grpSpPr>
            <a:xfrm>
              <a:off x="3211147" y="4374568"/>
              <a:ext cx="2034540" cy="334592"/>
              <a:chOff x="3364229" y="5807128"/>
              <a:chExt cx="2034540" cy="334592"/>
            </a:xfrm>
          </p:grpSpPr>
          <p:sp>
            <p:nvSpPr>
              <p:cNvPr id="13" name="Rectangle 12">
                <a:extLst>
                  <a:ext uri="{FF2B5EF4-FFF2-40B4-BE49-F238E27FC236}">
                    <a16:creationId xmlns:a16="http://schemas.microsoft.com/office/drawing/2014/main" id="{33CCB53B-5C47-4F5F-9482-3E5CC4CBD685}"/>
                  </a:ext>
                </a:extLst>
              </p:cNvPr>
              <p:cNvSpPr/>
              <p:nvPr/>
            </p:nvSpPr>
            <p:spPr bwMode="auto">
              <a:xfrm>
                <a:off x="3364229" y="5829300"/>
                <a:ext cx="2034540" cy="3124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endParaRPr lang="en-US" sz="1500" err="1">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a:extLst>
                  <a:ext uri="{FF2B5EF4-FFF2-40B4-BE49-F238E27FC236}">
                    <a16:creationId xmlns:a16="http://schemas.microsoft.com/office/drawing/2014/main" id="{24F1C646-7128-4E64-AD39-411E24D81051}"/>
                  </a:ext>
                </a:extLst>
              </p:cNvPr>
              <p:cNvGrpSpPr/>
              <p:nvPr/>
            </p:nvGrpSpPr>
            <p:grpSpPr>
              <a:xfrm>
                <a:off x="3366364" y="5807128"/>
                <a:ext cx="2030270" cy="302457"/>
                <a:chOff x="3151329" y="5967148"/>
                <a:chExt cx="2030270" cy="302457"/>
              </a:xfrm>
            </p:grpSpPr>
            <p:sp>
              <p:nvSpPr>
                <p:cNvPr id="91" name="TextBox 90">
                  <a:extLst>
                    <a:ext uri="{FF2B5EF4-FFF2-40B4-BE49-F238E27FC236}">
                      <a16:creationId xmlns:a16="http://schemas.microsoft.com/office/drawing/2014/main" id="{55B9CC7A-71BF-4DB1-9471-AFCE8FC97135}"/>
                    </a:ext>
                  </a:extLst>
                </p:cNvPr>
                <p:cNvSpPr txBox="1"/>
                <p:nvPr/>
              </p:nvSpPr>
              <p:spPr>
                <a:xfrm>
                  <a:off x="3467792" y="6043412"/>
                  <a:ext cx="1713807" cy="153888"/>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685800" eaLnBrk="1" hangingPunct="1">
                    <a:lnSpc>
                      <a:spcPct val="100000"/>
                    </a:lnSpc>
                    <a:spcAft>
                      <a:spcPts val="0"/>
                    </a:spcAft>
                    <a:defRPr/>
                  </a:pPr>
                  <a:r>
                    <a:rPr lang="en-US" sz="750" kern="0">
                      <a:solidFill>
                        <a:schemeClr val="accent2"/>
                      </a:solidFill>
                      <a:latin typeface="Segoe UI Semibold"/>
                    </a:rPr>
                    <a:t>Virtual Network (10.0.0.0/16)</a:t>
                  </a:r>
                </a:p>
              </p:txBody>
            </p:sp>
            <p:pic>
              <p:nvPicPr>
                <p:cNvPr id="120" name="Picture 88">
                  <a:extLst>
                    <a:ext uri="{FF2B5EF4-FFF2-40B4-BE49-F238E27FC236}">
                      <a16:creationId xmlns:a16="http://schemas.microsoft.com/office/drawing/2014/main" id="{BDDD9602-C8A7-4006-91CE-4A14C95DDA0A}"/>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3151329" y="5967148"/>
                  <a:ext cx="302457" cy="302457"/>
                </a:xfrm>
                <a:prstGeom prst="rect">
                  <a:avLst/>
                </a:prstGeom>
              </p:spPr>
            </p:pic>
          </p:grpSp>
        </p:grpSp>
        <p:grpSp>
          <p:nvGrpSpPr>
            <p:cNvPr id="121" name="Group 120">
              <a:extLst>
                <a:ext uri="{FF2B5EF4-FFF2-40B4-BE49-F238E27FC236}">
                  <a16:creationId xmlns:a16="http://schemas.microsoft.com/office/drawing/2014/main" id="{9104F68D-07EF-462D-BEDC-12BF74C869DB}"/>
                </a:ext>
              </a:extLst>
            </p:cNvPr>
            <p:cNvGrpSpPr/>
            <p:nvPr/>
          </p:nvGrpSpPr>
          <p:grpSpPr>
            <a:xfrm>
              <a:off x="10796091" y="1610395"/>
              <a:ext cx="453831" cy="430275"/>
              <a:chOff x="10248558" y="3116843"/>
              <a:chExt cx="674663" cy="639646"/>
            </a:xfrm>
          </p:grpSpPr>
          <p:sp>
            <p:nvSpPr>
              <p:cNvPr id="122" name="Freeform: Shape 121">
                <a:extLst>
                  <a:ext uri="{FF2B5EF4-FFF2-40B4-BE49-F238E27FC236}">
                    <a16:creationId xmlns:a16="http://schemas.microsoft.com/office/drawing/2014/main" id="{47552059-E144-4E28-85AA-B04AA9BDD4C2}"/>
                  </a:ext>
                </a:extLst>
              </p:cNvPr>
              <p:cNvSpPr/>
              <p:nvPr/>
            </p:nvSpPr>
            <p:spPr>
              <a:xfrm>
                <a:off x="10364103" y="3116843"/>
                <a:ext cx="559118" cy="556463"/>
              </a:xfrm>
              <a:custGeom>
                <a:avLst/>
                <a:gdLst>
                  <a:gd name="connsiteX0" fmla="*/ 388476 w 402064"/>
                  <a:gd name="connsiteY0" fmla="*/ 124855 h 400157"/>
                  <a:gd name="connsiteX1" fmla="*/ 364110 w 402064"/>
                  <a:gd name="connsiteY1" fmla="*/ 80997 h 400157"/>
                  <a:gd name="connsiteX2" fmla="*/ 80274 w 402064"/>
                  <a:gd name="connsiteY2" fmla="*/ 40634 h 400157"/>
                  <a:gd name="connsiteX3" fmla="*/ 80170 w 402064"/>
                  <a:gd name="connsiteY3" fmla="*/ 40712 h 400157"/>
                  <a:gd name="connsiteX4" fmla="*/ 78221 w 402064"/>
                  <a:gd name="connsiteY4" fmla="*/ 42337 h 400157"/>
                  <a:gd name="connsiteX5" fmla="*/ 6424 w 402064"/>
                  <a:gd name="connsiteY5" fmla="*/ 150520 h 400157"/>
                  <a:gd name="connsiteX6" fmla="*/ 2200 w 402064"/>
                  <a:gd name="connsiteY6" fmla="*/ 171962 h 400157"/>
                  <a:gd name="connsiteX7" fmla="*/ 63601 w 402064"/>
                  <a:gd name="connsiteY7" fmla="*/ 349343 h 400157"/>
                  <a:gd name="connsiteX8" fmla="*/ 63601 w 402064"/>
                  <a:gd name="connsiteY8" fmla="*/ 349343 h 400157"/>
                  <a:gd name="connsiteX9" fmla="*/ 70749 w 402064"/>
                  <a:gd name="connsiteY9" fmla="*/ 355840 h 400157"/>
                  <a:gd name="connsiteX10" fmla="*/ 70749 w 402064"/>
                  <a:gd name="connsiteY10" fmla="*/ 355840 h 400157"/>
                  <a:gd name="connsiteX11" fmla="*/ 77896 w 402064"/>
                  <a:gd name="connsiteY11" fmla="*/ 361688 h 400157"/>
                  <a:gd name="connsiteX12" fmla="*/ 77896 w 402064"/>
                  <a:gd name="connsiteY12" fmla="*/ 361688 h 400157"/>
                  <a:gd name="connsiteX13" fmla="*/ 108434 w 402064"/>
                  <a:gd name="connsiteY13" fmla="*/ 381181 h 400157"/>
                  <a:gd name="connsiteX14" fmla="*/ 111683 w 402064"/>
                  <a:gd name="connsiteY14" fmla="*/ 383130 h 400157"/>
                  <a:gd name="connsiteX15" fmla="*/ 117206 w 402064"/>
                  <a:gd name="connsiteY15" fmla="*/ 385404 h 400157"/>
                  <a:gd name="connsiteX16" fmla="*/ 121754 w 402064"/>
                  <a:gd name="connsiteY16" fmla="*/ 387678 h 400157"/>
                  <a:gd name="connsiteX17" fmla="*/ 126627 w 402064"/>
                  <a:gd name="connsiteY17" fmla="*/ 389627 h 400157"/>
                  <a:gd name="connsiteX18" fmla="*/ 131825 w 402064"/>
                  <a:gd name="connsiteY18" fmla="*/ 391577 h 400157"/>
                  <a:gd name="connsiteX19" fmla="*/ 136373 w 402064"/>
                  <a:gd name="connsiteY19" fmla="*/ 393201 h 400157"/>
                  <a:gd name="connsiteX20" fmla="*/ 142871 w 402064"/>
                  <a:gd name="connsiteY20" fmla="*/ 395150 h 400157"/>
                  <a:gd name="connsiteX21" fmla="*/ 146444 w 402064"/>
                  <a:gd name="connsiteY21" fmla="*/ 395150 h 400157"/>
                  <a:gd name="connsiteX22" fmla="*/ 155866 w 402064"/>
                  <a:gd name="connsiteY22" fmla="*/ 397749 h 400157"/>
                  <a:gd name="connsiteX23" fmla="*/ 155866 w 402064"/>
                  <a:gd name="connsiteY23" fmla="*/ 397749 h 400157"/>
                  <a:gd name="connsiteX24" fmla="*/ 166262 w 402064"/>
                  <a:gd name="connsiteY24" fmla="*/ 400023 h 400157"/>
                  <a:gd name="connsiteX25" fmla="*/ 168861 w 402064"/>
                  <a:gd name="connsiteY25" fmla="*/ 400023 h 400157"/>
                  <a:gd name="connsiteX26" fmla="*/ 176983 w 402064"/>
                  <a:gd name="connsiteY26" fmla="*/ 400023 h 400157"/>
                  <a:gd name="connsiteX27" fmla="*/ 180231 w 402064"/>
                  <a:gd name="connsiteY27" fmla="*/ 400023 h 400157"/>
                  <a:gd name="connsiteX28" fmla="*/ 214993 w 402064"/>
                  <a:gd name="connsiteY28" fmla="*/ 400023 h 400157"/>
                  <a:gd name="connsiteX29" fmla="*/ 222465 w 402064"/>
                  <a:gd name="connsiteY29" fmla="*/ 400023 h 400157"/>
                  <a:gd name="connsiteX30" fmla="*/ 222465 w 402064"/>
                  <a:gd name="connsiteY30" fmla="*/ 400023 h 400157"/>
                  <a:gd name="connsiteX31" fmla="*/ 226364 w 402064"/>
                  <a:gd name="connsiteY31" fmla="*/ 400023 h 400157"/>
                  <a:gd name="connsiteX32" fmla="*/ 251054 w 402064"/>
                  <a:gd name="connsiteY32" fmla="*/ 395150 h 400157"/>
                  <a:gd name="connsiteX33" fmla="*/ 251054 w 402064"/>
                  <a:gd name="connsiteY33" fmla="*/ 395150 h 400157"/>
                  <a:gd name="connsiteX34" fmla="*/ 322851 w 402064"/>
                  <a:gd name="connsiteY34" fmla="*/ 359414 h 400157"/>
                  <a:gd name="connsiteX35" fmla="*/ 359562 w 402064"/>
                  <a:gd name="connsiteY35" fmla="*/ 322703 h 400157"/>
                  <a:gd name="connsiteX36" fmla="*/ 388476 w 402064"/>
                  <a:gd name="connsiteY36" fmla="*/ 124855 h 400157"/>
                  <a:gd name="connsiteX37" fmla="*/ 341369 w 402064"/>
                  <a:gd name="connsiteY37" fmla="*/ 94641 h 400157"/>
                  <a:gd name="connsiteX38" fmla="*/ 301734 w 402064"/>
                  <a:gd name="connsiteY38" fmla="*/ 94641 h 400157"/>
                  <a:gd name="connsiteX39" fmla="*/ 273145 w 402064"/>
                  <a:gd name="connsiteY39" fmla="*/ 40712 h 400157"/>
                  <a:gd name="connsiteX40" fmla="*/ 342344 w 402064"/>
                  <a:gd name="connsiteY40" fmla="*/ 94641 h 400157"/>
                  <a:gd name="connsiteX41" fmla="*/ 214343 w 402064"/>
                  <a:gd name="connsiteY41" fmla="*/ 29667 h 400157"/>
                  <a:gd name="connsiteX42" fmla="*/ 272821 w 402064"/>
                  <a:gd name="connsiteY42" fmla="*/ 94641 h 400157"/>
                  <a:gd name="connsiteX43" fmla="*/ 214343 w 402064"/>
                  <a:gd name="connsiteY43" fmla="*/ 94641 h 400157"/>
                  <a:gd name="connsiteX44" fmla="*/ 214343 w 402064"/>
                  <a:gd name="connsiteY44" fmla="*/ 121931 h 400157"/>
                  <a:gd name="connsiteX45" fmla="*/ 281592 w 402064"/>
                  <a:gd name="connsiteY45" fmla="*/ 121931 h 400157"/>
                  <a:gd name="connsiteX46" fmla="*/ 292313 w 402064"/>
                  <a:gd name="connsiteY46" fmla="*/ 190479 h 400157"/>
                  <a:gd name="connsiteX47" fmla="*/ 214343 w 402064"/>
                  <a:gd name="connsiteY47" fmla="*/ 190479 h 400157"/>
                  <a:gd name="connsiteX48" fmla="*/ 214343 w 402064"/>
                  <a:gd name="connsiteY48" fmla="*/ 216469 h 400157"/>
                  <a:gd name="connsiteX49" fmla="*/ 292313 w 402064"/>
                  <a:gd name="connsiteY49" fmla="*/ 216469 h 400157"/>
                  <a:gd name="connsiteX50" fmla="*/ 281592 w 402064"/>
                  <a:gd name="connsiteY50" fmla="*/ 285343 h 400157"/>
                  <a:gd name="connsiteX51" fmla="*/ 215318 w 402064"/>
                  <a:gd name="connsiteY51" fmla="*/ 285343 h 400157"/>
                  <a:gd name="connsiteX52" fmla="*/ 215318 w 402064"/>
                  <a:gd name="connsiteY52" fmla="*/ 215170 h 400157"/>
                  <a:gd name="connsiteX53" fmla="*/ 112982 w 402064"/>
                  <a:gd name="connsiteY53" fmla="*/ 170012 h 400157"/>
                  <a:gd name="connsiteX54" fmla="*/ 122079 w 402064"/>
                  <a:gd name="connsiteY54" fmla="*/ 120631 h 400157"/>
                  <a:gd name="connsiteX55" fmla="*/ 189328 w 402064"/>
                  <a:gd name="connsiteY55" fmla="*/ 120631 h 400157"/>
                  <a:gd name="connsiteX56" fmla="*/ 189328 w 402064"/>
                  <a:gd name="connsiteY56" fmla="*/ 189180 h 400157"/>
                  <a:gd name="connsiteX57" fmla="*/ 111683 w 402064"/>
                  <a:gd name="connsiteY57" fmla="*/ 189180 h 400157"/>
                  <a:gd name="connsiteX58" fmla="*/ 112982 w 402064"/>
                  <a:gd name="connsiteY58" fmla="*/ 170012 h 400157"/>
                  <a:gd name="connsiteX59" fmla="*/ 189328 w 402064"/>
                  <a:gd name="connsiteY59" fmla="*/ 28367 h 400157"/>
                  <a:gd name="connsiteX60" fmla="*/ 189328 w 402064"/>
                  <a:gd name="connsiteY60" fmla="*/ 93342 h 400157"/>
                  <a:gd name="connsiteX61" fmla="*/ 131175 w 402064"/>
                  <a:gd name="connsiteY61" fmla="*/ 93342 h 400157"/>
                  <a:gd name="connsiteX62" fmla="*/ 189328 w 402064"/>
                  <a:gd name="connsiteY62" fmla="*/ 28367 h 400157"/>
                  <a:gd name="connsiteX63" fmla="*/ 94140 w 402064"/>
                  <a:gd name="connsiteY63" fmla="*/ 62804 h 400157"/>
                  <a:gd name="connsiteX64" fmla="*/ 94140 w 402064"/>
                  <a:gd name="connsiteY64" fmla="*/ 62804 h 400157"/>
                  <a:gd name="connsiteX65" fmla="*/ 129876 w 402064"/>
                  <a:gd name="connsiteY65" fmla="*/ 42012 h 400157"/>
                  <a:gd name="connsiteX66" fmla="*/ 101287 w 402064"/>
                  <a:gd name="connsiteY66" fmla="*/ 96266 h 400157"/>
                  <a:gd name="connsiteX67" fmla="*/ 63601 w 402064"/>
                  <a:gd name="connsiteY67" fmla="*/ 96266 h 400157"/>
                  <a:gd name="connsiteX68" fmla="*/ 94140 w 402064"/>
                  <a:gd name="connsiteY68" fmla="*/ 62804 h 400157"/>
                  <a:gd name="connsiteX69" fmla="*/ 45733 w 402064"/>
                  <a:gd name="connsiteY69" fmla="*/ 120631 h 400157"/>
                  <a:gd name="connsiteX70" fmla="*/ 96089 w 402064"/>
                  <a:gd name="connsiteY70" fmla="*/ 120631 h 400157"/>
                  <a:gd name="connsiteX71" fmla="*/ 88292 w 402064"/>
                  <a:gd name="connsiteY71" fmla="*/ 164165 h 400157"/>
                  <a:gd name="connsiteX72" fmla="*/ 86668 w 402064"/>
                  <a:gd name="connsiteY72" fmla="*/ 189180 h 400157"/>
                  <a:gd name="connsiteX73" fmla="*/ 26241 w 402064"/>
                  <a:gd name="connsiteY73" fmla="*/ 189180 h 400157"/>
                  <a:gd name="connsiteX74" fmla="*/ 31114 w 402064"/>
                  <a:gd name="connsiteY74" fmla="*/ 164814 h 400157"/>
                  <a:gd name="connsiteX75" fmla="*/ 45733 w 402064"/>
                  <a:gd name="connsiteY75" fmla="*/ 120631 h 400157"/>
                  <a:gd name="connsiteX76" fmla="*/ 26241 w 402064"/>
                  <a:gd name="connsiteY76" fmla="*/ 215170 h 400157"/>
                  <a:gd name="connsiteX77" fmla="*/ 85693 w 402064"/>
                  <a:gd name="connsiteY77" fmla="*/ 215170 h 400157"/>
                  <a:gd name="connsiteX78" fmla="*/ 96089 w 402064"/>
                  <a:gd name="connsiteY78" fmla="*/ 284043 h 400157"/>
                  <a:gd name="connsiteX79" fmla="*/ 45733 w 402064"/>
                  <a:gd name="connsiteY79" fmla="*/ 284043 h 400157"/>
                  <a:gd name="connsiteX80" fmla="*/ 26241 w 402064"/>
                  <a:gd name="connsiteY80" fmla="*/ 215170 h 400157"/>
                  <a:gd name="connsiteX81" fmla="*/ 63601 w 402064"/>
                  <a:gd name="connsiteY81" fmla="*/ 310683 h 400157"/>
                  <a:gd name="connsiteX82" fmla="*/ 63601 w 402064"/>
                  <a:gd name="connsiteY82" fmla="*/ 310683 h 400157"/>
                  <a:gd name="connsiteX83" fmla="*/ 102911 w 402064"/>
                  <a:gd name="connsiteY83" fmla="*/ 310683 h 400157"/>
                  <a:gd name="connsiteX84" fmla="*/ 131500 w 402064"/>
                  <a:gd name="connsiteY84" fmla="*/ 364612 h 400157"/>
                  <a:gd name="connsiteX85" fmla="*/ 63601 w 402064"/>
                  <a:gd name="connsiteY85" fmla="*/ 310683 h 400157"/>
                  <a:gd name="connsiteX86" fmla="*/ 189978 w 402064"/>
                  <a:gd name="connsiteY86" fmla="*/ 375658 h 400157"/>
                  <a:gd name="connsiteX87" fmla="*/ 131825 w 402064"/>
                  <a:gd name="connsiteY87" fmla="*/ 310683 h 400157"/>
                  <a:gd name="connsiteX88" fmla="*/ 189978 w 402064"/>
                  <a:gd name="connsiteY88" fmla="*/ 310683 h 400157"/>
                  <a:gd name="connsiteX89" fmla="*/ 189978 w 402064"/>
                  <a:gd name="connsiteY89" fmla="*/ 283393 h 400157"/>
                  <a:gd name="connsiteX90" fmla="*/ 122079 w 402064"/>
                  <a:gd name="connsiteY90" fmla="*/ 283393 h 400157"/>
                  <a:gd name="connsiteX91" fmla="*/ 111683 w 402064"/>
                  <a:gd name="connsiteY91" fmla="*/ 214520 h 400157"/>
                  <a:gd name="connsiteX92" fmla="*/ 189328 w 402064"/>
                  <a:gd name="connsiteY92" fmla="*/ 214520 h 400157"/>
                  <a:gd name="connsiteX93" fmla="*/ 189328 w 402064"/>
                  <a:gd name="connsiteY93" fmla="*/ 284043 h 400157"/>
                  <a:gd name="connsiteX94" fmla="*/ 239683 w 402064"/>
                  <a:gd name="connsiteY94" fmla="*/ 362013 h 400157"/>
                  <a:gd name="connsiteX95" fmla="*/ 215968 w 402064"/>
                  <a:gd name="connsiteY95" fmla="*/ 375658 h 400157"/>
                  <a:gd name="connsiteX96" fmla="*/ 215968 w 402064"/>
                  <a:gd name="connsiteY96" fmla="*/ 310683 h 400157"/>
                  <a:gd name="connsiteX97" fmla="*/ 274445 w 402064"/>
                  <a:gd name="connsiteY97" fmla="*/ 310683 h 400157"/>
                  <a:gd name="connsiteX98" fmla="*/ 239034 w 402064"/>
                  <a:gd name="connsiteY98" fmla="*/ 362663 h 400157"/>
                  <a:gd name="connsiteX99" fmla="*/ 310506 w 402064"/>
                  <a:gd name="connsiteY99" fmla="*/ 340896 h 400157"/>
                  <a:gd name="connsiteX100" fmla="*/ 310506 w 402064"/>
                  <a:gd name="connsiteY100" fmla="*/ 340896 h 400157"/>
                  <a:gd name="connsiteX101" fmla="*/ 273146 w 402064"/>
                  <a:gd name="connsiteY101" fmla="*/ 362988 h 400157"/>
                  <a:gd name="connsiteX102" fmla="*/ 301734 w 402064"/>
                  <a:gd name="connsiteY102" fmla="*/ 309059 h 400157"/>
                  <a:gd name="connsiteX103" fmla="*/ 342344 w 402064"/>
                  <a:gd name="connsiteY103" fmla="*/ 309059 h 400157"/>
                  <a:gd name="connsiteX104" fmla="*/ 310506 w 402064"/>
                  <a:gd name="connsiteY104" fmla="*/ 340896 h 400157"/>
                  <a:gd name="connsiteX105" fmla="*/ 358587 w 402064"/>
                  <a:gd name="connsiteY105" fmla="*/ 283069 h 400157"/>
                  <a:gd name="connsiteX106" fmla="*/ 309856 w 402064"/>
                  <a:gd name="connsiteY106" fmla="*/ 283069 h 400157"/>
                  <a:gd name="connsiteX107" fmla="*/ 319278 w 402064"/>
                  <a:gd name="connsiteY107" fmla="*/ 214195 h 400157"/>
                  <a:gd name="connsiteX108" fmla="*/ 378080 w 402064"/>
                  <a:gd name="connsiteY108" fmla="*/ 214195 h 400157"/>
                  <a:gd name="connsiteX109" fmla="*/ 358587 w 402064"/>
                  <a:gd name="connsiteY109" fmla="*/ 284043 h 400157"/>
                  <a:gd name="connsiteX110" fmla="*/ 319278 w 402064"/>
                  <a:gd name="connsiteY110" fmla="*/ 189180 h 400157"/>
                  <a:gd name="connsiteX111" fmla="*/ 309856 w 402064"/>
                  <a:gd name="connsiteY111" fmla="*/ 120631 h 400157"/>
                  <a:gd name="connsiteX112" fmla="*/ 358912 w 402064"/>
                  <a:gd name="connsiteY112" fmla="*/ 120631 h 400157"/>
                  <a:gd name="connsiteX113" fmla="*/ 378405 w 402064"/>
                  <a:gd name="connsiteY113" fmla="*/ 189180 h 40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02064" h="400157">
                    <a:moveTo>
                      <a:pt x="388476" y="124855"/>
                    </a:moveTo>
                    <a:cubicBezTo>
                      <a:pt x="382143" y="109311"/>
                      <a:pt x="373962" y="94586"/>
                      <a:pt x="364110" y="80997"/>
                    </a:cubicBezTo>
                    <a:cubicBezTo>
                      <a:pt x="296877" y="-8528"/>
                      <a:pt x="169799" y="-26599"/>
                      <a:pt x="80274" y="40634"/>
                    </a:cubicBezTo>
                    <a:cubicBezTo>
                      <a:pt x="80239" y="40660"/>
                      <a:pt x="80205" y="40686"/>
                      <a:pt x="80170" y="40712"/>
                    </a:cubicBezTo>
                    <a:lnTo>
                      <a:pt x="78221" y="42337"/>
                    </a:lnTo>
                    <a:cubicBezTo>
                      <a:pt x="42967" y="69450"/>
                      <a:pt x="17713" y="107502"/>
                      <a:pt x="6424" y="150520"/>
                    </a:cubicBezTo>
                    <a:cubicBezTo>
                      <a:pt x="6424" y="157667"/>
                      <a:pt x="3175" y="164814"/>
                      <a:pt x="2200" y="171962"/>
                    </a:cubicBezTo>
                    <a:cubicBezTo>
                      <a:pt x="-7532" y="237568"/>
                      <a:pt x="15392" y="303793"/>
                      <a:pt x="63601" y="349343"/>
                    </a:cubicBezTo>
                    <a:lnTo>
                      <a:pt x="63601" y="349343"/>
                    </a:lnTo>
                    <a:cubicBezTo>
                      <a:pt x="65827" y="351676"/>
                      <a:pt x="68215" y="353847"/>
                      <a:pt x="70749" y="355840"/>
                    </a:cubicBezTo>
                    <a:lnTo>
                      <a:pt x="70749" y="355840"/>
                    </a:lnTo>
                    <a:lnTo>
                      <a:pt x="77896" y="361688"/>
                    </a:lnTo>
                    <a:lnTo>
                      <a:pt x="77896" y="361688"/>
                    </a:lnTo>
                    <a:cubicBezTo>
                      <a:pt x="87421" y="369158"/>
                      <a:pt x="97648" y="375686"/>
                      <a:pt x="108434" y="381181"/>
                    </a:cubicBezTo>
                    <a:lnTo>
                      <a:pt x="111683" y="383130"/>
                    </a:lnTo>
                    <a:lnTo>
                      <a:pt x="117206" y="385404"/>
                    </a:lnTo>
                    <a:lnTo>
                      <a:pt x="121754" y="387678"/>
                    </a:lnTo>
                    <a:lnTo>
                      <a:pt x="126627" y="389627"/>
                    </a:lnTo>
                    <a:lnTo>
                      <a:pt x="131825" y="391577"/>
                    </a:lnTo>
                    <a:lnTo>
                      <a:pt x="136373" y="393201"/>
                    </a:lnTo>
                    <a:lnTo>
                      <a:pt x="142871" y="395150"/>
                    </a:lnTo>
                    <a:lnTo>
                      <a:pt x="146444" y="395150"/>
                    </a:lnTo>
                    <a:lnTo>
                      <a:pt x="155866" y="397749"/>
                    </a:lnTo>
                    <a:lnTo>
                      <a:pt x="155866" y="397749"/>
                    </a:lnTo>
                    <a:lnTo>
                      <a:pt x="166262" y="400023"/>
                    </a:lnTo>
                    <a:lnTo>
                      <a:pt x="168861" y="400023"/>
                    </a:lnTo>
                    <a:cubicBezTo>
                      <a:pt x="171565" y="400202"/>
                      <a:pt x="174278" y="400202"/>
                      <a:pt x="176983" y="400023"/>
                    </a:cubicBezTo>
                    <a:lnTo>
                      <a:pt x="180231" y="400023"/>
                    </a:lnTo>
                    <a:lnTo>
                      <a:pt x="214993" y="400023"/>
                    </a:lnTo>
                    <a:lnTo>
                      <a:pt x="222465" y="400023"/>
                    </a:lnTo>
                    <a:lnTo>
                      <a:pt x="222465" y="400023"/>
                    </a:lnTo>
                    <a:lnTo>
                      <a:pt x="226364" y="400023"/>
                    </a:lnTo>
                    <a:cubicBezTo>
                      <a:pt x="234705" y="399027"/>
                      <a:pt x="242959" y="397398"/>
                      <a:pt x="251054" y="395150"/>
                    </a:cubicBezTo>
                    <a:lnTo>
                      <a:pt x="251054" y="395150"/>
                    </a:lnTo>
                    <a:cubicBezTo>
                      <a:pt x="277140" y="388171"/>
                      <a:pt x="301556" y="376018"/>
                      <a:pt x="322851" y="359414"/>
                    </a:cubicBezTo>
                    <a:cubicBezTo>
                      <a:pt x="336583" y="348769"/>
                      <a:pt x="348917" y="336435"/>
                      <a:pt x="359562" y="322703"/>
                    </a:cubicBezTo>
                    <a:cubicBezTo>
                      <a:pt x="403071" y="266321"/>
                      <a:pt x="414030" y="191330"/>
                      <a:pt x="388476" y="124855"/>
                    </a:cubicBezTo>
                    <a:close/>
                    <a:moveTo>
                      <a:pt x="341369" y="94641"/>
                    </a:moveTo>
                    <a:lnTo>
                      <a:pt x="301734" y="94641"/>
                    </a:lnTo>
                    <a:cubicBezTo>
                      <a:pt x="295136" y="75258"/>
                      <a:pt x="285485" y="57052"/>
                      <a:pt x="273145" y="40712"/>
                    </a:cubicBezTo>
                    <a:cubicBezTo>
                      <a:pt x="300451" y="52463"/>
                      <a:pt x="324279" y="71033"/>
                      <a:pt x="342344" y="94641"/>
                    </a:cubicBezTo>
                    <a:close/>
                    <a:moveTo>
                      <a:pt x="214343" y="29667"/>
                    </a:moveTo>
                    <a:cubicBezTo>
                      <a:pt x="242256" y="41930"/>
                      <a:pt x="263555" y="65595"/>
                      <a:pt x="272821" y="94641"/>
                    </a:cubicBezTo>
                    <a:lnTo>
                      <a:pt x="214343" y="94641"/>
                    </a:lnTo>
                    <a:close/>
                    <a:moveTo>
                      <a:pt x="214343" y="121931"/>
                    </a:moveTo>
                    <a:lnTo>
                      <a:pt x="281592" y="121931"/>
                    </a:lnTo>
                    <a:cubicBezTo>
                      <a:pt x="287806" y="144289"/>
                      <a:pt x="291404" y="167292"/>
                      <a:pt x="292313" y="190479"/>
                    </a:cubicBezTo>
                    <a:lnTo>
                      <a:pt x="214343" y="190479"/>
                    </a:lnTo>
                    <a:close/>
                    <a:moveTo>
                      <a:pt x="214343" y="216469"/>
                    </a:moveTo>
                    <a:lnTo>
                      <a:pt x="292313" y="216469"/>
                    </a:lnTo>
                    <a:cubicBezTo>
                      <a:pt x="291429" y="239766"/>
                      <a:pt x="287831" y="262880"/>
                      <a:pt x="281592" y="285343"/>
                    </a:cubicBezTo>
                    <a:lnTo>
                      <a:pt x="215318" y="285343"/>
                    </a:lnTo>
                    <a:lnTo>
                      <a:pt x="215318" y="215170"/>
                    </a:lnTo>
                    <a:close/>
                    <a:moveTo>
                      <a:pt x="112982" y="170012"/>
                    </a:moveTo>
                    <a:cubicBezTo>
                      <a:pt x="114549" y="153315"/>
                      <a:pt x="117593" y="136790"/>
                      <a:pt x="122079" y="120631"/>
                    </a:cubicBezTo>
                    <a:lnTo>
                      <a:pt x="189328" y="120631"/>
                    </a:lnTo>
                    <a:lnTo>
                      <a:pt x="189328" y="189180"/>
                    </a:lnTo>
                    <a:lnTo>
                      <a:pt x="111683" y="189180"/>
                    </a:lnTo>
                    <a:cubicBezTo>
                      <a:pt x="112008" y="182682"/>
                      <a:pt x="112333" y="176185"/>
                      <a:pt x="112982" y="170012"/>
                    </a:cubicBezTo>
                    <a:close/>
                    <a:moveTo>
                      <a:pt x="189328" y="28367"/>
                    </a:moveTo>
                    <a:lnTo>
                      <a:pt x="189328" y="93342"/>
                    </a:lnTo>
                    <a:lnTo>
                      <a:pt x="131175" y="93342"/>
                    </a:lnTo>
                    <a:cubicBezTo>
                      <a:pt x="140217" y="64274"/>
                      <a:pt x="161437" y="40565"/>
                      <a:pt x="189328" y="28367"/>
                    </a:cubicBezTo>
                    <a:close/>
                    <a:moveTo>
                      <a:pt x="94140" y="62804"/>
                    </a:moveTo>
                    <a:lnTo>
                      <a:pt x="94140" y="62804"/>
                    </a:lnTo>
                    <a:cubicBezTo>
                      <a:pt x="105257" y="54590"/>
                      <a:pt x="117241" y="47618"/>
                      <a:pt x="129876" y="42012"/>
                    </a:cubicBezTo>
                    <a:cubicBezTo>
                      <a:pt x="117598" y="58509"/>
                      <a:pt x="107953" y="76811"/>
                      <a:pt x="101287" y="96266"/>
                    </a:cubicBezTo>
                    <a:lnTo>
                      <a:pt x="63601" y="96266"/>
                    </a:lnTo>
                    <a:cubicBezTo>
                      <a:pt x="72368" y="83900"/>
                      <a:pt x="82625" y="72661"/>
                      <a:pt x="94140" y="62804"/>
                    </a:cubicBezTo>
                    <a:close/>
                    <a:moveTo>
                      <a:pt x="45733" y="120631"/>
                    </a:moveTo>
                    <a:lnTo>
                      <a:pt x="96089" y="120631"/>
                    </a:lnTo>
                    <a:cubicBezTo>
                      <a:pt x="92408" y="134928"/>
                      <a:pt x="89802" y="149479"/>
                      <a:pt x="88292" y="164165"/>
                    </a:cubicBezTo>
                    <a:cubicBezTo>
                      <a:pt x="88292" y="172286"/>
                      <a:pt x="86668" y="180733"/>
                      <a:pt x="86668" y="189180"/>
                    </a:cubicBezTo>
                    <a:lnTo>
                      <a:pt x="26241" y="189180"/>
                    </a:lnTo>
                    <a:cubicBezTo>
                      <a:pt x="27383" y="180969"/>
                      <a:pt x="29010" y="172833"/>
                      <a:pt x="31114" y="164814"/>
                    </a:cubicBezTo>
                    <a:cubicBezTo>
                      <a:pt x="34205" y="149556"/>
                      <a:pt x="39113" y="134722"/>
                      <a:pt x="45733" y="120631"/>
                    </a:cubicBezTo>
                    <a:close/>
                    <a:moveTo>
                      <a:pt x="26241" y="215170"/>
                    </a:moveTo>
                    <a:lnTo>
                      <a:pt x="85693" y="215170"/>
                    </a:lnTo>
                    <a:cubicBezTo>
                      <a:pt x="86506" y="238450"/>
                      <a:pt x="89994" y="261560"/>
                      <a:pt x="96089" y="284043"/>
                    </a:cubicBezTo>
                    <a:lnTo>
                      <a:pt x="45733" y="284043"/>
                    </a:lnTo>
                    <a:cubicBezTo>
                      <a:pt x="34537" y="262683"/>
                      <a:pt x="27899" y="239230"/>
                      <a:pt x="26241" y="215170"/>
                    </a:cubicBezTo>
                    <a:close/>
                    <a:moveTo>
                      <a:pt x="63601" y="310683"/>
                    </a:moveTo>
                    <a:lnTo>
                      <a:pt x="63601" y="310683"/>
                    </a:lnTo>
                    <a:lnTo>
                      <a:pt x="102911" y="310683"/>
                    </a:lnTo>
                    <a:cubicBezTo>
                      <a:pt x="109509" y="330067"/>
                      <a:pt x="119161" y="348272"/>
                      <a:pt x="131500" y="364612"/>
                    </a:cubicBezTo>
                    <a:cubicBezTo>
                      <a:pt x="104645" y="352710"/>
                      <a:pt x="81274" y="334147"/>
                      <a:pt x="63601" y="310683"/>
                    </a:cubicBezTo>
                    <a:close/>
                    <a:moveTo>
                      <a:pt x="189978" y="375658"/>
                    </a:moveTo>
                    <a:cubicBezTo>
                      <a:pt x="162086" y="363460"/>
                      <a:pt x="140867" y="339751"/>
                      <a:pt x="131825" y="310683"/>
                    </a:cubicBezTo>
                    <a:lnTo>
                      <a:pt x="189978" y="310683"/>
                    </a:lnTo>
                    <a:close/>
                    <a:moveTo>
                      <a:pt x="189978" y="283393"/>
                    </a:moveTo>
                    <a:lnTo>
                      <a:pt x="122079" y="283393"/>
                    </a:lnTo>
                    <a:cubicBezTo>
                      <a:pt x="115953" y="260917"/>
                      <a:pt x="112464" y="237803"/>
                      <a:pt x="111683" y="214520"/>
                    </a:cubicBezTo>
                    <a:lnTo>
                      <a:pt x="189328" y="214520"/>
                    </a:lnTo>
                    <a:lnTo>
                      <a:pt x="189328" y="284043"/>
                    </a:lnTo>
                    <a:close/>
                    <a:moveTo>
                      <a:pt x="239683" y="362013"/>
                    </a:moveTo>
                    <a:cubicBezTo>
                      <a:pt x="232836" y="368193"/>
                      <a:pt x="224752" y="372844"/>
                      <a:pt x="215968" y="375658"/>
                    </a:cubicBezTo>
                    <a:lnTo>
                      <a:pt x="215968" y="310683"/>
                    </a:lnTo>
                    <a:lnTo>
                      <a:pt x="274445" y="310683"/>
                    </a:lnTo>
                    <a:cubicBezTo>
                      <a:pt x="266608" y="330403"/>
                      <a:pt x="254517" y="348152"/>
                      <a:pt x="239034" y="362663"/>
                    </a:cubicBezTo>
                    <a:close/>
                    <a:moveTo>
                      <a:pt x="310506" y="340896"/>
                    </a:moveTo>
                    <a:lnTo>
                      <a:pt x="310506" y="340896"/>
                    </a:lnTo>
                    <a:cubicBezTo>
                      <a:pt x="299056" y="349839"/>
                      <a:pt x="286499" y="357264"/>
                      <a:pt x="273146" y="362988"/>
                    </a:cubicBezTo>
                    <a:cubicBezTo>
                      <a:pt x="285485" y="346648"/>
                      <a:pt x="295136" y="328442"/>
                      <a:pt x="301734" y="309059"/>
                    </a:cubicBezTo>
                    <a:lnTo>
                      <a:pt x="342344" y="309059"/>
                    </a:lnTo>
                    <a:cubicBezTo>
                      <a:pt x="333157" y="321007"/>
                      <a:pt x="322454" y="331709"/>
                      <a:pt x="310506" y="340896"/>
                    </a:cubicBezTo>
                    <a:close/>
                    <a:moveTo>
                      <a:pt x="358587" y="283069"/>
                    </a:moveTo>
                    <a:lnTo>
                      <a:pt x="309856" y="283069"/>
                    </a:lnTo>
                    <a:cubicBezTo>
                      <a:pt x="315303" y="260486"/>
                      <a:pt x="318460" y="237411"/>
                      <a:pt x="319278" y="214195"/>
                    </a:cubicBezTo>
                    <a:lnTo>
                      <a:pt x="378080" y="214195"/>
                    </a:lnTo>
                    <a:cubicBezTo>
                      <a:pt x="376644" y="238603"/>
                      <a:pt x="369998" y="262419"/>
                      <a:pt x="358587" y="284043"/>
                    </a:cubicBezTo>
                    <a:close/>
                    <a:moveTo>
                      <a:pt x="319278" y="189180"/>
                    </a:moveTo>
                    <a:cubicBezTo>
                      <a:pt x="318438" y="166073"/>
                      <a:pt x="315282" y="143108"/>
                      <a:pt x="309856" y="120631"/>
                    </a:cubicBezTo>
                    <a:lnTo>
                      <a:pt x="358912" y="120631"/>
                    </a:lnTo>
                    <a:cubicBezTo>
                      <a:pt x="369914" y="141953"/>
                      <a:pt x="376541" y="165260"/>
                      <a:pt x="378405" y="189180"/>
                    </a:cubicBezTo>
                    <a:close/>
                  </a:path>
                </a:pathLst>
              </a:custGeom>
              <a:gradFill>
                <a:gsLst>
                  <a:gs pos="0">
                    <a:srgbClr val="0C7DD8"/>
                  </a:gs>
                  <a:gs pos="100000">
                    <a:srgbClr val="5C9FEE"/>
                  </a:gs>
                </a:gsLst>
                <a:lin ang="16200000" scaled="1"/>
              </a:gradFill>
              <a:ln w="32279" cap="flat">
                <a:noFill/>
                <a:prstDash val="solid"/>
                <a:miter/>
              </a:ln>
            </p:spPr>
            <p:txBody>
              <a:bodyPr rtlCol="0" anchor="ctr"/>
              <a:lstStyle/>
              <a:p>
                <a:endParaRPr lang="en-US"/>
              </a:p>
            </p:txBody>
          </p:sp>
          <p:pic>
            <p:nvPicPr>
              <p:cNvPr id="123" name="Graphic 122">
                <a:extLst>
                  <a:ext uri="{FF2B5EF4-FFF2-40B4-BE49-F238E27FC236}">
                    <a16:creationId xmlns:a16="http://schemas.microsoft.com/office/drawing/2014/main" id="{849AC400-E1AB-4103-AA1E-2366F887FCF6}"/>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248558" y="3383635"/>
                <a:ext cx="372854" cy="372854"/>
              </a:xfrm>
              <a:prstGeom prst="rect">
                <a:avLst/>
              </a:prstGeom>
            </p:spPr>
          </p:pic>
        </p:grpSp>
        <p:grpSp>
          <p:nvGrpSpPr>
            <p:cNvPr id="124" name="Group 123">
              <a:extLst>
                <a:ext uri="{FF2B5EF4-FFF2-40B4-BE49-F238E27FC236}">
                  <a16:creationId xmlns:a16="http://schemas.microsoft.com/office/drawing/2014/main" id="{DA72FC85-F062-49EC-B544-0C37B4CAEF70}"/>
                </a:ext>
              </a:extLst>
            </p:cNvPr>
            <p:cNvGrpSpPr/>
            <p:nvPr/>
          </p:nvGrpSpPr>
          <p:grpSpPr>
            <a:xfrm>
              <a:off x="5216964" y="1738930"/>
              <a:ext cx="453831" cy="430275"/>
              <a:chOff x="10248558" y="3116843"/>
              <a:chExt cx="674663" cy="639646"/>
            </a:xfrm>
          </p:grpSpPr>
          <p:sp>
            <p:nvSpPr>
              <p:cNvPr id="125" name="Freeform: Shape 124">
                <a:extLst>
                  <a:ext uri="{FF2B5EF4-FFF2-40B4-BE49-F238E27FC236}">
                    <a16:creationId xmlns:a16="http://schemas.microsoft.com/office/drawing/2014/main" id="{12A18B1C-8771-443F-B90B-986FB482F324}"/>
                  </a:ext>
                </a:extLst>
              </p:cNvPr>
              <p:cNvSpPr/>
              <p:nvPr/>
            </p:nvSpPr>
            <p:spPr>
              <a:xfrm>
                <a:off x="10364103" y="3116843"/>
                <a:ext cx="559118" cy="556463"/>
              </a:xfrm>
              <a:custGeom>
                <a:avLst/>
                <a:gdLst>
                  <a:gd name="connsiteX0" fmla="*/ 388476 w 402064"/>
                  <a:gd name="connsiteY0" fmla="*/ 124855 h 400157"/>
                  <a:gd name="connsiteX1" fmla="*/ 364110 w 402064"/>
                  <a:gd name="connsiteY1" fmla="*/ 80997 h 400157"/>
                  <a:gd name="connsiteX2" fmla="*/ 80274 w 402064"/>
                  <a:gd name="connsiteY2" fmla="*/ 40634 h 400157"/>
                  <a:gd name="connsiteX3" fmla="*/ 80170 w 402064"/>
                  <a:gd name="connsiteY3" fmla="*/ 40712 h 400157"/>
                  <a:gd name="connsiteX4" fmla="*/ 78221 w 402064"/>
                  <a:gd name="connsiteY4" fmla="*/ 42337 h 400157"/>
                  <a:gd name="connsiteX5" fmla="*/ 6424 w 402064"/>
                  <a:gd name="connsiteY5" fmla="*/ 150520 h 400157"/>
                  <a:gd name="connsiteX6" fmla="*/ 2200 w 402064"/>
                  <a:gd name="connsiteY6" fmla="*/ 171962 h 400157"/>
                  <a:gd name="connsiteX7" fmla="*/ 63601 w 402064"/>
                  <a:gd name="connsiteY7" fmla="*/ 349343 h 400157"/>
                  <a:gd name="connsiteX8" fmla="*/ 63601 w 402064"/>
                  <a:gd name="connsiteY8" fmla="*/ 349343 h 400157"/>
                  <a:gd name="connsiteX9" fmla="*/ 70749 w 402064"/>
                  <a:gd name="connsiteY9" fmla="*/ 355840 h 400157"/>
                  <a:gd name="connsiteX10" fmla="*/ 70749 w 402064"/>
                  <a:gd name="connsiteY10" fmla="*/ 355840 h 400157"/>
                  <a:gd name="connsiteX11" fmla="*/ 77896 w 402064"/>
                  <a:gd name="connsiteY11" fmla="*/ 361688 h 400157"/>
                  <a:gd name="connsiteX12" fmla="*/ 77896 w 402064"/>
                  <a:gd name="connsiteY12" fmla="*/ 361688 h 400157"/>
                  <a:gd name="connsiteX13" fmla="*/ 108434 w 402064"/>
                  <a:gd name="connsiteY13" fmla="*/ 381181 h 400157"/>
                  <a:gd name="connsiteX14" fmla="*/ 111683 w 402064"/>
                  <a:gd name="connsiteY14" fmla="*/ 383130 h 400157"/>
                  <a:gd name="connsiteX15" fmla="*/ 117206 w 402064"/>
                  <a:gd name="connsiteY15" fmla="*/ 385404 h 400157"/>
                  <a:gd name="connsiteX16" fmla="*/ 121754 w 402064"/>
                  <a:gd name="connsiteY16" fmla="*/ 387678 h 400157"/>
                  <a:gd name="connsiteX17" fmla="*/ 126627 w 402064"/>
                  <a:gd name="connsiteY17" fmla="*/ 389627 h 400157"/>
                  <a:gd name="connsiteX18" fmla="*/ 131825 w 402064"/>
                  <a:gd name="connsiteY18" fmla="*/ 391577 h 400157"/>
                  <a:gd name="connsiteX19" fmla="*/ 136373 w 402064"/>
                  <a:gd name="connsiteY19" fmla="*/ 393201 h 400157"/>
                  <a:gd name="connsiteX20" fmla="*/ 142871 w 402064"/>
                  <a:gd name="connsiteY20" fmla="*/ 395150 h 400157"/>
                  <a:gd name="connsiteX21" fmla="*/ 146444 w 402064"/>
                  <a:gd name="connsiteY21" fmla="*/ 395150 h 400157"/>
                  <a:gd name="connsiteX22" fmla="*/ 155866 w 402064"/>
                  <a:gd name="connsiteY22" fmla="*/ 397749 h 400157"/>
                  <a:gd name="connsiteX23" fmla="*/ 155866 w 402064"/>
                  <a:gd name="connsiteY23" fmla="*/ 397749 h 400157"/>
                  <a:gd name="connsiteX24" fmla="*/ 166262 w 402064"/>
                  <a:gd name="connsiteY24" fmla="*/ 400023 h 400157"/>
                  <a:gd name="connsiteX25" fmla="*/ 168861 w 402064"/>
                  <a:gd name="connsiteY25" fmla="*/ 400023 h 400157"/>
                  <a:gd name="connsiteX26" fmla="*/ 176983 w 402064"/>
                  <a:gd name="connsiteY26" fmla="*/ 400023 h 400157"/>
                  <a:gd name="connsiteX27" fmla="*/ 180231 w 402064"/>
                  <a:gd name="connsiteY27" fmla="*/ 400023 h 400157"/>
                  <a:gd name="connsiteX28" fmla="*/ 214993 w 402064"/>
                  <a:gd name="connsiteY28" fmla="*/ 400023 h 400157"/>
                  <a:gd name="connsiteX29" fmla="*/ 222465 w 402064"/>
                  <a:gd name="connsiteY29" fmla="*/ 400023 h 400157"/>
                  <a:gd name="connsiteX30" fmla="*/ 222465 w 402064"/>
                  <a:gd name="connsiteY30" fmla="*/ 400023 h 400157"/>
                  <a:gd name="connsiteX31" fmla="*/ 226364 w 402064"/>
                  <a:gd name="connsiteY31" fmla="*/ 400023 h 400157"/>
                  <a:gd name="connsiteX32" fmla="*/ 251054 w 402064"/>
                  <a:gd name="connsiteY32" fmla="*/ 395150 h 400157"/>
                  <a:gd name="connsiteX33" fmla="*/ 251054 w 402064"/>
                  <a:gd name="connsiteY33" fmla="*/ 395150 h 400157"/>
                  <a:gd name="connsiteX34" fmla="*/ 322851 w 402064"/>
                  <a:gd name="connsiteY34" fmla="*/ 359414 h 400157"/>
                  <a:gd name="connsiteX35" fmla="*/ 359562 w 402064"/>
                  <a:gd name="connsiteY35" fmla="*/ 322703 h 400157"/>
                  <a:gd name="connsiteX36" fmla="*/ 388476 w 402064"/>
                  <a:gd name="connsiteY36" fmla="*/ 124855 h 400157"/>
                  <a:gd name="connsiteX37" fmla="*/ 341369 w 402064"/>
                  <a:gd name="connsiteY37" fmla="*/ 94641 h 400157"/>
                  <a:gd name="connsiteX38" fmla="*/ 301734 w 402064"/>
                  <a:gd name="connsiteY38" fmla="*/ 94641 h 400157"/>
                  <a:gd name="connsiteX39" fmla="*/ 273145 w 402064"/>
                  <a:gd name="connsiteY39" fmla="*/ 40712 h 400157"/>
                  <a:gd name="connsiteX40" fmla="*/ 342344 w 402064"/>
                  <a:gd name="connsiteY40" fmla="*/ 94641 h 400157"/>
                  <a:gd name="connsiteX41" fmla="*/ 214343 w 402064"/>
                  <a:gd name="connsiteY41" fmla="*/ 29667 h 400157"/>
                  <a:gd name="connsiteX42" fmla="*/ 272821 w 402064"/>
                  <a:gd name="connsiteY42" fmla="*/ 94641 h 400157"/>
                  <a:gd name="connsiteX43" fmla="*/ 214343 w 402064"/>
                  <a:gd name="connsiteY43" fmla="*/ 94641 h 400157"/>
                  <a:gd name="connsiteX44" fmla="*/ 214343 w 402064"/>
                  <a:gd name="connsiteY44" fmla="*/ 121931 h 400157"/>
                  <a:gd name="connsiteX45" fmla="*/ 281592 w 402064"/>
                  <a:gd name="connsiteY45" fmla="*/ 121931 h 400157"/>
                  <a:gd name="connsiteX46" fmla="*/ 292313 w 402064"/>
                  <a:gd name="connsiteY46" fmla="*/ 190479 h 400157"/>
                  <a:gd name="connsiteX47" fmla="*/ 214343 w 402064"/>
                  <a:gd name="connsiteY47" fmla="*/ 190479 h 400157"/>
                  <a:gd name="connsiteX48" fmla="*/ 214343 w 402064"/>
                  <a:gd name="connsiteY48" fmla="*/ 216469 h 400157"/>
                  <a:gd name="connsiteX49" fmla="*/ 292313 w 402064"/>
                  <a:gd name="connsiteY49" fmla="*/ 216469 h 400157"/>
                  <a:gd name="connsiteX50" fmla="*/ 281592 w 402064"/>
                  <a:gd name="connsiteY50" fmla="*/ 285343 h 400157"/>
                  <a:gd name="connsiteX51" fmla="*/ 215318 w 402064"/>
                  <a:gd name="connsiteY51" fmla="*/ 285343 h 400157"/>
                  <a:gd name="connsiteX52" fmla="*/ 215318 w 402064"/>
                  <a:gd name="connsiteY52" fmla="*/ 215170 h 400157"/>
                  <a:gd name="connsiteX53" fmla="*/ 112982 w 402064"/>
                  <a:gd name="connsiteY53" fmla="*/ 170012 h 400157"/>
                  <a:gd name="connsiteX54" fmla="*/ 122079 w 402064"/>
                  <a:gd name="connsiteY54" fmla="*/ 120631 h 400157"/>
                  <a:gd name="connsiteX55" fmla="*/ 189328 w 402064"/>
                  <a:gd name="connsiteY55" fmla="*/ 120631 h 400157"/>
                  <a:gd name="connsiteX56" fmla="*/ 189328 w 402064"/>
                  <a:gd name="connsiteY56" fmla="*/ 189180 h 400157"/>
                  <a:gd name="connsiteX57" fmla="*/ 111683 w 402064"/>
                  <a:gd name="connsiteY57" fmla="*/ 189180 h 400157"/>
                  <a:gd name="connsiteX58" fmla="*/ 112982 w 402064"/>
                  <a:gd name="connsiteY58" fmla="*/ 170012 h 400157"/>
                  <a:gd name="connsiteX59" fmla="*/ 189328 w 402064"/>
                  <a:gd name="connsiteY59" fmla="*/ 28367 h 400157"/>
                  <a:gd name="connsiteX60" fmla="*/ 189328 w 402064"/>
                  <a:gd name="connsiteY60" fmla="*/ 93342 h 400157"/>
                  <a:gd name="connsiteX61" fmla="*/ 131175 w 402064"/>
                  <a:gd name="connsiteY61" fmla="*/ 93342 h 400157"/>
                  <a:gd name="connsiteX62" fmla="*/ 189328 w 402064"/>
                  <a:gd name="connsiteY62" fmla="*/ 28367 h 400157"/>
                  <a:gd name="connsiteX63" fmla="*/ 94140 w 402064"/>
                  <a:gd name="connsiteY63" fmla="*/ 62804 h 400157"/>
                  <a:gd name="connsiteX64" fmla="*/ 94140 w 402064"/>
                  <a:gd name="connsiteY64" fmla="*/ 62804 h 400157"/>
                  <a:gd name="connsiteX65" fmla="*/ 129876 w 402064"/>
                  <a:gd name="connsiteY65" fmla="*/ 42012 h 400157"/>
                  <a:gd name="connsiteX66" fmla="*/ 101287 w 402064"/>
                  <a:gd name="connsiteY66" fmla="*/ 96266 h 400157"/>
                  <a:gd name="connsiteX67" fmla="*/ 63601 w 402064"/>
                  <a:gd name="connsiteY67" fmla="*/ 96266 h 400157"/>
                  <a:gd name="connsiteX68" fmla="*/ 94140 w 402064"/>
                  <a:gd name="connsiteY68" fmla="*/ 62804 h 400157"/>
                  <a:gd name="connsiteX69" fmla="*/ 45733 w 402064"/>
                  <a:gd name="connsiteY69" fmla="*/ 120631 h 400157"/>
                  <a:gd name="connsiteX70" fmla="*/ 96089 w 402064"/>
                  <a:gd name="connsiteY70" fmla="*/ 120631 h 400157"/>
                  <a:gd name="connsiteX71" fmla="*/ 88292 w 402064"/>
                  <a:gd name="connsiteY71" fmla="*/ 164165 h 400157"/>
                  <a:gd name="connsiteX72" fmla="*/ 86668 w 402064"/>
                  <a:gd name="connsiteY72" fmla="*/ 189180 h 400157"/>
                  <a:gd name="connsiteX73" fmla="*/ 26241 w 402064"/>
                  <a:gd name="connsiteY73" fmla="*/ 189180 h 400157"/>
                  <a:gd name="connsiteX74" fmla="*/ 31114 w 402064"/>
                  <a:gd name="connsiteY74" fmla="*/ 164814 h 400157"/>
                  <a:gd name="connsiteX75" fmla="*/ 45733 w 402064"/>
                  <a:gd name="connsiteY75" fmla="*/ 120631 h 400157"/>
                  <a:gd name="connsiteX76" fmla="*/ 26241 w 402064"/>
                  <a:gd name="connsiteY76" fmla="*/ 215170 h 400157"/>
                  <a:gd name="connsiteX77" fmla="*/ 85693 w 402064"/>
                  <a:gd name="connsiteY77" fmla="*/ 215170 h 400157"/>
                  <a:gd name="connsiteX78" fmla="*/ 96089 w 402064"/>
                  <a:gd name="connsiteY78" fmla="*/ 284043 h 400157"/>
                  <a:gd name="connsiteX79" fmla="*/ 45733 w 402064"/>
                  <a:gd name="connsiteY79" fmla="*/ 284043 h 400157"/>
                  <a:gd name="connsiteX80" fmla="*/ 26241 w 402064"/>
                  <a:gd name="connsiteY80" fmla="*/ 215170 h 400157"/>
                  <a:gd name="connsiteX81" fmla="*/ 63601 w 402064"/>
                  <a:gd name="connsiteY81" fmla="*/ 310683 h 400157"/>
                  <a:gd name="connsiteX82" fmla="*/ 63601 w 402064"/>
                  <a:gd name="connsiteY82" fmla="*/ 310683 h 400157"/>
                  <a:gd name="connsiteX83" fmla="*/ 102911 w 402064"/>
                  <a:gd name="connsiteY83" fmla="*/ 310683 h 400157"/>
                  <a:gd name="connsiteX84" fmla="*/ 131500 w 402064"/>
                  <a:gd name="connsiteY84" fmla="*/ 364612 h 400157"/>
                  <a:gd name="connsiteX85" fmla="*/ 63601 w 402064"/>
                  <a:gd name="connsiteY85" fmla="*/ 310683 h 400157"/>
                  <a:gd name="connsiteX86" fmla="*/ 189978 w 402064"/>
                  <a:gd name="connsiteY86" fmla="*/ 375658 h 400157"/>
                  <a:gd name="connsiteX87" fmla="*/ 131825 w 402064"/>
                  <a:gd name="connsiteY87" fmla="*/ 310683 h 400157"/>
                  <a:gd name="connsiteX88" fmla="*/ 189978 w 402064"/>
                  <a:gd name="connsiteY88" fmla="*/ 310683 h 400157"/>
                  <a:gd name="connsiteX89" fmla="*/ 189978 w 402064"/>
                  <a:gd name="connsiteY89" fmla="*/ 283393 h 400157"/>
                  <a:gd name="connsiteX90" fmla="*/ 122079 w 402064"/>
                  <a:gd name="connsiteY90" fmla="*/ 283393 h 400157"/>
                  <a:gd name="connsiteX91" fmla="*/ 111683 w 402064"/>
                  <a:gd name="connsiteY91" fmla="*/ 214520 h 400157"/>
                  <a:gd name="connsiteX92" fmla="*/ 189328 w 402064"/>
                  <a:gd name="connsiteY92" fmla="*/ 214520 h 400157"/>
                  <a:gd name="connsiteX93" fmla="*/ 189328 w 402064"/>
                  <a:gd name="connsiteY93" fmla="*/ 284043 h 400157"/>
                  <a:gd name="connsiteX94" fmla="*/ 239683 w 402064"/>
                  <a:gd name="connsiteY94" fmla="*/ 362013 h 400157"/>
                  <a:gd name="connsiteX95" fmla="*/ 215968 w 402064"/>
                  <a:gd name="connsiteY95" fmla="*/ 375658 h 400157"/>
                  <a:gd name="connsiteX96" fmla="*/ 215968 w 402064"/>
                  <a:gd name="connsiteY96" fmla="*/ 310683 h 400157"/>
                  <a:gd name="connsiteX97" fmla="*/ 274445 w 402064"/>
                  <a:gd name="connsiteY97" fmla="*/ 310683 h 400157"/>
                  <a:gd name="connsiteX98" fmla="*/ 239034 w 402064"/>
                  <a:gd name="connsiteY98" fmla="*/ 362663 h 400157"/>
                  <a:gd name="connsiteX99" fmla="*/ 310506 w 402064"/>
                  <a:gd name="connsiteY99" fmla="*/ 340896 h 400157"/>
                  <a:gd name="connsiteX100" fmla="*/ 310506 w 402064"/>
                  <a:gd name="connsiteY100" fmla="*/ 340896 h 400157"/>
                  <a:gd name="connsiteX101" fmla="*/ 273146 w 402064"/>
                  <a:gd name="connsiteY101" fmla="*/ 362988 h 400157"/>
                  <a:gd name="connsiteX102" fmla="*/ 301734 w 402064"/>
                  <a:gd name="connsiteY102" fmla="*/ 309059 h 400157"/>
                  <a:gd name="connsiteX103" fmla="*/ 342344 w 402064"/>
                  <a:gd name="connsiteY103" fmla="*/ 309059 h 400157"/>
                  <a:gd name="connsiteX104" fmla="*/ 310506 w 402064"/>
                  <a:gd name="connsiteY104" fmla="*/ 340896 h 400157"/>
                  <a:gd name="connsiteX105" fmla="*/ 358587 w 402064"/>
                  <a:gd name="connsiteY105" fmla="*/ 283069 h 400157"/>
                  <a:gd name="connsiteX106" fmla="*/ 309856 w 402064"/>
                  <a:gd name="connsiteY106" fmla="*/ 283069 h 400157"/>
                  <a:gd name="connsiteX107" fmla="*/ 319278 w 402064"/>
                  <a:gd name="connsiteY107" fmla="*/ 214195 h 400157"/>
                  <a:gd name="connsiteX108" fmla="*/ 378080 w 402064"/>
                  <a:gd name="connsiteY108" fmla="*/ 214195 h 400157"/>
                  <a:gd name="connsiteX109" fmla="*/ 358587 w 402064"/>
                  <a:gd name="connsiteY109" fmla="*/ 284043 h 400157"/>
                  <a:gd name="connsiteX110" fmla="*/ 319278 w 402064"/>
                  <a:gd name="connsiteY110" fmla="*/ 189180 h 400157"/>
                  <a:gd name="connsiteX111" fmla="*/ 309856 w 402064"/>
                  <a:gd name="connsiteY111" fmla="*/ 120631 h 400157"/>
                  <a:gd name="connsiteX112" fmla="*/ 358912 w 402064"/>
                  <a:gd name="connsiteY112" fmla="*/ 120631 h 400157"/>
                  <a:gd name="connsiteX113" fmla="*/ 378405 w 402064"/>
                  <a:gd name="connsiteY113" fmla="*/ 189180 h 40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02064" h="400157">
                    <a:moveTo>
                      <a:pt x="388476" y="124855"/>
                    </a:moveTo>
                    <a:cubicBezTo>
                      <a:pt x="382143" y="109311"/>
                      <a:pt x="373962" y="94586"/>
                      <a:pt x="364110" y="80997"/>
                    </a:cubicBezTo>
                    <a:cubicBezTo>
                      <a:pt x="296877" y="-8528"/>
                      <a:pt x="169799" y="-26599"/>
                      <a:pt x="80274" y="40634"/>
                    </a:cubicBezTo>
                    <a:cubicBezTo>
                      <a:pt x="80239" y="40660"/>
                      <a:pt x="80205" y="40686"/>
                      <a:pt x="80170" y="40712"/>
                    </a:cubicBezTo>
                    <a:lnTo>
                      <a:pt x="78221" y="42337"/>
                    </a:lnTo>
                    <a:cubicBezTo>
                      <a:pt x="42967" y="69450"/>
                      <a:pt x="17713" y="107502"/>
                      <a:pt x="6424" y="150520"/>
                    </a:cubicBezTo>
                    <a:cubicBezTo>
                      <a:pt x="6424" y="157667"/>
                      <a:pt x="3175" y="164814"/>
                      <a:pt x="2200" y="171962"/>
                    </a:cubicBezTo>
                    <a:cubicBezTo>
                      <a:pt x="-7532" y="237568"/>
                      <a:pt x="15392" y="303793"/>
                      <a:pt x="63601" y="349343"/>
                    </a:cubicBezTo>
                    <a:lnTo>
                      <a:pt x="63601" y="349343"/>
                    </a:lnTo>
                    <a:cubicBezTo>
                      <a:pt x="65827" y="351676"/>
                      <a:pt x="68215" y="353847"/>
                      <a:pt x="70749" y="355840"/>
                    </a:cubicBezTo>
                    <a:lnTo>
                      <a:pt x="70749" y="355840"/>
                    </a:lnTo>
                    <a:lnTo>
                      <a:pt x="77896" y="361688"/>
                    </a:lnTo>
                    <a:lnTo>
                      <a:pt x="77896" y="361688"/>
                    </a:lnTo>
                    <a:cubicBezTo>
                      <a:pt x="87421" y="369158"/>
                      <a:pt x="97648" y="375686"/>
                      <a:pt x="108434" y="381181"/>
                    </a:cubicBezTo>
                    <a:lnTo>
                      <a:pt x="111683" y="383130"/>
                    </a:lnTo>
                    <a:lnTo>
                      <a:pt x="117206" y="385404"/>
                    </a:lnTo>
                    <a:lnTo>
                      <a:pt x="121754" y="387678"/>
                    </a:lnTo>
                    <a:lnTo>
                      <a:pt x="126627" y="389627"/>
                    </a:lnTo>
                    <a:lnTo>
                      <a:pt x="131825" y="391577"/>
                    </a:lnTo>
                    <a:lnTo>
                      <a:pt x="136373" y="393201"/>
                    </a:lnTo>
                    <a:lnTo>
                      <a:pt x="142871" y="395150"/>
                    </a:lnTo>
                    <a:lnTo>
                      <a:pt x="146444" y="395150"/>
                    </a:lnTo>
                    <a:lnTo>
                      <a:pt x="155866" y="397749"/>
                    </a:lnTo>
                    <a:lnTo>
                      <a:pt x="155866" y="397749"/>
                    </a:lnTo>
                    <a:lnTo>
                      <a:pt x="166262" y="400023"/>
                    </a:lnTo>
                    <a:lnTo>
                      <a:pt x="168861" y="400023"/>
                    </a:lnTo>
                    <a:cubicBezTo>
                      <a:pt x="171565" y="400202"/>
                      <a:pt x="174278" y="400202"/>
                      <a:pt x="176983" y="400023"/>
                    </a:cubicBezTo>
                    <a:lnTo>
                      <a:pt x="180231" y="400023"/>
                    </a:lnTo>
                    <a:lnTo>
                      <a:pt x="214993" y="400023"/>
                    </a:lnTo>
                    <a:lnTo>
                      <a:pt x="222465" y="400023"/>
                    </a:lnTo>
                    <a:lnTo>
                      <a:pt x="222465" y="400023"/>
                    </a:lnTo>
                    <a:lnTo>
                      <a:pt x="226364" y="400023"/>
                    </a:lnTo>
                    <a:cubicBezTo>
                      <a:pt x="234705" y="399027"/>
                      <a:pt x="242959" y="397398"/>
                      <a:pt x="251054" y="395150"/>
                    </a:cubicBezTo>
                    <a:lnTo>
                      <a:pt x="251054" y="395150"/>
                    </a:lnTo>
                    <a:cubicBezTo>
                      <a:pt x="277140" y="388171"/>
                      <a:pt x="301556" y="376018"/>
                      <a:pt x="322851" y="359414"/>
                    </a:cubicBezTo>
                    <a:cubicBezTo>
                      <a:pt x="336583" y="348769"/>
                      <a:pt x="348917" y="336435"/>
                      <a:pt x="359562" y="322703"/>
                    </a:cubicBezTo>
                    <a:cubicBezTo>
                      <a:pt x="403071" y="266321"/>
                      <a:pt x="414030" y="191330"/>
                      <a:pt x="388476" y="124855"/>
                    </a:cubicBezTo>
                    <a:close/>
                    <a:moveTo>
                      <a:pt x="341369" y="94641"/>
                    </a:moveTo>
                    <a:lnTo>
                      <a:pt x="301734" y="94641"/>
                    </a:lnTo>
                    <a:cubicBezTo>
                      <a:pt x="295136" y="75258"/>
                      <a:pt x="285485" y="57052"/>
                      <a:pt x="273145" y="40712"/>
                    </a:cubicBezTo>
                    <a:cubicBezTo>
                      <a:pt x="300451" y="52463"/>
                      <a:pt x="324279" y="71033"/>
                      <a:pt x="342344" y="94641"/>
                    </a:cubicBezTo>
                    <a:close/>
                    <a:moveTo>
                      <a:pt x="214343" y="29667"/>
                    </a:moveTo>
                    <a:cubicBezTo>
                      <a:pt x="242256" y="41930"/>
                      <a:pt x="263555" y="65595"/>
                      <a:pt x="272821" y="94641"/>
                    </a:cubicBezTo>
                    <a:lnTo>
                      <a:pt x="214343" y="94641"/>
                    </a:lnTo>
                    <a:close/>
                    <a:moveTo>
                      <a:pt x="214343" y="121931"/>
                    </a:moveTo>
                    <a:lnTo>
                      <a:pt x="281592" y="121931"/>
                    </a:lnTo>
                    <a:cubicBezTo>
                      <a:pt x="287806" y="144289"/>
                      <a:pt x="291404" y="167292"/>
                      <a:pt x="292313" y="190479"/>
                    </a:cubicBezTo>
                    <a:lnTo>
                      <a:pt x="214343" y="190479"/>
                    </a:lnTo>
                    <a:close/>
                    <a:moveTo>
                      <a:pt x="214343" y="216469"/>
                    </a:moveTo>
                    <a:lnTo>
                      <a:pt x="292313" y="216469"/>
                    </a:lnTo>
                    <a:cubicBezTo>
                      <a:pt x="291429" y="239766"/>
                      <a:pt x="287831" y="262880"/>
                      <a:pt x="281592" y="285343"/>
                    </a:cubicBezTo>
                    <a:lnTo>
                      <a:pt x="215318" y="285343"/>
                    </a:lnTo>
                    <a:lnTo>
                      <a:pt x="215318" y="215170"/>
                    </a:lnTo>
                    <a:close/>
                    <a:moveTo>
                      <a:pt x="112982" y="170012"/>
                    </a:moveTo>
                    <a:cubicBezTo>
                      <a:pt x="114549" y="153315"/>
                      <a:pt x="117593" y="136790"/>
                      <a:pt x="122079" y="120631"/>
                    </a:cubicBezTo>
                    <a:lnTo>
                      <a:pt x="189328" y="120631"/>
                    </a:lnTo>
                    <a:lnTo>
                      <a:pt x="189328" y="189180"/>
                    </a:lnTo>
                    <a:lnTo>
                      <a:pt x="111683" y="189180"/>
                    </a:lnTo>
                    <a:cubicBezTo>
                      <a:pt x="112008" y="182682"/>
                      <a:pt x="112333" y="176185"/>
                      <a:pt x="112982" y="170012"/>
                    </a:cubicBezTo>
                    <a:close/>
                    <a:moveTo>
                      <a:pt x="189328" y="28367"/>
                    </a:moveTo>
                    <a:lnTo>
                      <a:pt x="189328" y="93342"/>
                    </a:lnTo>
                    <a:lnTo>
                      <a:pt x="131175" y="93342"/>
                    </a:lnTo>
                    <a:cubicBezTo>
                      <a:pt x="140217" y="64274"/>
                      <a:pt x="161437" y="40565"/>
                      <a:pt x="189328" y="28367"/>
                    </a:cubicBezTo>
                    <a:close/>
                    <a:moveTo>
                      <a:pt x="94140" y="62804"/>
                    </a:moveTo>
                    <a:lnTo>
                      <a:pt x="94140" y="62804"/>
                    </a:lnTo>
                    <a:cubicBezTo>
                      <a:pt x="105257" y="54590"/>
                      <a:pt x="117241" y="47618"/>
                      <a:pt x="129876" y="42012"/>
                    </a:cubicBezTo>
                    <a:cubicBezTo>
                      <a:pt x="117598" y="58509"/>
                      <a:pt x="107953" y="76811"/>
                      <a:pt x="101287" y="96266"/>
                    </a:cubicBezTo>
                    <a:lnTo>
                      <a:pt x="63601" y="96266"/>
                    </a:lnTo>
                    <a:cubicBezTo>
                      <a:pt x="72368" y="83900"/>
                      <a:pt x="82625" y="72661"/>
                      <a:pt x="94140" y="62804"/>
                    </a:cubicBezTo>
                    <a:close/>
                    <a:moveTo>
                      <a:pt x="45733" y="120631"/>
                    </a:moveTo>
                    <a:lnTo>
                      <a:pt x="96089" y="120631"/>
                    </a:lnTo>
                    <a:cubicBezTo>
                      <a:pt x="92408" y="134928"/>
                      <a:pt x="89802" y="149479"/>
                      <a:pt x="88292" y="164165"/>
                    </a:cubicBezTo>
                    <a:cubicBezTo>
                      <a:pt x="88292" y="172286"/>
                      <a:pt x="86668" y="180733"/>
                      <a:pt x="86668" y="189180"/>
                    </a:cubicBezTo>
                    <a:lnTo>
                      <a:pt x="26241" y="189180"/>
                    </a:lnTo>
                    <a:cubicBezTo>
                      <a:pt x="27383" y="180969"/>
                      <a:pt x="29010" y="172833"/>
                      <a:pt x="31114" y="164814"/>
                    </a:cubicBezTo>
                    <a:cubicBezTo>
                      <a:pt x="34205" y="149556"/>
                      <a:pt x="39113" y="134722"/>
                      <a:pt x="45733" y="120631"/>
                    </a:cubicBezTo>
                    <a:close/>
                    <a:moveTo>
                      <a:pt x="26241" y="215170"/>
                    </a:moveTo>
                    <a:lnTo>
                      <a:pt x="85693" y="215170"/>
                    </a:lnTo>
                    <a:cubicBezTo>
                      <a:pt x="86506" y="238450"/>
                      <a:pt x="89994" y="261560"/>
                      <a:pt x="96089" y="284043"/>
                    </a:cubicBezTo>
                    <a:lnTo>
                      <a:pt x="45733" y="284043"/>
                    </a:lnTo>
                    <a:cubicBezTo>
                      <a:pt x="34537" y="262683"/>
                      <a:pt x="27899" y="239230"/>
                      <a:pt x="26241" y="215170"/>
                    </a:cubicBezTo>
                    <a:close/>
                    <a:moveTo>
                      <a:pt x="63601" y="310683"/>
                    </a:moveTo>
                    <a:lnTo>
                      <a:pt x="63601" y="310683"/>
                    </a:lnTo>
                    <a:lnTo>
                      <a:pt x="102911" y="310683"/>
                    </a:lnTo>
                    <a:cubicBezTo>
                      <a:pt x="109509" y="330067"/>
                      <a:pt x="119161" y="348272"/>
                      <a:pt x="131500" y="364612"/>
                    </a:cubicBezTo>
                    <a:cubicBezTo>
                      <a:pt x="104645" y="352710"/>
                      <a:pt x="81274" y="334147"/>
                      <a:pt x="63601" y="310683"/>
                    </a:cubicBezTo>
                    <a:close/>
                    <a:moveTo>
                      <a:pt x="189978" y="375658"/>
                    </a:moveTo>
                    <a:cubicBezTo>
                      <a:pt x="162086" y="363460"/>
                      <a:pt x="140867" y="339751"/>
                      <a:pt x="131825" y="310683"/>
                    </a:cubicBezTo>
                    <a:lnTo>
                      <a:pt x="189978" y="310683"/>
                    </a:lnTo>
                    <a:close/>
                    <a:moveTo>
                      <a:pt x="189978" y="283393"/>
                    </a:moveTo>
                    <a:lnTo>
                      <a:pt x="122079" y="283393"/>
                    </a:lnTo>
                    <a:cubicBezTo>
                      <a:pt x="115953" y="260917"/>
                      <a:pt x="112464" y="237803"/>
                      <a:pt x="111683" y="214520"/>
                    </a:cubicBezTo>
                    <a:lnTo>
                      <a:pt x="189328" y="214520"/>
                    </a:lnTo>
                    <a:lnTo>
                      <a:pt x="189328" y="284043"/>
                    </a:lnTo>
                    <a:close/>
                    <a:moveTo>
                      <a:pt x="239683" y="362013"/>
                    </a:moveTo>
                    <a:cubicBezTo>
                      <a:pt x="232836" y="368193"/>
                      <a:pt x="224752" y="372844"/>
                      <a:pt x="215968" y="375658"/>
                    </a:cubicBezTo>
                    <a:lnTo>
                      <a:pt x="215968" y="310683"/>
                    </a:lnTo>
                    <a:lnTo>
                      <a:pt x="274445" y="310683"/>
                    </a:lnTo>
                    <a:cubicBezTo>
                      <a:pt x="266608" y="330403"/>
                      <a:pt x="254517" y="348152"/>
                      <a:pt x="239034" y="362663"/>
                    </a:cubicBezTo>
                    <a:close/>
                    <a:moveTo>
                      <a:pt x="310506" y="340896"/>
                    </a:moveTo>
                    <a:lnTo>
                      <a:pt x="310506" y="340896"/>
                    </a:lnTo>
                    <a:cubicBezTo>
                      <a:pt x="299056" y="349839"/>
                      <a:pt x="286499" y="357264"/>
                      <a:pt x="273146" y="362988"/>
                    </a:cubicBezTo>
                    <a:cubicBezTo>
                      <a:pt x="285485" y="346648"/>
                      <a:pt x="295136" y="328442"/>
                      <a:pt x="301734" y="309059"/>
                    </a:cubicBezTo>
                    <a:lnTo>
                      <a:pt x="342344" y="309059"/>
                    </a:lnTo>
                    <a:cubicBezTo>
                      <a:pt x="333157" y="321007"/>
                      <a:pt x="322454" y="331709"/>
                      <a:pt x="310506" y="340896"/>
                    </a:cubicBezTo>
                    <a:close/>
                    <a:moveTo>
                      <a:pt x="358587" y="283069"/>
                    </a:moveTo>
                    <a:lnTo>
                      <a:pt x="309856" y="283069"/>
                    </a:lnTo>
                    <a:cubicBezTo>
                      <a:pt x="315303" y="260486"/>
                      <a:pt x="318460" y="237411"/>
                      <a:pt x="319278" y="214195"/>
                    </a:cubicBezTo>
                    <a:lnTo>
                      <a:pt x="378080" y="214195"/>
                    </a:lnTo>
                    <a:cubicBezTo>
                      <a:pt x="376644" y="238603"/>
                      <a:pt x="369998" y="262419"/>
                      <a:pt x="358587" y="284043"/>
                    </a:cubicBezTo>
                    <a:close/>
                    <a:moveTo>
                      <a:pt x="319278" y="189180"/>
                    </a:moveTo>
                    <a:cubicBezTo>
                      <a:pt x="318438" y="166073"/>
                      <a:pt x="315282" y="143108"/>
                      <a:pt x="309856" y="120631"/>
                    </a:cubicBezTo>
                    <a:lnTo>
                      <a:pt x="358912" y="120631"/>
                    </a:lnTo>
                    <a:cubicBezTo>
                      <a:pt x="369914" y="141953"/>
                      <a:pt x="376541" y="165260"/>
                      <a:pt x="378405" y="189180"/>
                    </a:cubicBezTo>
                    <a:close/>
                  </a:path>
                </a:pathLst>
              </a:custGeom>
              <a:gradFill>
                <a:gsLst>
                  <a:gs pos="0">
                    <a:srgbClr val="0C7DD8"/>
                  </a:gs>
                  <a:gs pos="100000">
                    <a:srgbClr val="5C9FEE"/>
                  </a:gs>
                </a:gsLst>
                <a:lin ang="16200000" scaled="1"/>
              </a:gradFill>
              <a:ln w="32279" cap="flat">
                <a:noFill/>
                <a:prstDash val="solid"/>
                <a:miter/>
              </a:ln>
            </p:spPr>
            <p:txBody>
              <a:bodyPr rtlCol="0" anchor="ctr"/>
              <a:lstStyle/>
              <a:p>
                <a:endParaRPr lang="en-US"/>
              </a:p>
            </p:txBody>
          </p:sp>
          <p:pic>
            <p:nvPicPr>
              <p:cNvPr id="126" name="Graphic 125">
                <a:extLst>
                  <a:ext uri="{FF2B5EF4-FFF2-40B4-BE49-F238E27FC236}">
                    <a16:creationId xmlns:a16="http://schemas.microsoft.com/office/drawing/2014/main" id="{2B0CB4D9-6DE0-4885-AF05-3B520AD7A00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248558" y="3383635"/>
                <a:ext cx="372854" cy="372854"/>
              </a:xfrm>
              <a:prstGeom prst="rect">
                <a:avLst/>
              </a:prstGeom>
            </p:spPr>
          </p:pic>
        </p:grpSp>
        <p:grpSp>
          <p:nvGrpSpPr>
            <p:cNvPr id="127" name="Group 126">
              <a:extLst>
                <a:ext uri="{FF2B5EF4-FFF2-40B4-BE49-F238E27FC236}">
                  <a16:creationId xmlns:a16="http://schemas.microsoft.com/office/drawing/2014/main" id="{FE2AA12B-BC45-4706-B9BD-6152EC0870F3}"/>
                </a:ext>
              </a:extLst>
            </p:cNvPr>
            <p:cNvGrpSpPr/>
            <p:nvPr/>
          </p:nvGrpSpPr>
          <p:grpSpPr>
            <a:xfrm>
              <a:off x="5986896" y="2628710"/>
              <a:ext cx="460228" cy="460228"/>
              <a:chOff x="7641510" y="1934835"/>
              <a:chExt cx="385747" cy="385747"/>
            </a:xfrm>
          </p:grpSpPr>
          <p:pic>
            <p:nvPicPr>
              <p:cNvPr id="128" name="Graphic 127">
                <a:extLst>
                  <a:ext uri="{FF2B5EF4-FFF2-40B4-BE49-F238E27FC236}">
                    <a16:creationId xmlns:a16="http://schemas.microsoft.com/office/drawing/2014/main" id="{BD4DB74B-CB33-4043-AB76-2F7E38D7A6E3}"/>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7641510" y="1934835"/>
                <a:ext cx="385747" cy="385747"/>
              </a:xfrm>
              <a:prstGeom prst="rect">
                <a:avLst/>
              </a:prstGeom>
            </p:spPr>
          </p:pic>
          <p:pic>
            <p:nvPicPr>
              <p:cNvPr id="129" name="Graphic 128">
                <a:extLst>
                  <a:ext uri="{FF2B5EF4-FFF2-40B4-BE49-F238E27FC236}">
                    <a16:creationId xmlns:a16="http://schemas.microsoft.com/office/drawing/2014/main" id="{200F1367-77B8-488B-A92E-A9D94E25DA86}"/>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731707" y="2063530"/>
                <a:ext cx="205370" cy="128356"/>
              </a:xfrm>
              <a:prstGeom prst="rect">
                <a:avLst/>
              </a:prstGeom>
            </p:spPr>
          </p:pic>
        </p:grpSp>
        <p:cxnSp>
          <p:nvCxnSpPr>
            <p:cNvPr id="130" name="Straight Arrow Connector 129">
              <a:extLst>
                <a:ext uri="{FF2B5EF4-FFF2-40B4-BE49-F238E27FC236}">
                  <a16:creationId xmlns:a16="http://schemas.microsoft.com/office/drawing/2014/main" id="{90A98030-FAF1-444E-894B-EF16ABA7EED1}"/>
                </a:ext>
              </a:extLst>
            </p:cNvPr>
            <p:cNvCxnSpPr>
              <a:cxnSpLocks/>
              <a:endCxn id="110" idx="1"/>
            </p:cNvCxnSpPr>
            <p:nvPr/>
          </p:nvCxnSpPr>
          <p:spPr>
            <a:xfrm>
              <a:off x="4975178" y="3253739"/>
              <a:ext cx="823900" cy="1"/>
            </a:xfrm>
            <a:prstGeom prst="straightConnector1">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pic>
          <p:nvPicPr>
            <p:cNvPr id="131" name="Graphic 130">
              <a:extLst>
                <a:ext uri="{FF2B5EF4-FFF2-40B4-BE49-F238E27FC236}">
                  <a16:creationId xmlns:a16="http://schemas.microsoft.com/office/drawing/2014/main" id="{3F7FDC22-35EE-47FF-B67A-386D2814CFE9}"/>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765063" y="3097333"/>
              <a:ext cx="546538" cy="546538"/>
            </a:xfrm>
            <a:prstGeom prst="rect">
              <a:avLst/>
            </a:prstGeom>
          </p:spPr>
        </p:pic>
        <p:grpSp>
          <p:nvGrpSpPr>
            <p:cNvPr id="9" name="Group 8">
              <a:extLst>
                <a:ext uri="{FF2B5EF4-FFF2-40B4-BE49-F238E27FC236}">
                  <a16:creationId xmlns:a16="http://schemas.microsoft.com/office/drawing/2014/main" id="{85BD1099-D32E-4B0C-8758-0DE972BC9EC2}"/>
                </a:ext>
              </a:extLst>
            </p:cNvPr>
            <p:cNvGrpSpPr/>
            <p:nvPr/>
          </p:nvGrpSpPr>
          <p:grpSpPr>
            <a:xfrm>
              <a:off x="6671561" y="3248302"/>
              <a:ext cx="338158" cy="2187595"/>
              <a:chOff x="6817022" y="3706800"/>
              <a:chExt cx="392677" cy="2187595"/>
            </a:xfrm>
          </p:grpSpPr>
          <p:cxnSp>
            <p:nvCxnSpPr>
              <p:cNvPr id="132" name="Connector: Elbow 131">
                <a:extLst>
                  <a:ext uri="{FF2B5EF4-FFF2-40B4-BE49-F238E27FC236}">
                    <a16:creationId xmlns:a16="http://schemas.microsoft.com/office/drawing/2014/main" id="{9A5F6E63-A25C-4C80-A7B8-7F29CC810075}"/>
                  </a:ext>
                </a:extLst>
              </p:cNvPr>
              <p:cNvCxnSpPr>
                <a:cxnSpLocks/>
              </p:cNvCxnSpPr>
              <p:nvPr/>
            </p:nvCxnSpPr>
            <p:spPr>
              <a:xfrm flipV="1">
                <a:off x="6817022" y="3706800"/>
                <a:ext cx="392677" cy="1"/>
              </a:xfrm>
              <a:prstGeom prst="bentConnector3">
                <a:avLst>
                  <a:gd name="adj1" fmla="val 39871"/>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33" name="Connector: Elbow 132">
                <a:extLst>
                  <a:ext uri="{FF2B5EF4-FFF2-40B4-BE49-F238E27FC236}">
                    <a16:creationId xmlns:a16="http://schemas.microsoft.com/office/drawing/2014/main" id="{2BB2D33B-485D-4FE2-846D-D3F86EED42DB}"/>
                  </a:ext>
                </a:extLst>
              </p:cNvPr>
              <p:cNvCxnSpPr>
                <a:cxnSpLocks/>
              </p:cNvCxnSpPr>
              <p:nvPr/>
            </p:nvCxnSpPr>
            <p:spPr>
              <a:xfrm flipV="1">
                <a:off x="6817022" y="5894394"/>
                <a:ext cx="392677" cy="1"/>
              </a:xfrm>
              <a:prstGeom prst="bentConnector3">
                <a:avLst>
                  <a:gd name="adj1" fmla="val 39871"/>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41156576-F2DD-4C37-9B4D-5822041E3DCC}"/>
                  </a:ext>
                </a:extLst>
              </p:cNvPr>
              <p:cNvCxnSpPr>
                <a:cxnSpLocks/>
              </p:cNvCxnSpPr>
              <p:nvPr/>
            </p:nvCxnSpPr>
            <p:spPr>
              <a:xfrm flipV="1">
                <a:off x="6817022" y="4830092"/>
                <a:ext cx="392677" cy="1"/>
              </a:xfrm>
              <a:prstGeom prst="bentConnector3">
                <a:avLst>
                  <a:gd name="adj1" fmla="val 39871"/>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cxnSp>
          <p:nvCxnSpPr>
            <p:cNvPr id="135" name="Connector: Elbow 134">
              <a:extLst>
                <a:ext uri="{FF2B5EF4-FFF2-40B4-BE49-F238E27FC236}">
                  <a16:creationId xmlns:a16="http://schemas.microsoft.com/office/drawing/2014/main" id="{87BE42B9-F3CD-4E82-9588-94C039E043CB}"/>
                </a:ext>
              </a:extLst>
            </p:cNvPr>
            <p:cNvCxnSpPr>
              <a:cxnSpLocks/>
            </p:cNvCxnSpPr>
            <p:nvPr/>
          </p:nvCxnSpPr>
          <p:spPr>
            <a:xfrm>
              <a:off x="9875447" y="2195549"/>
              <a:ext cx="273130" cy="1"/>
            </a:xfrm>
            <a:prstGeom prst="bentConnector3">
              <a:avLst>
                <a:gd name="adj1" fmla="val 50000"/>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pic>
          <p:nvPicPr>
            <p:cNvPr id="136" name="Graphic 135">
              <a:extLst>
                <a:ext uri="{FF2B5EF4-FFF2-40B4-BE49-F238E27FC236}">
                  <a16:creationId xmlns:a16="http://schemas.microsoft.com/office/drawing/2014/main" id="{68BC7551-0231-4AEE-A486-17C92F02769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9408169" y="2001270"/>
              <a:ext cx="417718" cy="417718"/>
            </a:xfrm>
            <a:prstGeom prst="rect">
              <a:avLst/>
            </a:prstGeom>
          </p:spPr>
        </p:pic>
        <p:grpSp>
          <p:nvGrpSpPr>
            <p:cNvPr id="137" name="Group 136">
              <a:extLst>
                <a:ext uri="{FF2B5EF4-FFF2-40B4-BE49-F238E27FC236}">
                  <a16:creationId xmlns:a16="http://schemas.microsoft.com/office/drawing/2014/main" id="{DAFCF9C1-CF95-4BF1-A4AE-93975724CA93}"/>
                </a:ext>
              </a:extLst>
            </p:cNvPr>
            <p:cNvGrpSpPr/>
            <p:nvPr/>
          </p:nvGrpSpPr>
          <p:grpSpPr>
            <a:xfrm>
              <a:off x="8729240" y="1968288"/>
              <a:ext cx="460228" cy="460228"/>
              <a:chOff x="7641510" y="1934835"/>
              <a:chExt cx="385747" cy="385747"/>
            </a:xfrm>
          </p:grpSpPr>
          <p:pic>
            <p:nvPicPr>
              <p:cNvPr id="138" name="Graphic 137">
                <a:extLst>
                  <a:ext uri="{FF2B5EF4-FFF2-40B4-BE49-F238E27FC236}">
                    <a16:creationId xmlns:a16="http://schemas.microsoft.com/office/drawing/2014/main" id="{A8AABA5B-4AD0-4863-A6DF-26B6DB0CAAD6}"/>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a:off x="7641510" y="1934835"/>
                <a:ext cx="385747" cy="385747"/>
              </a:xfrm>
              <a:prstGeom prst="rect">
                <a:avLst/>
              </a:prstGeom>
            </p:spPr>
          </p:pic>
          <p:pic>
            <p:nvPicPr>
              <p:cNvPr id="139" name="Graphic 138">
                <a:extLst>
                  <a:ext uri="{FF2B5EF4-FFF2-40B4-BE49-F238E27FC236}">
                    <a16:creationId xmlns:a16="http://schemas.microsoft.com/office/drawing/2014/main" id="{FBBEDAF9-F3FF-4D6A-9522-E847DF234FA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731707" y="2063530"/>
                <a:ext cx="205370" cy="128356"/>
              </a:xfrm>
              <a:prstGeom prst="rect">
                <a:avLst/>
              </a:prstGeom>
            </p:spPr>
          </p:pic>
        </p:grpSp>
        <p:cxnSp>
          <p:nvCxnSpPr>
            <p:cNvPr id="140" name="Straight Connector 139">
              <a:extLst>
                <a:ext uri="{FF2B5EF4-FFF2-40B4-BE49-F238E27FC236}">
                  <a16:creationId xmlns:a16="http://schemas.microsoft.com/office/drawing/2014/main" id="{21F87115-176A-4017-858E-0F334A7BA46C}"/>
                </a:ext>
              </a:extLst>
            </p:cNvPr>
            <p:cNvCxnSpPr>
              <a:cxnSpLocks/>
            </p:cNvCxnSpPr>
            <p:nvPr/>
          </p:nvCxnSpPr>
          <p:spPr>
            <a:xfrm>
              <a:off x="9210880" y="2197181"/>
              <a:ext cx="157152" cy="0"/>
            </a:xfrm>
            <a:prstGeom prst="line">
              <a:avLst/>
            </a:prstGeom>
            <a:ln w="15875" cmpd="sng">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CDB3E84A-1148-4476-8FFC-F826F6CA0663}"/>
                </a:ext>
              </a:extLst>
            </p:cNvPr>
            <p:cNvSpPr txBox="1"/>
            <p:nvPr/>
          </p:nvSpPr>
          <p:spPr>
            <a:xfrm>
              <a:off x="1730492" y="2902706"/>
              <a:ext cx="913523" cy="369332"/>
            </a:xfrm>
            <a:prstGeom prst="rect">
              <a:avLst/>
            </a:prstGeom>
            <a:solidFill>
              <a:schemeClr val="bg1"/>
            </a:solidFill>
          </p:spPr>
          <p:txBody>
            <a:bodyPr wrap="square" lIns="0" tIns="34290" rIns="0" bIns="3429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685800" eaLnBrk="1" hangingPunct="1">
                <a:spcAft>
                  <a:spcPts val="450"/>
                </a:spcAft>
                <a:defRPr/>
              </a:pPr>
              <a:r>
                <a:rPr lang="en-US" sz="750" kern="0">
                  <a:solidFill>
                    <a:schemeClr val="tx1"/>
                  </a:solidFill>
                  <a:latin typeface="Segoe UI Semibold"/>
                </a:rPr>
                <a:t>ER Private</a:t>
              </a:r>
              <a:br>
                <a:rPr lang="en-US" sz="750" kern="0">
                  <a:solidFill>
                    <a:schemeClr val="tx1"/>
                  </a:solidFill>
                  <a:latin typeface="Segoe UI Semibold"/>
                </a:rPr>
              </a:br>
              <a:r>
                <a:rPr lang="en-US" sz="750" kern="0">
                  <a:solidFill>
                    <a:schemeClr val="tx1"/>
                  </a:solidFill>
                  <a:latin typeface="Segoe UI Semibold"/>
                </a:rPr>
                <a:t>Peering</a:t>
              </a:r>
            </a:p>
          </p:txBody>
        </p:sp>
      </p:grpSp>
      <p:grpSp>
        <p:nvGrpSpPr>
          <p:cNvPr id="24" name="Group 23">
            <a:extLst>
              <a:ext uri="{FF2B5EF4-FFF2-40B4-BE49-F238E27FC236}">
                <a16:creationId xmlns:a16="http://schemas.microsoft.com/office/drawing/2014/main" id="{B411E261-2962-474A-A4F9-B08B6B187BD9}"/>
              </a:ext>
            </a:extLst>
          </p:cNvPr>
          <p:cNvGrpSpPr/>
          <p:nvPr/>
        </p:nvGrpSpPr>
        <p:grpSpPr>
          <a:xfrm>
            <a:off x="438150" y="3971925"/>
            <a:ext cx="8268891" cy="729854"/>
            <a:chOff x="584200" y="5110646"/>
            <a:chExt cx="14361320" cy="1158392"/>
          </a:xfrm>
          <a:solidFill>
            <a:schemeClr val="bg1"/>
          </a:solidFill>
        </p:grpSpPr>
        <p:sp>
          <p:nvSpPr>
            <p:cNvPr id="141" name="04R">
              <a:extLst>
                <a:ext uri="{FF2B5EF4-FFF2-40B4-BE49-F238E27FC236}">
                  <a16:creationId xmlns:a16="http://schemas.microsoft.com/office/drawing/2014/main" id="{C9558F57-6F5B-4B15-A06C-C4F8A7756060}"/>
                </a:ext>
              </a:extLst>
            </p:cNvPr>
            <p:cNvSpPr/>
            <p:nvPr/>
          </p:nvSpPr>
          <p:spPr bwMode="auto">
            <a:xfrm>
              <a:off x="584200" y="5110646"/>
              <a:ext cx="3481388" cy="1158392"/>
            </a:xfrm>
            <a:prstGeom prst="rect">
              <a:avLst/>
            </a:prstGeom>
            <a:grp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99354"/>
              <a:r>
                <a:rPr lang="en-US" sz="900">
                  <a:solidFill>
                    <a:schemeClr val="tx1"/>
                  </a:solidFill>
                  <a:latin typeface="Segoe UI Semibold"/>
                  <a:cs typeface="Segoe UI" pitchFamily="34" charset="0"/>
                </a:rPr>
                <a:t>Private access from Virtual Network resources, </a:t>
              </a:r>
              <a:br>
                <a:rPr lang="en-US" sz="900">
                  <a:solidFill>
                    <a:schemeClr val="tx1"/>
                  </a:solidFill>
                  <a:latin typeface="Segoe UI Semibold"/>
                  <a:cs typeface="Segoe UI" pitchFamily="34" charset="0"/>
                </a:rPr>
              </a:br>
              <a:r>
                <a:rPr lang="en-US" sz="900">
                  <a:solidFill>
                    <a:schemeClr val="tx1"/>
                  </a:solidFill>
                  <a:latin typeface="Segoe UI Semibold"/>
                  <a:cs typeface="Segoe UI" pitchFamily="34" charset="0"/>
                </a:rPr>
                <a:t>peered networks and</a:t>
              </a:r>
              <a:br>
                <a:rPr lang="en-US" sz="900">
                  <a:solidFill>
                    <a:schemeClr val="tx1"/>
                  </a:solidFill>
                  <a:latin typeface="Segoe UI Semibold"/>
                  <a:cs typeface="Segoe UI" pitchFamily="34" charset="0"/>
                </a:rPr>
              </a:br>
              <a:r>
                <a:rPr lang="en-US" sz="900">
                  <a:solidFill>
                    <a:schemeClr val="tx1"/>
                  </a:solidFill>
                  <a:latin typeface="Segoe UI Semibold"/>
                  <a:cs typeface="Segoe UI" pitchFamily="34" charset="0"/>
                </a:rPr>
                <a:t>on-premise networks</a:t>
              </a:r>
            </a:p>
          </p:txBody>
        </p:sp>
        <p:sp>
          <p:nvSpPr>
            <p:cNvPr id="142" name="04R">
              <a:extLst>
                <a:ext uri="{FF2B5EF4-FFF2-40B4-BE49-F238E27FC236}">
                  <a16:creationId xmlns:a16="http://schemas.microsoft.com/office/drawing/2014/main" id="{EDCED2DB-FA25-44E4-9148-9E014B3ABED6}"/>
                </a:ext>
              </a:extLst>
            </p:cNvPr>
            <p:cNvSpPr/>
            <p:nvPr/>
          </p:nvSpPr>
          <p:spPr bwMode="auto">
            <a:xfrm>
              <a:off x="4210844" y="5110646"/>
              <a:ext cx="3481388" cy="1158392"/>
            </a:xfrm>
            <a:prstGeom prst="rect">
              <a:avLst/>
            </a:prstGeom>
            <a:grp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99354"/>
              <a:r>
                <a:rPr lang="en-US" sz="900">
                  <a:solidFill>
                    <a:schemeClr val="tx1"/>
                  </a:solidFill>
                  <a:latin typeface="Segoe UI Semibold"/>
                  <a:cs typeface="Segoe UI" pitchFamily="34" charset="0"/>
                </a:rPr>
                <a:t>In-built Data</a:t>
              </a:r>
              <a:br>
                <a:rPr lang="en-US" sz="900">
                  <a:solidFill>
                    <a:schemeClr val="tx1"/>
                  </a:solidFill>
                  <a:latin typeface="Segoe UI Semibold"/>
                  <a:cs typeface="Segoe UI" pitchFamily="34" charset="0"/>
                </a:rPr>
              </a:br>
              <a:r>
                <a:rPr lang="en-US" sz="900">
                  <a:solidFill>
                    <a:schemeClr val="tx1"/>
                  </a:solidFill>
                  <a:latin typeface="Segoe UI Semibold"/>
                  <a:cs typeface="Segoe UI" pitchFamily="34" charset="0"/>
                </a:rPr>
                <a:t>Exfiltration Protection</a:t>
              </a:r>
            </a:p>
          </p:txBody>
        </p:sp>
        <p:sp>
          <p:nvSpPr>
            <p:cNvPr id="143" name="04R">
              <a:extLst>
                <a:ext uri="{FF2B5EF4-FFF2-40B4-BE49-F238E27FC236}">
                  <a16:creationId xmlns:a16="http://schemas.microsoft.com/office/drawing/2014/main" id="{7279D968-1513-4E28-8E0B-E0F5B8A6A6F8}"/>
                </a:ext>
              </a:extLst>
            </p:cNvPr>
            <p:cNvSpPr/>
            <p:nvPr/>
          </p:nvSpPr>
          <p:spPr bwMode="auto">
            <a:xfrm>
              <a:off x="7837488" y="5110646"/>
              <a:ext cx="3481388" cy="1158392"/>
            </a:xfrm>
            <a:prstGeom prst="rect">
              <a:avLst/>
            </a:prstGeom>
            <a:grp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99354"/>
              <a:r>
                <a:rPr lang="en-US" sz="900">
                  <a:solidFill>
                    <a:schemeClr val="tx1"/>
                  </a:solidFill>
                  <a:latin typeface="Segoe UI Semibold"/>
                  <a:cs typeface="Segoe UI" pitchFamily="34" charset="0"/>
                </a:rPr>
                <a:t>Predictable private IP addresses for PaaS resources </a:t>
              </a:r>
            </a:p>
          </p:txBody>
        </p:sp>
        <p:sp>
          <p:nvSpPr>
            <p:cNvPr id="144" name="04R">
              <a:extLst>
                <a:ext uri="{FF2B5EF4-FFF2-40B4-BE49-F238E27FC236}">
                  <a16:creationId xmlns:a16="http://schemas.microsoft.com/office/drawing/2014/main" id="{53CA28DE-2F96-487D-8AA3-36D32F150B90}"/>
                </a:ext>
              </a:extLst>
            </p:cNvPr>
            <p:cNvSpPr/>
            <p:nvPr/>
          </p:nvSpPr>
          <p:spPr bwMode="auto">
            <a:xfrm>
              <a:off x="11464132" y="5110646"/>
              <a:ext cx="3481388" cy="1158392"/>
            </a:xfrm>
            <a:prstGeom prst="rect">
              <a:avLst/>
            </a:prstGeom>
            <a:grpFill/>
            <a:ln w="15875">
              <a:solidFill>
                <a:srgbClr val="4D4D4D"/>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defTabSz="699354"/>
              <a:r>
                <a:rPr lang="en-US" sz="900">
                  <a:solidFill>
                    <a:schemeClr val="tx1"/>
                  </a:solidFill>
                  <a:latin typeface="Segoe UI Semibold"/>
                  <a:cs typeface="Segoe UI" pitchFamily="34" charset="0"/>
                </a:rPr>
                <a:t>Unified experience across PaaS, Customer Owned and marketplace Services</a:t>
              </a:r>
            </a:p>
          </p:txBody>
        </p:sp>
      </p:grpSp>
      <p:cxnSp>
        <p:nvCxnSpPr>
          <p:cNvPr id="74" name="Connector: Elbow 73">
            <a:extLst>
              <a:ext uri="{FF2B5EF4-FFF2-40B4-BE49-F238E27FC236}">
                <a16:creationId xmlns:a16="http://schemas.microsoft.com/office/drawing/2014/main" id="{1147DBEC-76E8-4589-8330-D1EB6003BFAA}"/>
              </a:ext>
            </a:extLst>
          </p:cNvPr>
          <p:cNvCxnSpPr>
            <a:cxnSpLocks/>
          </p:cNvCxnSpPr>
          <p:nvPr/>
        </p:nvCxnSpPr>
        <p:spPr>
          <a:xfrm flipV="1">
            <a:off x="5065602" y="1836154"/>
            <a:ext cx="253619" cy="1"/>
          </a:xfrm>
          <a:prstGeom prst="bentConnector3">
            <a:avLst>
              <a:gd name="adj1" fmla="val 39871"/>
            </a:avLst>
          </a:prstGeom>
          <a:ln w="15875">
            <a:solidFill>
              <a:schemeClr val="tx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657103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EF2969-7AA5-754D-806C-860B1F695C4D}"/>
              </a:ext>
            </a:extLst>
          </p:cNvPr>
          <p:cNvSpPr>
            <a:spLocks noGrp="1"/>
          </p:cNvSpPr>
          <p:nvPr>
            <p:ph type="body" sz="quarter" idx="13"/>
          </p:nvPr>
        </p:nvSpPr>
        <p:spPr>
          <a:xfrm>
            <a:off x="441198" y="1042421"/>
            <a:ext cx="5499340" cy="3882409"/>
          </a:xfrm>
        </p:spPr>
        <p:txBody>
          <a:bodyPr/>
          <a:lstStyle/>
          <a:p>
            <a:pPr algn="l"/>
            <a:r>
              <a:rPr lang="en-US"/>
              <a:t>Use Azure ExpressRoute to </a:t>
            </a:r>
            <a:r>
              <a:rPr lang="en-US">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rPr>
              <a:t>create private connections between Azure data centers and infrastructure on your environment</a:t>
            </a:r>
            <a:r>
              <a:rPr lang="en-US"/>
              <a:t>. ExpressRoute connections don’t go over </a:t>
            </a:r>
            <a:br>
              <a:rPr lang="en-US"/>
            </a:br>
            <a:r>
              <a:rPr lang="en-US"/>
              <a:t>the public Internet, and they offer more reliability, faster speeds and lower latencies than typical Internet connections</a:t>
            </a:r>
          </a:p>
          <a:p>
            <a:pPr algn="l"/>
            <a:endParaRPr lang="en-US"/>
          </a:p>
        </p:txBody>
      </p:sp>
      <p:sp>
        <p:nvSpPr>
          <p:cNvPr id="3" name="Title 2">
            <a:extLst>
              <a:ext uri="{FF2B5EF4-FFF2-40B4-BE49-F238E27FC236}">
                <a16:creationId xmlns:a16="http://schemas.microsoft.com/office/drawing/2014/main" id="{13C13D13-300D-AC4A-A9AD-C1A8989DF79A}"/>
              </a:ext>
            </a:extLst>
          </p:cNvPr>
          <p:cNvSpPr>
            <a:spLocks noGrp="1"/>
          </p:cNvSpPr>
          <p:nvPr>
            <p:ph type="title"/>
          </p:nvPr>
        </p:nvSpPr>
        <p:spPr/>
        <p:txBody>
          <a:bodyPr/>
          <a:lstStyle/>
          <a:p>
            <a:r>
              <a:rPr lang="en-AU"/>
              <a:t>What is Azure ExpressRoute?</a:t>
            </a:r>
            <a:endParaRPr lang="en-US"/>
          </a:p>
        </p:txBody>
      </p:sp>
      <p:pic>
        <p:nvPicPr>
          <p:cNvPr id="11" name="Content Placeholder 10" descr="Azure Express Route logo">
            <a:extLst>
              <a:ext uri="{FF2B5EF4-FFF2-40B4-BE49-F238E27FC236}">
                <a16:creationId xmlns:a16="http://schemas.microsoft.com/office/drawing/2014/main" id="{BC86F651-B50C-ED43-BA09-FA2A5CEA7CCF}"/>
              </a:ext>
            </a:extLst>
          </p:cNvPr>
          <p:cNvPicPr>
            <a:picLocks noGrp="1" noChangeAspect="1"/>
          </p:cNvPicPr>
          <p:nvPr>
            <p:ph sz="quarter" idx="36"/>
          </p:nvPr>
        </p:nvPicPr>
        <p:blipFill>
          <a:blip r:embed="rId3"/>
          <a:stretch>
            <a:fillRect/>
          </a:stretch>
        </p:blipFill>
        <p:spPr>
          <a:xfrm>
            <a:off x="6929438" y="1944290"/>
            <a:ext cx="1829991" cy="1829991"/>
          </a:xfrm>
        </p:spPr>
      </p:pic>
    </p:spTree>
    <p:extLst>
      <p:ext uri="{BB962C8B-B14F-4D97-AF65-F5344CB8AC3E}">
        <p14:creationId xmlns:p14="http://schemas.microsoft.com/office/powerpoint/2010/main" val="364007992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Rectangle 137">
            <a:extLst>
              <a:ext uri="{FF2B5EF4-FFF2-40B4-BE49-F238E27FC236}">
                <a16:creationId xmlns:a16="http://schemas.microsoft.com/office/drawing/2014/main" id="{BBDA5625-06CC-41F0-A923-8A33BF2A01FB}"/>
              </a:ext>
            </a:extLst>
          </p:cNvPr>
          <p:cNvSpPr/>
          <p:nvPr/>
        </p:nvSpPr>
        <p:spPr>
          <a:xfrm>
            <a:off x="0" y="0"/>
            <a:ext cx="4424082" cy="5143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5" eaLnBrk="1" fontAlgn="auto" hangingPunct="1">
              <a:spcBef>
                <a:spcPts val="0"/>
              </a:spcBef>
              <a:spcAft>
                <a:spcPts val="0"/>
              </a:spcAft>
            </a:pPr>
            <a:endParaRPr lang="en-US" sz="1324">
              <a:solidFill>
                <a:srgbClr val="FFFFFF"/>
              </a:solidFill>
              <a:latin typeface="Segoe UI"/>
            </a:endParaRPr>
          </a:p>
        </p:txBody>
      </p:sp>
      <p:sp>
        <p:nvSpPr>
          <p:cNvPr id="2" name="Title 1">
            <a:extLst>
              <a:ext uri="{FF2B5EF4-FFF2-40B4-BE49-F238E27FC236}">
                <a16:creationId xmlns:a16="http://schemas.microsoft.com/office/drawing/2014/main" id="{D6D12DCB-E81A-4140-B623-995891CAB9EC}"/>
              </a:ext>
            </a:extLst>
          </p:cNvPr>
          <p:cNvSpPr>
            <a:spLocks noGrp="1"/>
          </p:cNvSpPr>
          <p:nvPr>
            <p:ph type="title"/>
          </p:nvPr>
        </p:nvSpPr>
        <p:spPr/>
        <p:txBody>
          <a:bodyPr/>
          <a:lstStyle/>
          <a:p>
            <a:r>
              <a:rPr lang="en-US" dirty="0">
                <a:solidFill>
                  <a:schemeClr val="bg1"/>
                </a:solidFill>
              </a:rPr>
              <a:t>User defined routes</a:t>
            </a:r>
          </a:p>
        </p:txBody>
      </p:sp>
      <p:sp>
        <p:nvSpPr>
          <p:cNvPr id="3" name="TextBox 2">
            <a:extLst>
              <a:ext uri="{FF2B5EF4-FFF2-40B4-BE49-F238E27FC236}">
                <a16:creationId xmlns:a16="http://schemas.microsoft.com/office/drawing/2014/main" id="{064030F6-24A2-4719-B316-15FE35772FEA}"/>
              </a:ext>
            </a:extLst>
          </p:cNvPr>
          <p:cNvSpPr txBox="1"/>
          <p:nvPr/>
        </p:nvSpPr>
        <p:spPr>
          <a:xfrm>
            <a:off x="430305" y="1438836"/>
            <a:ext cx="3993777" cy="3416320"/>
          </a:xfrm>
          <a:prstGeom prst="rect">
            <a:avLst/>
          </a:prstGeom>
          <a:noFill/>
        </p:spPr>
        <p:txBody>
          <a:bodyPr wrap="square" rtlCol="0">
            <a:spAutoFit/>
          </a:bodyPr>
          <a:lstStyle/>
          <a:p>
            <a:pPr marL="214313" indent="-214313" defTabSz="685775" eaLnBrk="1" fontAlgn="auto" hangingPunct="1">
              <a:spcBef>
                <a:spcPts val="0"/>
              </a:spcBef>
              <a:spcAft>
                <a:spcPts val="0"/>
              </a:spcAft>
              <a:buFont typeface="Arial" panose="020B0604020202020204" pitchFamily="34" charset="0"/>
              <a:buChar char="•"/>
            </a:pPr>
            <a:r>
              <a:rPr lang="en-US" sz="2700" dirty="0">
                <a:solidFill>
                  <a:srgbClr val="FFFFFF"/>
                </a:solidFill>
                <a:latin typeface="Segoe UI"/>
              </a:rPr>
              <a:t>Administrators can change default routing behavior</a:t>
            </a:r>
          </a:p>
          <a:p>
            <a:pPr marL="214313" indent="-214313" defTabSz="685775" eaLnBrk="1" fontAlgn="auto" hangingPunct="1">
              <a:spcBef>
                <a:spcPts val="0"/>
              </a:spcBef>
              <a:spcAft>
                <a:spcPts val="0"/>
              </a:spcAft>
              <a:buFont typeface="Arial" panose="020B0604020202020204" pitchFamily="34" charset="0"/>
              <a:buChar char="•"/>
            </a:pPr>
            <a:r>
              <a:rPr lang="en-US" sz="2700" dirty="0">
                <a:solidFill>
                  <a:srgbClr val="FFFFFF"/>
                </a:solidFill>
                <a:latin typeface="Segoe UI"/>
              </a:rPr>
              <a:t>Routing can be configured to direct traffic through devices such as Virtual Firewalls to create a DMZ</a:t>
            </a:r>
          </a:p>
        </p:txBody>
      </p:sp>
      <p:pic>
        <p:nvPicPr>
          <p:cNvPr id="6" name="Picture 5">
            <a:extLst>
              <a:ext uri="{FF2B5EF4-FFF2-40B4-BE49-F238E27FC236}">
                <a16:creationId xmlns:a16="http://schemas.microsoft.com/office/drawing/2014/main" id="{85FB220C-D5F1-4D81-AAA6-440F5D6332D3}"/>
              </a:ext>
            </a:extLst>
          </p:cNvPr>
          <p:cNvPicPr>
            <a:picLocks noChangeAspect="1"/>
          </p:cNvPicPr>
          <p:nvPr/>
        </p:nvPicPr>
        <p:blipFill>
          <a:blip r:embed="rId2"/>
          <a:stretch>
            <a:fillRect/>
          </a:stretch>
        </p:blipFill>
        <p:spPr>
          <a:xfrm>
            <a:off x="5338912" y="690666"/>
            <a:ext cx="3331079" cy="4205962"/>
          </a:xfrm>
          <a:prstGeom prst="rect">
            <a:avLst/>
          </a:prstGeom>
        </p:spPr>
      </p:pic>
    </p:spTree>
    <p:extLst>
      <p:ext uri="{BB962C8B-B14F-4D97-AF65-F5344CB8AC3E}">
        <p14:creationId xmlns:p14="http://schemas.microsoft.com/office/powerpoint/2010/main" val="32434353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AA890A36-61F0-48EC-82D4-7255A6CFC182}"/>
              </a:ext>
            </a:extLst>
          </p:cNvPr>
          <p:cNvSpPr/>
          <p:nvPr/>
        </p:nvSpPr>
        <p:spPr>
          <a:xfrm>
            <a:off x="4557367" y="557478"/>
            <a:ext cx="4640345" cy="412651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FB9C3C7B-4DA2-4CFD-9C5F-1DB752F507CC}"/>
              </a:ext>
            </a:extLst>
          </p:cNvPr>
          <p:cNvGrpSpPr/>
          <p:nvPr/>
        </p:nvGrpSpPr>
        <p:grpSpPr>
          <a:xfrm>
            <a:off x="254443" y="264319"/>
            <a:ext cx="4390469" cy="4353725"/>
            <a:chOff x="339258" y="352425"/>
            <a:chExt cx="5461467" cy="5804966"/>
          </a:xfrm>
        </p:grpSpPr>
        <p:sp>
          <p:nvSpPr>
            <p:cNvPr id="43" name="Title 2">
              <a:extLst>
                <a:ext uri="{FF2B5EF4-FFF2-40B4-BE49-F238E27FC236}">
                  <a16:creationId xmlns:a16="http://schemas.microsoft.com/office/drawing/2014/main" id="{1AC8DCD5-7336-4144-BD62-6B176A569E3E}"/>
                </a:ext>
              </a:extLst>
            </p:cNvPr>
            <p:cNvSpPr txBox="1">
              <a:spLocks/>
            </p:cNvSpPr>
            <p:nvPr/>
          </p:nvSpPr>
          <p:spPr>
            <a:xfrm>
              <a:off x="588263" y="895350"/>
              <a:ext cx="5212462" cy="492443"/>
            </a:xfrm>
            <a:prstGeom prst="rect">
              <a:avLst/>
            </a:prstGeom>
          </p:spPr>
          <p:txBody>
            <a:bodyPr lIns="0" tIns="0" rIns="0" bIns="0"/>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defTabSz="699557" fontAlgn="auto">
                <a:spcAft>
                  <a:spcPts val="0"/>
                </a:spcAft>
                <a:defRPr/>
              </a:pPr>
              <a:r>
                <a:rPr lang="en-US" sz="2400" spc="-38" dirty="0">
                  <a:solidFill>
                    <a:schemeClr val="accent1"/>
                  </a:solidFill>
                  <a:latin typeface="Segoe UI Semibold"/>
                </a:rPr>
                <a:t>Azure Bastion</a:t>
              </a:r>
            </a:p>
          </p:txBody>
        </p:sp>
        <p:sp>
          <p:nvSpPr>
            <p:cNvPr id="45" name="Rectangle 44">
              <a:extLst>
                <a:ext uri="{FF2B5EF4-FFF2-40B4-BE49-F238E27FC236}">
                  <a16:creationId xmlns:a16="http://schemas.microsoft.com/office/drawing/2014/main" id="{2D794782-2B60-43A1-81C6-58D6CDB1F23F}"/>
                </a:ext>
              </a:extLst>
            </p:cNvPr>
            <p:cNvSpPr/>
            <p:nvPr/>
          </p:nvSpPr>
          <p:spPr>
            <a:xfrm>
              <a:off x="588263" y="1442197"/>
              <a:ext cx="4431412" cy="492443"/>
            </a:xfrm>
            <a:prstGeom prst="rect">
              <a:avLst/>
            </a:prstGeom>
          </p:spPr>
          <p:txBody>
            <a:bodyPr wrap="square" lIns="0" tIns="0" rIns="0" bIns="0">
              <a:spAutoFit/>
            </a:bodyPr>
            <a:lstStyle/>
            <a:p>
              <a:pPr defTabSz="685775" eaLnBrk="1" fontAlgn="auto" hangingPunct="1">
                <a:spcBef>
                  <a:spcPts val="0"/>
                </a:spcBef>
                <a:spcAft>
                  <a:spcPts val="0"/>
                </a:spcAft>
                <a:defRPr/>
              </a:pPr>
              <a:r>
                <a:rPr lang="en-US" sz="1200" dirty="0">
                  <a:ln w="3175">
                    <a:noFill/>
                  </a:ln>
                  <a:latin typeface="Segoe UI Semibold"/>
                  <a:cs typeface="Segoe UI" pitchFamily="34" charset="0"/>
                </a:rPr>
                <a:t>Secure and seamless RDP and SSH access to your virtual machines using zero trust</a:t>
              </a:r>
            </a:p>
          </p:txBody>
        </p:sp>
        <p:sp>
          <p:nvSpPr>
            <p:cNvPr id="51" name="Text Placeholder 1">
              <a:extLst>
                <a:ext uri="{FF2B5EF4-FFF2-40B4-BE49-F238E27FC236}">
                  <a16:creationId xmlns:a16="http://schemas.microsoft.com/office/drawing/2014/main" id="{5AE21D7A-5717-4B73-BA2F-64F7A998D602}"/>
                </a:ext>
              </a:extLst>
            </p:cNvPr>
            <p:cNvSpPr txBox="1">
              <a:spLocks/>
            </p:cNvSpPr>
            <p:nvPr/>
          </p:nvSpPr>
          <p:spPr>
            <a:xfrm>
              <a:off x="495763" y="2258889"/>
              <a:ext cx="5035355" cy="3898502"/>
            </a:xfrm>
            <a:prstGeom prst="rect">
              <a:avLst/>
            </a:prstGeom>
          </p:spPr>
          <p:txBody>
            <a:bodyPr wrap="square" lIns="0" tIns="0" rIns="0" bIns="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699557">
                <a:spcBef>
                  <a:spcPts val="900"/>
                </a:spcBef>
                <a:spcAft>
                  <a:spcPts val="225"/>
                </a:spcAft>
                <a:buNone/>
                <a:defRPr/>
              </a:pPr>
              <a:r>
                <a:rPr lang="en-US" sz="1350" dirty="0">
                  <a:solidFill>
                    <a:schemeClr val="tx1"/>
                  </a:solidFill>
                  <a:latin typeface="Segoe UI" panose="020B0502040204020203" pitchFamily="34" charset="0"/>
                </a:rPr>
                <a:t>RDP/SSH to your workload using HTML5 standards-based web-browser, directly in Azure Portal</a:t>
              </a:r>
            </a:p>
            <a:p>
              <a:pPr marL="0" indent="0">
                <a:spcBef>
                  <a:spcPts val="900"/>
                </a:spcBef>
                <a:spcAft>
                  <a:spcPts val="225"/>
                </a:spcAft>
                <a:buNone/>
                <a:defRPr/>
              </a:pPr>
              <a:endParaRPr lang="en-US" sz="1350" dirty="0">
                <a:solidFill>
                  <a:schemeClr val="tx1"/>
                </a:solidFill>
                <a:latin typeface="Segoe UI" panose="020B0502040204020203" pitchFamily="34" charset="0"/>
              </a:endParaRPr>
            </a:p>
            <a:p>
              <a:pPr marL="0" indent="0">
                <a:spcBef>
                  <a:spcPts val="900"/>
                </a:spcBef>
                <a:spcAft>
                  <a:spcPts val="225"/>
                </a:spcAft>
                <a:buNone/>
                <a:defRPr/>
              </a:pPr>
              <a:r>
                <a:rPr lang="en-US" sz="1350" dirty="0">
                  <a:solidFill>
                    <a:schemeClr val="tx1"/>
                  </a:solidFill>
                  <a:latin typeface="Segoe UI" panose="020B0502040204020203" pitchFamily="34" charset="0"/>
                </a:rPr>
                <a:t>Resources can be accessed without public IP addresses</a:t>
              </a:r>
            </a:p>
            <a:p>
              <a:pPr marL="0" indent="0">
                <a:spcBef>
                  <a:spcPts val="900"/>
                </a:spcBef>
                <a:spcAft>
                  <a:spcPts val="225"/>
                </a:spcAft>
                <a:buNone/>
                <a:defRPr/>
              </a:pPr>
              <a:endParaRPr lang="en-US" sz="1350" dirty="0">
                <a:solidFill>
                  <a:schemeClr val="tx1"/>
                </a:solidFill>
                <a:latin typeface="Segoe UI" panose="020B0502040204020203" pitchFamily="34" charset="0"/>
              </a:endParaRPr>
            </a:p>
            <a:p>
              <a:pPr marL="0" indent="0">
                <a:spcBef>
                  <a:spcPts val="900"/>
                </a:spcBef>
                <a:spcAft>
                  <a:spcPts val="225"/>
                </a:spcAft>
                <a:buNone/>
                <a:defRPr/>
              </a:pPr>
              <a:r>
                <a:rPr lang="en-US" sz="1350" dirty="0">
                  <a:solidFill>
                    <a:schemeClr val="tx1"/>
                  </a:solidFill>
                  <a:latin typeface="Segoe UI" panose="020B0502040204020203" pitchFamily="34" charset="0"/>
                </a:rPr>
                <a:t>Supported Azure resources include VMs, VM Scale Sets, Dev-Test Labs</a:t>
              </a:r>
            </a:p>
            <a:p>
              <a:pPr marL="0" indent="0">
                <a:spcBef>
                  <a:spcPts val="900"/>
                </a:spcBef>
                <a:spcAft>
                  <a:spcPts val="225"/>
                </a:spcAft>
                <a:buNone/>
                <a:defRPr/>
              </a:pPr>
              <a:endParaRPr lang="en-US" sz="1350" dirty="0">
                <a:solidFill>
                  <a:schemeClr val="tx1"/>
                </a:solidFill>
                <a:latin typeface="Segoe UI" panose="020B0502040204020203" pitchFamily="34" charset="0"/>
              </a:endParaRPr>
            </a:p>
            <a:p>
              <a:pPr marL="0" indent="0">
                <a:spcBef>
                  <a:spcPts val="900"/>
                </a:spcBef>
                <a:spcAft>
                  <a:spcPts val="225"/>
                </a:spcAft>
                <a:buNone/>
                <a:defRPr/>
              </a:pPr>
              <a:r>
                <a:rPr lang="en-US" sz="1350" dirty="0">
                  <a:solidFill>
                    <a:schemeClr val="tx1"/>
                  </a:solidFill>
                  <a:latin typeface="Segoe UI" panose="020B0502040204020203" pitchFamily="34" charset="0"/>
                </a:rPr>
                <a:t>No agent required</a:t>
              </a:r>
            </a:p>
          </p:txBody>
        </p:sp>
        <p:pic>
          <p:nvPicPr>
            <p:cNvPr id="62" name="Picture 61" descr="A picture containing knife&#10;&#10;Description automatically generated">
              <a:extLst>
                <a:ext uri="{FF2B5EF4-FFF2-40B4-BE49-F238E27FC236}">
                  <a16:creationId xmlns:a16="http://schemas.microsoft.com/office/drawing/2014/main" id="{70ACC022-15F5-486A-855A-806C3AC2C681}"/>
                </a:ext>
              </a:extLst>
            </p:cNvPr>
            <p:cNvPicPr>
              <a:picLocks noChangeAspect="1"/>
            </p:cNvPicPr>
            <p:nvPr/>
          </p:nvPicPr>
          <p:blipFill>
            <a:blip r:embed="rId2"/>
            <a:stretch>
              <a:fillRect/>
            </a:stretch>
          </p:blipFill>
          <p:spPr>
            <a:xfrm>
              <a:off x="339258" y="352425"/>
              <a:ext cx="908606" cy="523875"/>
            </a:xfrm>
            <a:prstGeom prst="rect">
              <a:avLst/>
            </a:prstGeom>
          </p:spPr>
        </p:pic>
      </p:grpSp>
      <p:grpSp>
        <p:nvGrpSpPr>
          <p:cNvPr id="3" name="Group 2">
            <a:extLst>
              <a:ext uri="{FF2B5EF4-FFF2-40B4-BE49-F238E27FC236}">
                <a16:creationId xmlns:a16="http://schemas.microsoft.com/office/drawing/2014/main" id="{3DF5FC08-1416-41EC-830C-DE5FF2F24B8F}"/>
              </a:ext>
            </a:extLst>
          </p:cNvPr>
          <p:cNvGrpSpPr/>
          <p:nvPr/>
        </p:nvGrpSpPr>
        <p:grpSpPr>
          <a:xfrm>
            <a:off x="4526016" y="648851"/>
            <a:ext cx="4402612" cy="3873244"/>
            <a:chOff x="5931325" y="865134"/>
            <a:chExt cx="5870149" cy="5164325"/>
          </a:xfrm>
        </p:grpSpPr>
        <p:sp>
          <p:nvSpPr>
            <p:cNvPr id="6" name="Rectangle 5">
              <a:extLst>
                <a:ext uri="{FF2B5EF4-FFF2-40B4-BE49-F238E27FC236}">
                  <a16:creationId xmlns:a16="http://schemas.microsoft.com/office/drawing/2014/main" id="{C67AE30E-F056-4C07-BB84-15D172D593E4}"/>
                </a:ext>
              </a:extLst>
            </p:cNvPr>
            <p:cNvSpPr/>
            <p:nvPr/>
          </p:nvSpPr>
          <p:spPr>
            <a:xfrm>
              <a:off x="10239926" y="1339782"/>
              <a:ext cx="1235720" cy="3824825"/>
            </a:xfrm>
            <a:prstGeom prst="rect">
              <a:avLst/>
            </a:prstGeom>
            <a:solidFill>
              <a:schemeClr val="bg1"/>
            </a:solid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0" numCol="1" rtlCol="0" anchor="b" anchorCtr="0" compatLnSpc="1">
              <a:prstTxWarp prst="textNoShape">
                <a:avLst/>
              </a:prstTxWarp>
            </a:bodyPr>
            <a:lstStyle/>
            <a:p>
              <a:pPr algn="ctr" defTabSz="699354" eaLnBrk="1" hangingPunct="1">
                <a:defRPr/>
              </a:pPr>
              <a:endParaRPr lang="en-US" sz="1050" b="1">
                <a:solidFill>
                  <a:srgbClr val="FFFFFF"/>
                </a:solidFill>
                <a:latin typeface="Segoe UI"/>
              </a:endParaRPr>
            </a:p>
          </p:txBody>
        </p:sp>
        <p:sp>
          <p:nvSpPr>
            <p:cNvPr id="7" name="Rectangle 6">
              <a:extLst>
                <a:ext uri="{FF2B5EF4-FFF2-40B4-BE49-F238E27FC236}">
                  <a16:creationId xmlns:a16="http://schemas.microsoft.com/office/drawing/2014/main" id="{982C9E86-B9BA-463E-906F-FD4DEC6A1588}"/>
                </a:ext>
              </a:extLst>
            </p:cNvPr>
            <p:cNvSpPr/>
            <p:nvPr/>
          </p:nvSpPr>
          <p:spPr>
            <a:xfrm>
              <a:off x="5931325" y="3751984"/>
              <a:ext cx="1422056" cy="338555"/>
            </a:xfrm>
            <a:prstGeom prst="rect">
              <a:avLst/>
            </a:prstGeom>
          </p:spPr>
          <p:txBody>
            <a:bodyPr wrap="square">
              <a:spAutoFit/>
            </a:bodyPr>
            <a:lstStyle/>
            <a:p>
              <a:pPr algn="ctr" defTabSz="685800" eaLnBrk="1" fontAlgn="auto" hangingPunct="1">
                <a:spcBef>
                  <a:spcPts val="0"/>
                </a:spcBef>
                <a:spcAft>
                  <a:spcPts val="0"/>
                </a:spcAft>
                <a:defRPr/>
              </a:pPr>
              <a:r>
                <a:rPr lang="en-US" sz="1050">
                  <a:solidFill>
                    <a:srgbClr val="FFFFFF"/>
                  </a:solidFill>
                  <a:latin typeface="Segoe UI Semibold"/>
                  <a:cs typeface="Segoe UI" panose="020B0502040204020203" pitchFamily="34" charset="0"/>
                </a:rPr>
                <a:t>Azure Portal</a:t>
              </a:r>
            </a:p>
          </p:txBody>
        </p:sp>
        <p:sp>
          <p:nvSpPr>
            <p:cNvPr id="8" name="Rectangle 7">
              <a:extLst>
                <a:ext uri="{FF2B5EF4-FFF2-40B4-BE49-F238E27FC236}">
                  <a16:creationId xmlns:a16="http://schemas.microsoft.com/office/drawing/2014/main" id="{6C7EA00E-CEAB-4A9E-B76F-460663F45F5F}"/>
                </a:ext>
              </a:extLst>
            </p:cNvPr>
            <p:cNvSpPr/>
            <p:nvPr/>
          </p:nvSpPr>
          <p:spPr>
            <a:xfrm>
              <a:off x="8199550" y="2804269"/>
              <a:ext cx="1533736" cy="769441"/>
            </a:xfrm>
            <a:prstGeom prst="rect">
              <a:avLst/>
            </a:prstGeom>
          </p:spPr>
          <p:txBody>
            <a:bodyPr wrap="square">
              <a:spAutoFit/>
            </a:bodyPr>
            <a:lstStyle/>
            <a:p>
              <a:pPr algn="r" defTabSz="685800" eaLnBrk="1" fontAlgn="auto" hangingPunct="1">
                <a:spcBef>
                  <a:spcPts val="0"/>
                </a:spcBef>
                <a:spcAft>
                  <a:spcPts val="0"/>
                </a:spcAft>
                <a:defRPr/>
              </a:pPr>
              <a:r>
                <a:rPr lang="en-US" sz="1050" dirty="0">
                  <a:latin typeface="Segoe UI" panose="020B0502040204020203" pitchFamily="34" charset="0"/>
                  <a:cs typeface="Segoe UI" panose="020B0502040204020203" pitchFamily="34" charset="0"/>
                </a:rPr>
                <a:t>Remote Protocol </a:t>
              </a:r>
            </a:p>
            <a:p>
              <a:pPr algn="r" defTabSz="685800" eaLnBrk="1" fontAlgn="auto" hangingPunct="1">
                <a:spcBef>
                  <a:spcPts val="0"/>
                </a:spcBef>
                <a:spcAft>
                  <a:spcPts val="0"/>
                </a:spcAft>
                <a:defRPr/>
              </a:pPr>
              <a:r>
                <a:rPr lang="en-US" sz="1050" dirty="0">
                  <a:latin typeface="Segoe UI" panose="020B0502040204020203" pitchFamily="34" charset="0"/>
                  <a:cs typeface="Segoe UI" panose="020B0502040204020203" pitchFamily="34" charset="0"/>
                </a:rPr>
                <a:t>(RDP, SSH, et al)</a:t>
              </a:r>
            </a:p>
          </p:txBody>
        </p:sp>
        <p:sp>
          <p:nvSpPr>
            <p:cNvPr id="9" name="Rectangle 8">
              <a:extLst>
                <a:ext uri="{FF2B5EF4-FFF2-40B4-BE49-F238E27FC236}">
                  <a16:creationId xmlns:a16="http://schemas.microsoft.com/office/drawing/2014/main" id="{90B5CB2E-DDA0-48D5-8F9F-9B886CE7C729}"/>
                </a:ext>
              </a:extLst>
            </p:cNvPr>
            <p:cNvSpPr/>
            <p:nvPr/>
          </p:nvSpPr>
          <p:spPr>
            <a:xfrm>
              <a:off x="6810762" y="4247592"/>
              <a:ext cx="540288" cy="338555"/>
            </a:xfrm>
            <a:prstGeom prst="rect">
              <a:avLst/>
            </a:prstGeom>
          </p:spPr>
          <p:txBody>
            <a:bodyPr wrap="square">
              <a:spAutoFit/>
            </a:bodyPr>
            <a:lstStyle/>
            <a:p>
              <a:pPr algn="ctr" defTabSz="685800" eaLnBrk="1" fontAlgn="auto" hangingPunct="1">
                <a:spcBef>
                  <a:spcPts val="0"/>
                </a:spcBef>
                <a:spcAft>
                  <a:spcPts val="0"/>
                </a:spcAft>
                <a:defRPr/>
              </a:pPr>
              <a:r>
                <a:rPr lang="en-US" sz="1050" dirty="0">
                  <a:solidFill>
                    <a:srgbClr val="FFFFFF"/>
                  </a:solidFill>
                  <a:latin typeface="Segoe UI Semibold"/>
                  <a:cs typeface="Segoe UI" panose="020B0502040204020203" pitchFamily="34" charset="0"/>
                </a:rPr>
                <a:t>SSL</a:t>
              </a:r>
            </a:p>
          </p:txBody>
        </p:sp>
        <p:sp>
          <p:nvSpPr>
            <p:cNvPr id="11" name="Rectangle 10">
              <a:extLst>
                <a:ext uri="{FF2B5EF4-FFF2-40B4-BE49-F238E27FC236}">
                  <a16:creationId xmlns:a16="http://schemas.microsoft.com/office/drawing/2014/main" id="{F62216B6-4501-41B4-A60E-5CC758D69D9C}"/>
                </a:ext>
              </a:extLst>
            </p:cNvPr>
            <p:cNvSpPr/>
            <p:nvPr/>
          </p:nvSpPr>
          <p:spPr>
            <a:xfrm>
              <a:off x="6665488" y="4543170"/>
              <a:ext cx="830688" cy="769441"/>
            </a:xfrm>
            <a:prstGeom prst="rect">
              <a:avLst/>
            </a:prstGeom>
          </p:spPr>
          <p:txBody>
            <a:bodyPr wrap="square">
              <a:spAutoFit/>
            </a:bodyPr>
            <a:lstStyle/>
            <a:p>
              <a:pPr algn="ctr" defTabSz="685800" eaLnBrk="1" fontAlgn="auto" hangingPunct="1">
                <a:spcBef>
                  <a:spcPts val="0"/>
                </a:spcBef>
                <a:spcAft>
                  <a:spcPts val="0"/>
                </a:spcAft>
                <a:defRPr/>
              </a:pPr>
              <a:r>
                <a:rPr lang="en-US" sz="1050" dirty="0">
                  <a:latin typeface="Segoe UI Semibold"/>
                  <a:cs typeface="Segoe UI" panose="020B0502040204020203" pitchFamily="34" charset="0"/>
                </a:rPr>
                <a:t>443, </a:t>
              </a:r>
              <a:br>
                <a:rPr lang="en-US" sz="1050" dirty="0">
                  <a:latin typeface="Segoe UI Semibold"/>
                  <a:cs typeface="Segoe UI" panose="020B0502040204020203" pitchFamily="34" charset="0"/>
                </a:rPr>
              </a:br>
              <a:r>
                <a:rPr lang="en-US" sz="1050" dirty="0">
                  <a:latin typeface="Segoe UI Semibold"/>
                  <a:cs typeface="Segoe UI" panose="020B0502040204020203" pitchFamily="34" charset="0"/>
                </a:rPr>
                <a:t>Internet</a:t>
              </a:r>
            </a:p>
          </p:txBody>
        </p:sp>
        <p:sp>
          <p:nvSpPr>
            <p:cNvPr id="12" name="TextBox 11">
              <a:extLst>
                <a:ext uri="{FF2B5EF4-FFF2-40B4-BE49-F238E27FC236}">
                  <a16:creationId xmlns:a16="http://schemas.microsoft.com/office/drawing/2014/main" id="{5309B331-7DD9-49C6-8A58-FC094C12B591}"/>
                </a:ext>
              </a:extLst>
            </p:cNvPr>
            <p:cNvSpPr txBox="1"/>
            <p:nvPr/>
          </p:nvSpPr>
          <p:spPr>
            <a:xfrm>
              <a:off x="7867877" y="5285492"/>
              <a:ext cx="1719868" cy="21544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sz="1050" dirty="0" err="1">
                  <a:latin typeface="Segoe UI Semibold"/>
                  <a:cs typeface="Segoe UI" panose="020B0502040204020203" pitchFamily="34" charset="0"/>
                </a:rPr>
                <a:t>AzureBastionSubnet</a:t>
              </a:r>
              <a:endParaRPr lang="en-US" sz="1050" dirty="0">
                <a:latin typeface="Segoe UI Semibold"/>
                <a:cs typeface="Segoe UI" panose="020B0502040204020203" pitchFamily="34" charset="0"/>
              </a:endParaRPr>
            </a:p>
          </p:txBody>
        </p:sp>
        <p:pic>
          <p:nvPicPr>
            <p:cNvPr id="14" name="Graphic 13">
              <a:extLst>
                <a:ext uri="{FF2B5EF4-FFF2-40B4-BE49-F238E27FC236}">
                  <a16:creationId xmlns:a16="http://schemas.microsoft.com/office/drawing/2014/main" id="{18B88D5C-5D4E-4306-ABC3-C3796331B99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171716" y="3038772"/>
              <a:ext cx="911080" cy="911078"/>
            </a:xfrm>
            <a:prstGeom prst="rect">
              <a:avLst/>
            </a:prstGeom>
          </p:spPr>
        </p:pic>
        <p:sp>
          <p:nvSpPr>
            <p:cNvPr id="15" name="Rectangle 14">
              <a:extLst>
                <a:ext uri="{FF2B5EF4-FFF2-40B4-BE49-F238E27FC236}">
                  <a16:creationId xmlns:a16="http://schemas.microsoft.com/office/drawing/2014/main" id="{0F6CA84E-F721-4579-9202-2820C62B90BA}"/>
                </a:ext>
              </a:extLst>
            </p:cNvPr>
            <p:cNvSpPr/>
            <p:nvPr/>
          </p:nvSpPr>
          <p:spPr>
            <a:xfrm>
              <a:off x="7760926" y="1704891"/>
              <a:ext cx="1972360" cy="553997"/>
            </a:xfrm>
            <a:prstGeom prst="rect">
              <a:avLst/>
            </a:prstGeom>
          </p:spPr>
          <p:txBody>
            <a:bodyPr wrap="square">
              <a:spAutoFit/>
            </a:bodyPr>
            <a:lstStyle/>
            <a:p>
              <a:pPr algn="r" defTabSz="685800" eaLnBrk="1" fontAlgn="auto" hangingPunct="1">
                <a:spcBef>
                  <a:spcPts val="0"/>
                </a:spcBef>
                <a:spcAft>
                  <a:spcPts val="0"/>
                </a:spcAft>
                <a:defRPr/>
              </a:pPr>
              <a:r>
                <a:rPr lang="en-US" sz="1050" dirty="0">
                  <a:latin typeface="Segoe UI" panose="020B0502040204020203" pitchFamily="34" charset="0"/>
                  <a:cs typeface="Segoe UI" panose="020B0502040204020203" pitchFamily="34" charset="0"/>
                </a:rPr>
                <a:t>Port: 3389/22</a:t>
              </a:r>
            </a:p>
            <a:p>
              <a:pPr algn="r" defTabSz="685800" eaLnBrk="1" fontAlgn="auto" hangingPunct="1">
                <a:spcBef>
                  <a:spcPts val="0"/>
                </a:spcBef>
                <a:spcAft>
                  <a:spcPts val="0"/>
                </a:spcAft>
                <a:defRPr/>
              </a:pPr>
              <a:r>
                <a:rPr lang="en-US" sz="1050" dirty="0">
                  <a:latin typeface="Segoe UI" panose="020B0502040204020203" pitchFamily="34" charset="0"/>
                  <a:cs typeface="Segoe UI" panose="020B0502040204020203" pitchFamily="34" charset="0"/>
                </a:rPr>
                <a:t>“</a:t>
              </a:r>
              <a:r>
                <a:rPr lang="en-US" sz="1050" dirty="0" err="1">
                  <a:latin typeface="Segoe UI" panose="020B0502040204020203" pitchFamily="34" charset="0"/>
                  <a:cs typeface="Segoe UI" panose="020B0502040204020203" pitchFamily="34" charset="0"/>
                </a:rPr>
                <a:t>AzureBastionSubnet</a:t>
              </a:r>
              <a:r>
                <a:rPr lang="en-US" sz="1050" dirty="0">
                  <a:latin typeface="Segoe UI" panose="020B0502040204020203" pitchFamily="34" charset="0"/>
                  <a:cs typeface="Segoe UI" panose="020B0502040204020203" pitchFamily="34" charset="0"/>
                </a:rPr>
                <a:t>”</a:t>
              </a:r>
            </a:p>
          </p:txBody>
        </p:sp>
        <p:sp>
          <p:nvSpPr>
            <p:cNvPr id="17" name="Rectangle 16">
              <a:extLst>
                <a:ext uri="{FF2B5EF4-FFF2-40B4-BE49-F238E27FC236}">
                  <a16:creationId xmlns:a16="http://schemas.microsoft.com/office/drawing/2014/main" id="{8D4B807D-8BF7-4E5F-B92D-488A30534368}"/>
                </a:ext>
              </a:extLst>
            </p:cNvPr>
            <p:cNvSpPr/>
            <p:nvPr/>
          </p:nvSpPr>
          <p:spPr>
            <a:xfrm>
              <a:off x="7681195" y="981074"/>
              <a:ext cx="4120279" cy="4822141"/>
            </a:xfrm>
            <a:prstGeom prst="rect">
              <a:avLst/>
            </a:prstGeom>
            <a:ln w="25400" cap="rnd">
              <a:solidFill>
                <a:schemeClr val="tx1"/>
              </a:solidFill>
              <a:prstDash val="sysDot"/>
              <a:headEnd type="none" w="lg" len="lg"/>
              <a:tailEnd type="non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eaLnBrk="1" hangingPunct="1">
                <a:defRPr/>
              </a:pPr>
              <a:endParaRPr lang="en-US" sz="1050">
                <a:gradFill>
                  <a:gsLst>
                    <a:gs pos="0">
                      <a:srgbClr val="FFFFFF"/>
                    </a:gs>
                    <a:gs pos="100000">
                      <a:srgbClr val="FFFFFF"/>
                    </a:gs>
                  </a:gsLst>
                  <a:lin ang="5400000" scaled="0"/>
                </a:gradFill>
                <a:latin typeface="Segoe UI"/>
                <a:cs typeface="Segoe UI" pitchFamily="34" charset="0"/>
              </a:endParaRPr>
            </a:p>
          </p:txBody>
        </p:sp>
        <p:sp>
          <p:nvSpPr>
            <p:cNvPr id="18" name="Rectangle 17">
              <a:extLst>
                <a:ext uri="{FF2B5EF4-FFF2-40B4-BE49-F238E27FC236}">
                  <a16:creationId xmlns:a16="http://schemas.microsoft.com/office/drawing/2014/main" id="{ED6C3A67-A8C0-4189-853A-591C178D1A2B}"/>
                </a:ext>
              </a:extLst>
            </p:cNvPr>
            <p:cNvSpPr/>
            <p:nvPr/>
          </p:nvSpPr>
          <p:spPr>
            <a:xfrm>
              <a:off x="10656264" y="5670914"/>
              <a:ext cx="626100" cy="291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050">
                <a:solidFill>
                  <a:srgbClr val="FFFFFF"/>
                </a:solidFill>
                <a:latin typeface="Segoe UI"/>
              </a:endParaRPr>
            </a:p>
          </p:txBody>
        </p:sp>
        <p:sp>
          <p:nvSpPr>
            <p:cNvPr id="19" name="TextBox 18">
              <a:extLst>
                <a:ext uri="{FF2B5EF4-FFF2-40B4-BE49-F238E27FC236}">
                  <a16:creationId xmlns:a16="http://schemas.microsoft.com/office/drawing/2014/main" id="{6ACC9EF4-8A91-4AC4-B843-93154D9B4295}"/>
                </a:ext>
              </a:extLst>
            </p:cNvPr>
            <p:cNvSpPr txBox="1"/>
            <p:nvPr/>
          </p:nvSpPr>
          <p:spPr>
            <a:xfrm>
              <a:off x="9997851" y="5285492"/>
              <a:ext cx="1719868" cy="21544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sz="1050">
                  <a:solidFill>
                    <a:srgbClr val="FFFFFF"/>
                  </a:solidFill>
                  <a:latin typeface="Segoe UI Semibold"/>
                  <a:cs typeface="Segoe UI" panose="020B0502040204020203" pitchFamily="34" charset="0"/>
                </a:rPr>
                <a:t>Target VM Subnet(s)</a:t>
              </a:r>
            </a:p>
          </p:txBody>
        </p:sp>
        <p:sp>
          <p:nvSpPr>
            <p:cNvPr id="20" name="Rectangle 19">
              <a:extLst>
                <a:ext uri="{FF2B5EF4-FFF2-40B4-BE49-F238E27FC236}">
                  <a16:creationId xmlns:a16="http://schemas.microsoft.com/office/drawing/2014/main" id="{EF90267C-6E73-4DF8-9DFF-06D8B9C760B1}"/>
                </a:ext>
              </a:extLst>
            </p:cNvPr>
            <p:cNvSpPr/>
            <p:nvPr/>
          </p:nvSpPr>
          <p:spPr>
            <a:xfrm>
              <a:off x="8600252" y="1403749"/>
              <a:ext cx="1133035" cy="338555"/>
            </a:xfrm>
            <a:prstGeom prst="rect">
              <a:avLst/>
            </a:prstGeom>
          </p:spPr>
          <p:txBody>
            <a:bodyPr wrap="square">
              <a:spAutoFit/>
            </a:bodyPr>
            <a:lstStyle/>
            <a:p>
              <a:pPr algn="r" defTabSz="685800" eaLnBrk="1" fontAlgn="auto" hangingPunct="1">
                <a:spcBef>
                  <a:spcPts val="0"/>
                </a:spcBef>
                <a:spcAft>
                  <a:spcPts val="0"/>
                </a:spcAft>
                <a:defRPr/>
              </a:pPr>
              <a:r>
                <a:rPr lang="en-US" sz="1050" dirty="0">
                  <a:solidFill>
                    <a:srgbClr val="FFFFFF"/>
                  </a:solidFill>
                  <a:latin typeface="Segoe UI Semibold"/>
                  <a:cs typeface="Segoe UI" panose="020B0502040204020203" pitchFamily="34" charset="0"/>
                </a:rPr>
                <a:t>Private IP</a:t>
              </a:r>
            </a:p>
          </p:txBody>
        </p:sp>
        <p:grpSp>
          <p:nvGrpSpPr>
            <p:cNvPr id="21" name="Group 20">
              <a:extLst>
                <a:ext uri="{FF2B5EF4-FFF2-40B4-BE49-F238E27FC236}">
                  <a16:creationId xmlns:a16="http://schemas.microsoft.com/office/drawing/2014/main" id="{A9A31FC1-C194-40E7-B16A-061DE70DAAE9}"/>
                </a:ext>
              </a:extLst>
            </p:cNvPr>
            <p:cNvGrpSpPr/>
            <p:nvPr/>
          </p:nvGrpSpPr>
          <p:grpSpPr>
            <a:xfrm>
              <a:off x="10244494" y="1701278"/>
              <a:ext cx="1226584" cy="837214"/>
              <a:chOff x="10115392" y="1272653"/>
              <a:chExt cx="1226584" cy="837214"/>
            </a:xfrm>
          </p:grpSpPr>
          <p:sp>
            <p:nvSpPr>
              <p:cNvPr id="22" name="TextBox 21">
                <a:extLst>
                  <a:ext uri="{FF2B5EF4-FFF2-40B4-BE49-F238E27FC236}">
                    <a16:creationId xmlns:a16="http://schemas.microsoft.com/office/drawing/2014/main" id="{4C523FB6-EEC1-43F7-9025-E3F7A97BE0AC}"/>
                  </a:ext>
                </a:extLst>
              </p:cNvPr>
              <p:cNvSpPr txBox="1"/>
              <p:nvPr/>
            </p:nvSpPr>
            <p:spPr>
              <a:xfrm>
                <a:off x="10115392" y="1802091"/>
                <a:ext cx="1226584" cy="307776"/>
              </a:xfrm>
              <a:prstGeom prst="rect">
                <a:avLst/>
              </a:prstGeom>
              <a:noFill/>
            </p:spPr>
            <p:txBody>
              <a:bodyPr wrap="square" lIns="0" tIns="68580" rIns="0" bIns="0" rtlCol="0">
                <a:spAutoFit/>
              </a:bodyPr>
              <a:lstStyle/>
              <a:p>
                <a:pPr algn="ctr" defTabSz="685800" eaLnBrk="1" fontAlgn="auto" hangingPunct="1">
                  <a:spcBef>
                    <a:spcPts val="0"/>
                  </a:spcBef>
                  <a:spcAft>
                    <a:spcPts val="0"/>
                  </a:spcAft>
                  <a:defRPr/>
                </a:pPr>
                <a:r>
                  <a:rPr lang="en-US" sz="1050">
                    <a:solidFill>
                      <a:srgbClr val="000000"/>
                    </a:solidFill>
                    <a:latin typeface="Segoe UI Semibold"/>
                    <a:cs typeface="Segoe UI" panose="020B0502040204020203" pitchFamily="34" charset="0"/>
                  </a:rPr>
                  <a:t>Azure VM</a:t>
                </a:r>
              </a:p>
            </p:txBody>
          </p:sp>
          <p:pic>
            <p:nvPicPr>
              <p:cNvPr id="23" name="Graphic 22">
                <a:extLst>
                  <a:ext uri="{FF2B5EF4-FFF2-40B4-BE49-F238E27FC236}">
                    <a16:creationId xmlns:a16="http://schemas.microsoft.com/office/drawing/2014/main" id="{430D5784-AB3A-4336-A0DC-6D54F08D64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1272653"/>
                <a:ext cx="565105" cy="565105"/>
              </a:xfrm>
              <a:prstGeom prst="rect">
                <a:avLst/>
              </a:prstGeom>
            </p:spPr>
          </p:pic>
        </p:grpSp>
        <p:grpSp>
          <p:nvGrpSpPr>
            <p:cNvPr id="24" name="Group 23">
              <a:extLst>
                <a:ext uri="{FF2B5EF4-FFF2-40B4-BE49-F238E27FC236}">
                  <a16:creationId xmlns:a16="http://schemas.microsoft.com/office/drawing/2014/main" id="{66AF9FF2-5DF2-442A-AA61-D4E084E0004A}"/>
                </a:ext>
              </a:extLst>
            </p:cNvPr>
            <p:cNvGrpSpPr/>
            <p:nvPr/>
          </p:nvGrpSpPr>
          <p:grpSpPr>
            <a:xfrm>
              <a:off x="10244494" y="2895599"/>
              <a:ext cx="1226584" cy="838881"/>
              <a:chOff x="10115392" y="2563149"/>
              <a:chExt cx="1226584" cy="838881"/>
            </a:xfrm>
          </p:grpSpPr>
          <p:sp>
            <p:nvSpPr>
              <p:cNvPr id="25" name="TextBox 24">
                <a:extLst>
                  <a:ext uri="{FF2B5EF4-FFF2-40B4-BE49-F238E27FC236}">
                    <a16:creationId xmlns:a16="http://schemas.microsoft.com/office/drawing/2014/main" id="{69691F1C-8991-407F-9E10-98A8109F90CD}"/>
                  </a:ext>
                </a:extLst>
              </p:cNvPr>
              <p:cNvSpPr txBox="1"/>
              <p:nvPr/>
            </p:nvSpPr>
            <p:spPr>
              <a:xfrm>
                <a:off x="10115392" y="3094254"/>
                <a:ext cx="1226584" cy="307776"/>
              </a:xfrm>
              <a:prstGeom prst="rect">
                <a:avLst/>
              </a:prstGeom>
              <a:noFill/>
            </p:spPr>
            <p:txBody>
              <a:bodyPr wrap="square" lIns="0" tIns="68580" rIns="0" bIns="0" rtlCol="0">
                <a:spAutoFit/>
              </a:bodyPr>
              <a:lstStyle/>
              <a:p>
                <a:pPr algn="ctr" defTabSz="685800" eaLnBrk="1" fontAlgn="auto" hangingPunct="1">
                  <a:spcBef>
                    <a:spcPts val="0"/>
                  </a:spcBef>
                  <a:spcAft>
                    <a:spcPts val="0"/>
                  </a:spcAft>
                  <a:defRPr/>
                </a:pPr>
                <a:r>
                  <a:rPr lang="en-US" sz="1050">
                    <a:solidFill>
                      <a:srgbClr val="000000"/>
                    </a:solidFill>
                    <a:latin typeface="Segoe UI Semibold"/>
                    <a:cs typeface="Segoe UI" panose="020B0502040204020203" pitchFamily="34" charset="0"/>
                  </a:rPr>
                  <a:t>Azure VM</a:t>
                </a:r>
              </a:p>
            </p:txBody>
          </p:sp>
          <p:pic>
            <p:nvPicPr>
              <p:cNvPr id="26" name="Graphic 25">
                <a:extLst>
                  <a:ext uri="{FF2B5EF4-FFF2-40B4-BE49-F238E27FC236}">
                    <a16:creationId xmlns:a16="http://schemas.microsoft.com/office/drawing/2014/main" id="{99D0C358-8846-442F-9521-F034F3DC55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2563149"/>
                <a:ext cx="565105" cy="565105"/>
              </a:xfrm>
              <a:prstGeom prst="rect">
                <a:avLst/>
              </a:prstGeom>
            </p:spPr>
          </p:pic>
        </p:grpSp>
        <p:grpSp>
          <p:nvGrpSpPr>
            <p:cNvPr id="27" name="Group 26">
              <a:extLst>
                <a:ext uri="{FF2B5EF4-FFF2-40B4-BE49-F238E27FC236}">
                  <a16:creationId xmlns:a16="http://schemas.microsoft.com/office/drawing/2014/main" id="{C8F6E128-D95C-4F44-B471-061A9ADA7630}"/>
                </a:ext>
              </a:extLst>
            </p:cNvPr>
            <p:cNvGrpSpPr/>
            <p:nvPr/>
          </p:nvGrpSpPr>
          <p:grpSpPr>
            <a:xfrm>
              <a:off x="10244494" y="4091587"/>
              <a:ext cx="1226584" cy="831838"/>
              <a:chOff x="10115392" y="3688362"/>
              <a:chExt cx="1226584" cy="831838"/>
            </a:xfrm>
          </p:grpSpPr>
          <p:sp>
            <p:nvSpPr>
              <p:cNvPr id="28" name="TextBox 27">
                <a:extLst>
                  <a:ext uri="{FF2B5EF4-FFF2-40B4-BE49-F238E27FC236}">
                    <a16:creationId xmlns:a16="http://schemas.microsoft.com/office/drawing/2014/main" id="{DA4AA6DC-E2A6-42ED-95B2-73EB3B103226}"/>
                  </a:ext>
                </a:extLst>
              </p:cNvPr>
              <p:cNvSpPr txBox="1"/>
              <p:nvPr/>
            </p:nvSpPr>
            <p:spPr>
              <a:xfrm>
                <a:off x="10115392" y="4212424"/>
                <a:ext cx="1226584" cy="307776"/>
              </a:xfrm>
              <a:prstGeom prst="rect">
                <a:avLst/>
              </a:prstGeom>
              <a:noFill/>
            </p:spPr>
            <p:txBody>
              <a:bodyPr wrap="square" lIns="0" tIns="68580" rIns="0" bIns="0" rtlCol="0">
                <a:spAutoFit/>
              </a:bodyPr>
              <a:lstStyle/>
              <a:p>
                <a:pPr algn="ctr" defTabSz="685800" eaLnBrk="1" fontAlgn="auto" hangingPunct="1">
                  <a:spcBef>
                    <a:spcPts val="0"/>
                  </a:spcBef>
                  <a:spcAft>
                    <a:spcPts val="0"/>
                  </a:spcAft>
                  <a:defRPr/>
                </a:pPr>
                <a:r>
                  <a:rPr lang="en-US" sz="1050">
                    <a:solidFill>
                      <a:srgbClr val="000000"/>
                    </a:solidFill>
                    <a:latin typeface="Segoe UI Semibold"/>
                    <a:cs typeface="Segoe UI" panose="020B0502040204020203" pitchFamily="34" charset="0"/>
                  </a:rPr>
                  <a:t>Azure VM</a:t>
                </a:r>
              </a:p>
            </p:txBody>
          </p:sp>
          <p:pic>
            <p:nvPicPr>
              <p:cNvPr id="29" name="Graphic 28">
                <a:extLst>
                  <a:ext uri="{FF2B5EF4-FFF2-40B4-BE49-F238E27FC236}">
                    <a16:creationId xmlns:a16="http://schemas.microsoft.com/office/drawing/2014/main" id="{D1058F06-8380-49E8-A938-078B2B93B7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446132" y="3688362"/>
                <a:ext cx="565105" cy="565105"/>
              </a:xfrm>
              <a:prstGeom prst="rect">
                <a:avLst/>
              </a:prstGeom>
            </p:spPr>
          </p:pic>
        </p:grpSp>
        <p:pic>
          <p:nvPicPr>
            <p:cNvPr id="34" name="Picture 82">
              <a:extLst>
                <a:ext uri="{FF2B5EF4-FFF2-40B4-BE49-F238E27FC236}">
                  <a16:creationId xmlns:a16="http://schemas.microsoft.com/office/drawing/2014/main" id="{E4D88604-4493-4196-A701-87EA238FA88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0752062" y="5573565"/>
              <a:ext cx="455894" cy="455894"/>
            </a:xfrm>
            <a:prstGeom prst="rect">
              <a:avLst/>
            </a:prstGeom>
          </p:spPr>
        </p:pic>
        <p:pic>
          <p:nvPicPr>
            <p:cNvPr id="35" name="Graphic 34">
              <a:extLst>
                <a:ext uri="{FF2B5EF4-FFF2-40B4-BE49-F238E27FC236}">
                  <a16:creationId xmlns:a16="http://schemas.microsoft.com/office/drawing/2014/main" id="{FB7FA529-A84D-4DFA-B19C-7C209C6B25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49458" y="1417725"/>
              <a:ext cx="556388" cy="556388"/>
            </a:xfrm>
            <a:prstGeom prst="rect">
              <a:avLst/>
            </a:prstGeom>
          </p:spPr>
        </p:pic>
        <p:cxnSp>
          <p:nvCxnSpPr>
            <p:cNvPr id="36" name="Connector: Elbow 35">
              <a:extLst>
                <a:ext uri="{FF2B5EF4-FFF2-40B4-BE49-F238E27FC236}">
                  <a16:creationId xmlns:a16="http://schemas.microsoft.com/office/drawing/2014/main" id="{6008ABEB-396A-4151-B272-BD33ADB17BBD}"/>
                </a:ext>
              </a:extLst>
            </p:cNvPr>
            <p:cNvCxnSpPr>
              <a:cxnSpLocks/>
            </p:cNvCxnSpPr>
            <p:nvPr/>
          </p:nvCxnSpPr>
          <p:spPr>
            <a:xfrm rot="5400000">
              <a:off x="8119972" y="2846530"/>
              <a:ext cx="2945142" cy="433885"/>
            </a:xfrm>
            <a:prstGeom prst="bentConnector3">
              <a:avLst>
                <a:gd name="adj1" fmla="val 99967"/>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DE4EECC-AD79-448C-849B-8FB969E4FEEF}"/>
                </a:ext>
              </a:extLst>
            </p:cNvPr>
            <p:cNvCxnSpPr>
              <a:cxnSpLocks/>
              <a:endCxn id="40" idx="1"/>
            </p:cNvCxnSpPr>
            <p:nvPr/>
          </p:nvCxnSpPr>
          <p:spPr>
            <a:xfrm flipV="1">
              <a:off x="9799961" y="1590901"/>
              <a:ext cx="238337" cy="2244"/>
            </a:xfrm>
            <a:prstGeom prst="straightConnector1">
              <a:avLst/>
            </a:prstGeom>
            <a:ln w="19050">
              <a:solidFill>
                <a:schemeClr val="accent2"/>
              </a:solidFill>
              <a:headEnd type="none"/>
              <a:tailEnd type="arrow" w="lg" len="med"/>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5E763688-4CE2-404E-A2D7-C4BC3331BABA}"/>
                </a:ext>
              </a:extLst>
            </p:cNvPr>
            <p:cNvCxnSpPr>
              <a:cxnSpLocks/>
            </p:cNvCxnSpPr>
            <p:nvPr/>
          </p:nvCxnSpPr>
          <p:spPr>
            <a:xfrm rot="10800000">
              <a:off x="6624253" y="4087263"/>
              <a:ext cx="1458255" cy="435934"/>
            </a:xfrm>
            <a:prstGeom prst="bentConnector3">
              <a:avLst>
                <a:gd name="adj1" fmla="val 99969"/>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D4024F82-AC22-4213-98D6-FA00BD700F1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93742" y="4333100"/>
              <a:ext cx="372171" cy="372171"/>
            </a:xfrm>
            <a:prstGeom prst="rect">
              <a:avLst/>
            </a:prstGeom>
          </p:spPr>
        </p:pic>
        <p:pic>
          <p:nvPicPr>
            <p:cNvPr id="40" name="Graphic 39">
              <a:extLst>
                <a:ext uri="{FF2B5EF4-FFF2-40B4-BE49-F238E27FC236}">
                  <a16:creationId xmlns:a16="http://schemas.microsoft.com/office/drawing/2014/main" id="{20604027-4413-4677-8063-FB0A8A1ABCA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038298" y="1404815"/>
              <a:ext cx="372171" cy="372171"/>
            </a:xfrm>
            <a:prstGeom prst="rect">
              <a:avLst/>
            </a:prstGeom>
          </p:spPr>
        </p:pic>
        <p:sp>
          <p:nvSpPr>
            <p:cNvPr id="16" name="TextBox 15">
              <a:extLst>
                <a:ext uri="{FF2B5EF4-FFF2-40B4-BE49-F238E27FC236}">
                  <a16:creationId xmlns:a16="http://schemas.microsoft.com/office/drawing/2014/main" id="{DDFDE191-8C4D-4BE0-B581-E890D14E6339}"/>
                </a:ext>
              </a:extLst>
            </p:cNvPr>
            <p:cNvSpPr txBox="1"/>
            <p:nvPr/>
          </p:nvSpPr>
          <p:spPr>
            <a:xfrm>
              <a:off x="8715832" y="865134"/>
              <a:ext cx="2241408" cy="215444"/>
            </a:xfrm>
            <a:prstGeom prst="rect">
              <a:avLst/>
            </a:prstGeom>
            <a:solidFill>
              <a:schemeClr val="bg1"/>
            </a:solidFill>
          </p:spPr>
          <p:txBody>
            <a:bodyPr wrap="square" lIns="0" tIns="0" rIns="0" bIns="0" rtlCol="0">
              <a:spAutoFit/>
            </a:bodyPr>
            <a:lstStyle/>
            <a:p>
              <a:pPr algn="ctr" defTabSz="685800" eaLnBrk="1" fontAlgn="auto" hangingPunct="1">
                <a:spcBef>
                  <a:spcPts val="0"/>
                </a:spcBef>
                <a:spcAft>
                  <a:spcPts val="0"/>
                </a:spcAft>
                <a:defRPr/>
              </a:pPr>
              <a:r>
                <a:rPr lang="en-US" sz="1050" dirty="0">
                  <a:latin typeface="Segoe UI Semibold"/>
                  <a:cs typeface="Segoe UI" panose="020B0502040204020203" pitchFamily="34" charset="0"/>
                </a:rPr>
                <a:t>Customer’s Virtual Network</a:t>
              </a:r>
            </a:p>
          </p:txBody>
        </p:sp>
        <p:grpSp>
          <p:nvGrpSpPr>
            <p:cNvPr id="56" name="Group 55">
              <a:extLst>
                <a:ext uri="{FF2B5EF4-FFF2-40B4-BE49-F238E27FC236}">
                  <a16:creationId xmlns:a16="http://schemas.microsoft.com/office/drawing/2014/main" id="{234E2D92-A896-4F5D-AE68-E5828D267E27}"/>
                </a:ext>
              </a:extLst>
            </p:cNvPr>
            <p:cNvGrpSpPr/>
            <p:nvPr/>
          </p:nvGrpSpPr>
          <p:grpSpPr>
            <a:xfrm>
              <a:off x="6528522" y="2114550"/>
              <a:ext cx="722225" cy="924222"/>
              <a:chOff x="6547572" y="2114550"/>
              <a:chExt cx="722225" cy="924222"/>
            </a:xfrm>
          </p:grpSpPr>
          <p:sp>
            <p:nvSpPr>
              <p:cNvPr id="13" name="Rectangle 12">
                <a:extLst>
                  <a:ext uri="{FF2B5EF4-FFF2-40B4-BE49-F238E27FC236}">
                    <a16:creationId xmlns:a16="http://schemas.microsoft.com/office/drawing/2014/main" id="{3423218C-E9B2-4466-9C4D-78A52F1E5A74}"/>
                  </a:ext>
                </a:extLst>
              </p:cNvPr>
              <p:cNvSpPr/>
              <p:nvPr/>
            </p:nvSpPr>
            <p:spPr>
              <a:xfrm>
                <a:off x="6547572" y="2445856"/>
                <a:ext cx="722225" cy="338554"/>
              </a:xfrm>
              <a:prstGeom prst="rect">
                <a:avLst/>
              </a:prstGeom>
            </p:spPr>
            <p:txBody>
              <a:bodyPr wrap="square">
                <a:spAutoFit/>
              </a:bodyPr>
              <a:lstStyle/>
              <a:p>
                <a:pPr algn="ctr" defTabSz="685800" eaLnBrk="1" fontAlgn="auto" hangingPunct="1">
                  <a:spcBef>
                    <a:spcPts val="0"/>
                  </a:spcBef>
                  <a:spcAft>
                    <a:spcPts val="0"/>
                  </a:spcAft>
                  <a:defRPr/>
                </a:pPr>
                <a:r>
                  <a:rPr lang="en-US" sz="1050" dirty="0">
                    <a:latin typeface="Segoe UI Semibold"/>
                    <a:cs typeface="Segoe UI" panose="020B0502040204020203" pitchFamily="34" charset="0"/>
                  </a:rPr>
                  <a:t>SSL</a:t>
                </a:r>
              </a:p>
            </p:txBody>
          </p:sp>
          <p:cxnSp>
            <p:nvCxnSpPr>
              <p:cNvPr id="54" name="Straight Connector 53">
                <a:extLst>
                  <a:ext uri="{FF2B5EF4-FFF2-40B4-BE49-F238E27FC236}">
                    <a16:creationId xmlns:a16="http://schemas.microsoft.com/office/drawing/2014/main" id="{A1414888-E7BB-4755-92A3-6499B3D950E9}"/>
                  </a:ext>
                </a:extLst>
              </p:cNvPr>
              <p:cNvCxnSpPr>
                <a:cxnSpLocks/>
              </p:cNvCxnSpPr>
              <p:nvPr/>
            </p:nvCxnSpPr>
            <p:spPr>
              <a:xfrm>
                <a:off x="6627256" y="2114550"/>
                <a:ext cx="0" cy="924222"/>
              </a:xfrm>
              <a:prstGeom prst="line">
                <a:avLst/>
              </a:prstGeom>
              <a:ln w="19050">
                <a:solidFill>
                  <a:schemeClr val="tx1"/>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F4FF7517-3067-4FFD-8775-80525824078E}"/>
                </a:ext>
              </a:extLst>
            </p:cNvPr>
            <p:cNvGrpSpPr/>
            <p:nvPr/>
          </p:nvGrpSpPr>
          <p:grpSpPr>
            <a:xfrm>
              <a:off x="8102692" y="3897031"/>
              <a:ext cx="1250239" cy="1267576"/>
              <a:chOff x="8102692" y="3897031"/>
              <a:chExt cx="1250239" cy="1267576"/>
            </a:xfrm>
          </p:grpSpPr>
          <p:sp>
            <p:nvSpPr>
              <p:cNvPr id="31" name="Rectangle 30">
                <a:extLst>
                  <a:ext uri="{FF2B5EF4-FFF2-40B4-BE49-F238E27FC236}">
                    <a16:creationId xmlns:a16="http://schemas.microsoft.com/office/drawing/2014/main" id="{739FDC2A-F746-465E-985D-079E8F996636}"/>
                  </a:ext>
                </a:extLst>
              </p:cNvPr>
              <p:cNvSpPr/>
              <p:nvPr/>
            </p:nvSpPr>
            <p:spPr bwMode="auto">
              <a:xfrm>
                <a:off x="8102692" y="3897031"/>
                <a:ext cx="1250239" cy="1267576"/>
              </a:xfrm>
              <a:prstGeom prst="rect">
                <a:avLst/>
              </a:prstGeom>
              <a:noFill/>
              <a:ln>
                <a:solidFill>
                  <a:schemeClr val="bg1"/>
                </a:solidFill>
                <a:headEnd type="none" w="med" len="med"/>
                <a:tailEnd type="none" w="med" len="med"/>
              </a:ln>
              <a:effectLst>
                <a:outerShdw blurRad="88900" dist="381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0" numCol="1" rtlCol="0" anchor="b" anchorCtr="0" compatLnSpc="1">
                <a:prstTxWarp prst="textNoShape">
                  <a:avLst/>
                </a:prstTxWarp>
              </a:bodyPr>
              <a:lstStyle/>
              <a:p>
                <a:pPr algn="ctr" defTabSz="699354" eaLnBrk="1" hangingPunct="1">
                  <a:defRPr/>
                </a:pPr>
                <a:endParaRPr lang="en-US" sz="1050" b="1" err="1">
                  <a:solidFill>
                    <a:srgbClr val="FFFFFF"/>
                  </a:solidFill>
                  <a:latin typeface="Segoe UI"/>
                </a:endParaRPr>
              </a:p>
            </p:txBody>
          </p:sp>
          <p:sp>
            <p:nvSpPr>
              <p:cNvPr id="32" name="TextBox 31">
                <a:extLst>
                  <a:ext uri="{FF2B5EF4-FFF2-40B4-BE49-F238E27FC236}">
                    <a16:creationId xmlns:a16="http://schemas.microsoft.com/office/drawing/2014/main" id="{0A088E9B-C070-489D-A255-2228F414CAC4}"/>
                  </a:ext>
                </a:extLst>
              </p:cNvPr>
              <p:cNvSpPr txBox="1"/>
              <p:nvPr/>
            </p:nvSpPr>
            <p:spPr>
              <a:xfrm>
                <a:off x="8113809" y="4832002"/>
                <a:ext cx="1163709" cy="151213"/>
              </a:xfrm>
              <a:prstGeom prst="rect">
                <a:avLst/>
              </a:prstGeom>
              <a:noFill/>
            </p:spPr>
            <p:txBody>
              <a:bodyPr wrap="square" lIns="0" tIns="0" rIns="0" bIns="0" rtlCol="0">
                <a:noAutofit/>
              </a:bodyPr>
              <a:lstStyle/>
              <a:p>
                <a:pPr algn="ctr" defTabSz="685800" eaLnBrk="1" fontAlgn="auto" hangingPunct="1">
                  <a:spcBef>
                    <a:spcPts val="0"/>
                  </a:spcBef>
                  <a:spcAft>
                    <a:spcPts val="0"/>
                  </a:spcAft>
                  <a:defRPr/>
                </a:pPr>
                <a:r>
                  <a:rPr lang="en-US" sz="1050" dirty="0">
                    <a:solidFill>
                      <a:srgbClr val="000000"/>
                    </a:solidFill>
                    <a:latin typeface="Segoe UI Semibold"/>
                    <a:cs typeface="Segoe UI" panose="020B0502040204020203" pitchFamily="34" charset="0"/>
                  </a:rPr>
                  <a:t>Azure Bastion</a:t>
                </a:r>
              </a:p>
            </p:txBody>
          </p:sp>
          <p:pic>
            <p:nvPicPr>
              <p:cNvPr id="63" name="Picture 62" descr="A picture containing knife&#10;&#10;Description automatically generated">
                <a:extLst>
                  <a:ext uri="{FF2B5EF4-FFF2-40B4-BE49-F238E27FC236}">
                    <a16:creationId xmlns:a16="http://schemas.microsoft.com/office/drawing/2014/main" id="{E1C04B50-D82A-4201-9651-62E251465742}"/>
                  </a:ext>
                </a:extLst>
              </p:cNvPr>
              <p:cNvPicPr>
                <a:picLocks noChangeAspect="1"/>
              </p:cNvPicPr>
              <p:nvPr/>
            </p:nvPicPr>
            <p:blipFill>
              <a:blip r:embed="rId2"/>
              <a:stretch>
                <a:fillRect/>
              </a:stretch>
            </p:blipFill>
            <p:spPr>
              <a:xfrm>
                <a:off x="8178104" y="4097893"/>
                <a:ext cx="1099414" cy="633889"/>
              </a:xfrm>
              <a:prstGeom prst="rect">
                <a:avLst/>
              </a:prstGeom>
            </p:spPr>
          </p:pic>
        </p:grpSp>
      </p:grpSp>
    </p:spTree>
    <p:extLst>
      <p:ext uri="{BB962C8B-B14F-4D97-AF65-F5344CB8AC3E}">
        <p14:creationId xmlns:p14="http://schemas.microsoft.com/office/powerpoint/2010/main" val="28997912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42" presetClass="path" presetSubtype="0" decel="100000" fill="hold" nodeType="withEffect">
                                  <p:stCondLst>
                                    <p:cond delay="0"/>
                                  </p:stCondLst>
                                  <p:childTnLst>
                                    <p:animMotion origin="layout" path="M -1.04167E-6 7.40741E-7 L -1.04167E-6 0.04028 " pathEditMode="relative" rAng="0" ptsTypes="AA">
                                      <p:cBhvr>
                                        <p:cTn id="9" dur="400" spd="-100000" fill="hold"/>
                                        <p:tgtEl>
                                          <p:spTgt spid="2"/>
                                        </p:tgtEl>
                                        <p:attrNameLst>
                                          <p:attrName>ppt_x</p:attrName>
                                          <p:attrName>ppt_y</p:attrName>
                                        </p:attrNameLst>
                                      </p:cBhvr>
                                      <p:rCtr x="0" y="2014"/>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400"/>
                                        <p:tgtEl>
                                          <p:spTgt spid="3"/>
                                        </p:tgtEl>
                                      </p:cBhvr>
                                    </p:animEffect>
                                  </p:childTnLst>
                                </p:cTn>
                              </p:par>
                              <p:par>
                                <p:cTn id="13" presetID="42" presetClass="path" presetSubtype="0" decel="100000" fill="hold" nodeType="withEffect">
                                  <p:stCondLst>
                                    <p:cond delay="0"/>
                                  </p:stCondLst>
                                  <p:childTnLst>
                                    <p:animMotion origin="layout" path="M -1.04167E-6 7.40741E-7 L -1.04167E-6 0.04028 " pathEditMode="relative" rAng="0" ptsTypes="AA">
                                      <p:cBhvr>
                                        <p:cTn id="14" dur="400" spd="-100000" fill="hold"/>
                                        <p:tgtEl>
                                          <p:spTgt spid="3"/>
                                        </p:tgtEl>
                                        <p:attrNameLst>
                                          <p:attrName>ppt_x</p:attrName>
                                          <p:attrName>ppt_y</p:attrName>
                                        </p:attrNameLst>
                                      </p:cBhvr>
                                      <p:rCtr x="0" y="20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C8B8F36-16F8-4D3D-8ADB-5417158D7709}"/>
              </a:ext>
            </a:extLst>
          </p:cNvPr>
          <p:cNvGrpSpPr/>
          <p:nvPr/>
        </p:nvGrpSpPr>
        <p:grpSpPr>
          <a:xfrm>
            <a:off x="3727620" y="2968629"/>
            <a:ext cx="4990346" cy="1725202"/>
            <a:chOff x="4970160" y="3958171"/>
            <a:chExt cx="6653794" cy="2300269"/>
          </a:xfrm>
        </p:grpSpPr>
        <p:sp>
          <p:nvSpPr>
            <p:cNvPr id="5" name="Rectangle: Rounded Corners 4">
              <a:extLst>
                <a:ext uri="{FF2B5EF4-FFF2-40B4-BE49-F238E27FC236}">
                  <a16:creationId xmlns:a16="http://schemas.microsoft.com/office/drawing/2014/main" id="{51E303FF-533E-4C9C-AD5E-0837FFCA155A}"/>
                </a:ext>
              </a:extLst>
            </p:cNvPr>
            <p:cNvSpPr/>
            <p:nvPr/>
          </p:nvSpPr>
          <p:spPr bwMode="auto">
            <a:xfrm>
              <a:off x="5649469" y="3958171"/>
              <a:ext cx="5974485" cy="2300269"/>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235">
                <a:lnSpc>
                  <a:spcPct val="90000"/>
                </a:lnSpc>
              </a:pPr>
              <a:endParaRPr lang="en-US" sz="1324" kern="0" dirty="0">
                <a:gradFill>
                  <a:gsLst>
                    <a:gs pos="0">
                      <a:srgbClr val="FFFFFF"/>
                    </a:gs>
                    <a:gs pos="100000">
                      <a:srgbClr val="FFFFFF"/>
                    </a:gs>
                  </a:gsLst>
                  <a:lin ang="5400000" scaled="0"/>
                </a:gradFill>
                <a:latin typeface="Segoe UI"/>
                <a:cs typeface="Segoe UI" pitchFamily="34" charset="0"/>
              </a:endParaRPr>
            </a:p>
          </p:txBody>
        </p:sp>
        <p:grpSp>
          <p:nvGrpSpPr>
            <p:cNvPr id="6" name="Group 5">
              <a:extLst>
                <a:ext uri="{FF2B5EF4-FFF2-40B4-BE49-F238E27FC236}">
                  <a16:creationId xmlns:a16="http://schemas.microsoft.com/office/drawing/2014/main" id="{ABA82F27-76A6-44DA-93FC-FB3E219DB628}"/>
                </a:ext>
              </a:extLst>
            </p:cNvPr>
            <p:cNvGrpSpPr/>
            <p:nvPr/>
          </p:nvGrpSpPr>
          <p:grpSpPr>
            <a:xfrm>
              <a:off x="4970160" y="4564674"/>
              <a:ext cx="679304" cy="1119874"/>
              <a:chOff x="5096380" y="3745736"/>
              <a:chExt cx="438841" cy="1187936"/>
            </a:xfrm>
          </p:grpSpPr>
          <p:sp>
            <p:nvSpPr>
              <p:cNvPr id="7" name="Right Bracket 6">
                <a:extLst>
                  <a:ext uri="{FF2B5EF4-FFF2-40B4-BE49-F238E27FC236}">
                    <a16:creationId xmlns:a16="http://schemas.microsoft.com/office/drawing/2014/main" id="{9FA8E02B-A73D-4DE5-A1A9-BA386D21E238}"/>
                  </a:ext>
                </a:extLst>
              </p:cNvPr>
              <p:cNvSpPr/>
              <p:nvPr/>
            </p:nvSpPr>
            <p:spPr>
              <a:xfrm>
                <a:off x="5096380" y="3745736"/>
                <a:ext cx="45719" cy="1187936"/>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22D793ED-5430-44F0-A5AB-39BBFBBAAEC3}"/>
                  </a:ext>
                </a:extLst>
              </p:cNvPr>
              <p:cNvCxnSpPr>
                <a:cxnSpLocks/>
              </p:cNvCxnSpPr>
              <p:nvPr/>
            </p:nvCxnSpPr>
            <p:spPr>
              <a:xfrm>
                <a:off x="5142099" y="4318699"/>
                <a:ext cx="393122"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9" name="Rectangle 8">
            <a:extLst>
              <a:ext uri="{FF2B5EF4-FFF2-40B4-BE49-F238E27FC236}">
                <a16:creationId xmlns:a16="http://schemas.microsoft.com/office/drawing/2014/main" id="{08C1CA25-2540-4662-BA65-CAB0290BBB4B}"/>
              </a:ext>
            </a:extLst>
          </p:cNvPr>
          <p:cNvSpPr/>
          <p:nvPr/>
        </p:nvSpPr>
        <p:spPr bwMode="auto">
          <a:xfrm>
            <a:off x="370009" y="1009060"/>
            <a:ext cx="3290160" cy="36847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endParaRPr lang="en-US"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0" name="Table 9">
            <a:extLst>
              <a:ext uri="{FF2B5EF4-FFF2-40B4-BE49-F238E27FC236}">
                <a16:creationId xmlns:a16="http://schemas.microsoft.com/office/drawing/2014/main" id="{17330349-E6E4-4FF4-B124-DB77F5807D03}"/>
              </a:ext>
            </a:extLst>
          </p:cNvPr>
          <p:cNvGraphicFramePr>
            <a:graphicFrameLocks noGrp="1"/>
          </p:cNvGraphicFramePr>
          <p:nvPr/>
        </p:nvGraphicFramePr>
        <p:xfrm>
          <a:off x="437464" y="1068728"/>
          <a:ext cx="3074768" cy="3230332"/>
        </p:xfrm>
        <a:graphic>
          <a:graphicData uri="http://schemas.openxmlformats.org/drawingml/2006/table">
            <a:tbl>
              <a:tblPr firstRow="1" bandRow="1">
                <a:tableStyleId>{5C22544A-7EE6-4342-B048-85BDC9FD1C3A}</a:tableStyleId>
              </a:tblPr>
              <a:tblGrid>
                <a:gridCol w="2471264">
                  <a:extLst>
                    <a:ext uri="{9D8B030D-6E8A-4147-A177-3AD203B41FA5}">
                      <a16:colId xmlns:a16="http://schemas.microsoft.com/office/drawing/2014/main" val="4138611114"/>
                    </a:ext>
                  </a:extLst>
                </a:gridCol>
                <a:gridCol w="301752">
                  <a:extLst>
                    <a:ext uri="{9D8B030D-6E8A-4147-A177-3AD203B41FA5}">
                      <a16:colId xmlns:a16="http://schemas.microsoft.com/office/drawing/2014/main" val="3227296965"/>
                    </a:ext>
                  </a:extLst>
                </a:gridCol>
                <a:gridCol w="301752">
                  <a:extLst>
                    <a:ext uri="{9D8B030D-6E8A-4147-A177-3AD203B41FA5}">
                      <a16:colId xmlns:a16="http://schemas.microsoft.com/office/drawing/2014/main" val="2757239372"/>
                    </a:ext>
                  </a:extLst>
                </a:gridCol>
              </a:tblGrid>
              <a:tr h="264966">
                <a:tc>
                  <a:txBody>
                    <a:bodyPr/>
                    <a:lstStyle/>
                    <a:p>
                      <a:r>
                        <a:rPr lang="en-US" sz="1000" dirty="0">
                          <a:gradFill>
                            <a:gsLst>
                              <a:gs pos="0">
                                <a:schemeClr val="tx2"/>
                              </a:gs>
                              <a:gs pos="100000">
                                <a:schemeClr val="tx2"/>
                              </a:gs>
                            </a:gsLst>
                            <a:lin ang="8100000" scaled="1"/>
                          </a:gradFill>
                          <a:latin typeface="+mj-lt"/>
                        </a:rPr>
                        <a:t>Responsibility</a:t>
                      </a:r>
                    </a:p>
                  </a:txBody>
                  <a:tcPr marL="76775" marR="76775" marT="38387" marB="76775" anchor="b">
                    <a:solidFill>
                      <a:schemeClr val="bg1"/>
                    </a:solidFill>
                  </a:tcPr>
                </a:tc>
                <a:tc>
                  <a:txBody>
                    <a:bodyPr/>
                    <a:lstStyle/>
                    <a:p>
                      <a:pPr marL="0" algn="ctr" defTabSz="699557" rtl="0" eaLnBrk="1" latinLnBrk="0" hangingPunct="1"/>
                      <a:r>
                        <a:rPr lang="en-US" sz="800" b="1" kern="1200" dirty="0">
                          <a:gradFill>
                            <a:gsLst>
                              <a:gs pos="0">
                                <a:schemeClr val="tx2"/>
                              </a:gs>
                              <a:gs pos="100000">
                                <a:schemeClr val="tx2"/>
                              </a:gs>
                            </a:gsLst>
                            <a:lin ang="8100000" scaled="1"/>
                          </a:gradFill>
                          <a:latin typeface="+mj-lt"/>
                          <a:ea typeface="+mn-ea"/>
                          <a:cs typeface="+mn-cs"/>
                        </a:rPr>
                        <a:t>PaaS</a:t>
                      </a:r>
                    </a:p>
                  </a:txBody>
                  <a:tcPr marL="0" marR="0" marT="38387" marB="76775" anchor="b">
                    <a:solidFill>
                      <a:schemeClr val="bg1"/>
                    </a:solidFill>
                  </a:tcPr>
                </a:tc>
                <a:tc>
                  <a:txBody>
                    <a:bodyPr/>
                    <a:lstStyle/>
                    <a:p>
                      <a:pPr marL="0" algn="ctr" defTabSz="699557" rtl="0" eaLnBrk="1" latinLnBrk="0" hangingPunct="1"/>
                      <a:r>
                        <a:rPr lang="en-US" sz="800" b="1" kern="1200" dirty="0">
                          <a:gradFill>
                            <a:gsLst>
                              <a:gs pos="0">
                                <a:schemeClr val="tx2"/>
                              </a:gs>
                              <a:gs pos="100000">
                                <a:schemeClr val="tx2"/>
                              </a:gs>
                            </a:gsLst>
                            <a:lin ang="8100000" scaled="1"/>
                          </a:gradFill>
                          <a:latin typeface="+mj-lt"/>
                          <a:ea typeface="+mn-ea"/>
                          <a:cs typeface="+mn-cs"/>
                        </a:rPr>
                        <a:t>IaaS</a:t>
                      </a:r>
                    </a:p>
                  </a:txBody>
                  <a:tcPr marL="0" marR="0" marT="38387" marB="76775" anchor="b">
                    <a:solidFill>
                      <a:schemeClr val="bg1"/>
                    </a:solidFill>
                  </a:tcPr>
                </a:tc>
                <a:extLst>
                  <a:ext uri="{0D108BD9-81ED-4DB2-BD59-A6C34878D82A}">
                    <a16:rowId xmlns:a16="http://schemas.microsoft.com/office/drawing/2014/main" val="4280669362"/>
                  </a:ext>
                </a:extLst>
              </a:tr>
              <a:tr h="296277">
                <a:tc>
                  <a:txBody>
                    <a:bodyPr/>
                    <a:lstStyle/>
                    <a:p>
                      <a:r>
                        <a:rPr lang="en-US" sz="1000" dirty="0">
                          <a:gradFill>
                            <a:gsLst>
                              <a:gs pos="50000">
                                <a:schemeClr val="tx2"/>
                              </a:gs>
                              <a:gs pos="100000">
                                <a:schemeClr val="tx2"/>
                              </a:gs>
                            </a:gsLst>
                            <a:lin ang="8100000" scaled="1"/>
                          </a:gradFill>
                          <a:latin typeface="+mn-lt"/>
                        </a:rPr>
                        <a:t>Information and Data</a:t>
                      </a:r>
                    </a:p>
                  </a:txBody>
                  <a:tcPr marL="68580" marR="68580" marT="34290" marB="34290" anchor="ctr">
                    <a:solidFill>
                      <a:schemeClr val="bg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B w="38100" cap="flat" cmpd="sng" algn="ctr">
                      <a:solidFill>
                        <a:schemeClr val="bg1"/>
                      </a:solidFill>
                      <a:prstDash val="solid"/>
                      <a:round/>
                      <a:headEnd type="none" w="med" len="med"/>
                      <a:tailEnd type="none" w="med" len="med"/>
                    </a:lnB>
                    <a:solidFill>
                      <a:schemeClr val="accent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663817762"/>
                  </a:ext>
                </a:extLst>
              </a:tr>
              <a:tr h="296277">
                <a:tc>
                  <a:txBody>
                    <a:bodyPr/>
                    <a:lstStyle/>
                    <a:p>
                      <a:r>
                        <a:rPr lang="en-US" sz="1000" dirty="0">
                          <a:gradFill>
                            <a:gsLst>
                              <a:gs pos="50000">
                                <a:schemeClr val="tx2"/>
                              </a:gs>
                              <a:gs pos="100000">
                                <a:schemeClr val="tx2"/>
                              </a:gs>
                            </a:gsLst>
                            <a:lin ang="8100000" scaled="1"/>
                          </a:gradFill>
                          <a:latin typeface="+mn-lt"/>
                        </a:rPr>
                        <a:t>Devices (Mobile and PCs)</a:t>
                      </a:r>
                    </a:p>
                  </a:txBody>
                  <a:tcPr marL="68580" marR="68580" marT="34290" marB="34290" anchor="ctr">
                    <a:solidFill>
                      <a:schemeClr val="bg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73078000"/>
                  </a:ext>
                </a:extLst>
              </a:tr>
              <a:tr h="296277">
                <a:tc>
                  <a:txBody>
                    <a:bodyPr/>
                    <a:lstStyle/>
                    <a:p>
                      <a:r>
                        <a:rPr lang="en-US" sz="1000" dirty="0">
                          <a:gradFill>
                            <a:gsLst>
                              <a:gs pos="50000">
                                <a:schemeClr val="tx2"/>
                              </a:gs>
                              <a:gs pos="100000">
                                <a:schemeClr val="tx2"/>
                              </a:gs>
                            </a:gsLst>
                            <a:lin ang="8100000" scaled="1"/>
                          </a:gradFill>
                          <a:latin typeface="+mn-lt"/>
                        </a:rPr>
                        <a:t>Accounts and Identities</a:t>
                      </a:r>
                    </a:p>
                  </a:txBody>
                  <a:tcPr marL="68580" marR="68580" marT="34290" marB="34290" anchor="ctr">
                    <a:solidFill>
                      <a:schemeClr val="bg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077470789"/>
                  </a:ext>
                </a:extLst>
              </a:tr>
              <a:tr h="296277">
                <a:tc>
                  <a:txBody>
                    <a:bodyPr/>
                    <a:lstStyle/>
                    <a:p>
                      <a:r>
                        <a:rPr lang="en-US" sz="1000" dirty="0">
                          <a:gradFill>
                            <a:gsLst>
                              <a:gs pos="0">
                                <a:schemeClr val="tx2"/>
                              </a:gs>
                              <a:gs pos="100000">
                                <a:schemeClr val="tx2"/>
                              </a:gs>
                            </a:gsLst>
                            <a:lin ang="8100000" scaled="1"/>
                          </a:gradFill>
                          <a:latin typeface="+mn-lt"/>
                        </a:rPr>
                        <a:t>Identity and directory infrastructure</a:t>
                      </a:r>
                    </a:p>
                  </a:txBody>
                  <a:tcPr marL="76775" marR="76775" marT="38387" marB="38387" anchor="ctr">
                    <a:solidFill>
                      <a:schemeClr val="bg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gradFill>
                      <a:gsLst>
                        <a:gs pos="50000">
                          <a:schemeClr val="accent1"/>
                        </a:gs>
                        <a:gs pos="50000">
                          <a:schemeClr val="accent6"/>
                        </a:gs>
                      </a:gsLst>
                      <a:lin ang="8100000" scaled="1"/>
                    </a:gra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ap="flat" cmpd="sng" algn="ctr">
                      <a:noFill/>
                      <a:prstDash val="solid"/>
                      <a:round/>
                      <a:headEnd type="none" w="med" len="med"/>
                      <a:tailEnd type="none" w="med" len="med"/>
                    </a:lnTlToBr>
                    <a:solidFill>
                      <a:schemeClr val="accent1"/>
                    </a:solidFill>
                  </a:tcPr>
                </a:tc>
                <a:extLst>
                  <a:ext uri="{0D108BD9-81ED-4DB2-BD59-A6C34878D82A}">
                    <a16:rowId xmlns:a16="http://schemas.microsoft.com/office/drawing/2014/main" val="3583634349"/>
                  </a:ext>
                </a:extLst>
              </a:tr>
              <a:tr h="296277">
                <a:tc>
                  <a:txBody>
                    <a:bodyPr/>
                    <a:lstStyle/>
                    <a:p>
                      <a:r>
                        <a:rPr lang="en-US" sz="1000" dirty="0">
                          <a:gradFill>
                            <a:gsLst>
                              <a:gs pos="0">
                                <a:schemeClr val="tx2"/>
                              </a:gs>
                              <a:gs pos="100000">
                                <a:schemeClr val="tx2"/>
                              </a:gs>
                            </a:gsLst>
                            <a:lin ang="8100000" scaled="1"/>
                          </a:gradFill>
                          <a:latin typeface="+mn-lt"/>
                        </a:rPr>
                        <a:t>Application</a:t>
                      </a:r>
                    </a:p>
                  </a:txBody>
                  <a:tcPr marL="76775" marR="76775" marT="38387" marB="38387" anchor="ctr">
                    <a:solidFill>
                      <a:schemeClr val="bg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18483576"/>
                  </a:ext>
                </a:extLst>
              </a:tr>
              <a:tr h="296277">
                <a:tc>
                  <a:txBody>
                    <a:bodyPr/>
                    <a:lstStyle/>
                    <a:p>
                      <a:r>
                        <a:rPr lang="en-US" sz="1000" dirty="0">
                          <a:gradFill>
                            <a:gsLst>
                              <a:gs pos="0">
                                <a:schemeClr val="tx2"/>
                              </a:gs>
                              <a:gs pos="100000">
                                <a:schemeClr val="tx2"/>
                              </a:gs>
                            </a:gsLst>
                            <a:lin ang="8100000" scaled="1"/>
                          </a:gradFill>
                          <a:latin typeface="+mn-lt"/>
                        </a:rPr>
                        <a:t>Network controls</a:t>
                      </a:r>
                    </a:p>
                  </a:txBody>
                  <a:tcPr marL="76775" marR="76775" marT="38387" marB="38387" anchor="ctr">
                    <a:solidFill>
                      <a:schemeClr val="bg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50000">
                          <a:schemeClr val="accent1"/>
                        </a:gs>
                        <a:gs pos="50000">
                          <a:schemeClr val="tx1">
                            <a:lumMod val="10000"/>
                            <a:lumOff val="90000"/>
                          </a:schemeClr>
                        </a:gs>
                      </a:gsLst>
                      <a:lin ang="8100000" scaled="0"/>
                    </a:gra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695748183"/>
                  </a:ext>
                </a:extLst>
              </a:tr>
              <a:tr h="296277">
                <a:tc>
                  <a:txBody>
                    <a:bodyPr/>
                    <a:lstStyle/>
                    <a:p>
                      <a:r>
                        <a:rPr lang="en-US" sz="1000" dirty="0">
                          <a:gradFill>
                            <a:gsLst>
                              <a:gs pos="0">
                                <a:schemeClr val="tx2"/>
                              </a:gs>
                              <a:gs pos="100000">
                                <a:schemeClr val="tx2"/>
                              </a:gs>
                            </a:gsLst>
                            <a:lin ang="8100000" scaled="1"/>
                          </a:gradFill>
                          <a:latin typeface="+mn-lt"/>
                        </a:rPr>
                        <a:t>Operating system</a:t>
                      </a:r>
                    </a:p>
                  </a:txBody>
                  <a:tcPr marL="76775" marR="76775" marT="38387" marB="38387" anchor="ctr">
                    <a:solidFill>
                      <a:schemeClr val="bg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31430743"/>
                  </a:ext>
                </a:extLst>
              </a:tr>
              <a:tr h="296277">
                <a:tc>
                  <a:txBody>
                    <a:bodyPr/>
                    <a:lstStyle/>
                    <a:p>
                      <a:r>
                        <a:rPr lang="en-US" sz="1000" dirty="0">
                          <a:gradFill>
                            <a:gsLst>
                              <a:gs pos="0">
                                <a:schemeClr val="tx2"/>
                              </a:gs>
                              <a:gs pos="100000">
                                <a:schemeClr val="tx2"/>
                              </a:gs>
                            </a:gsLst>
                            <a:lin ang="8100000" scaled="1"/>
                          </a:gradFill>
                          <a:latin typeface="+mn-lt"/>
                        </a:rPr>
                        <a:t>Physical hosts</a:t>
                      </a:r>
                    </a:p>
                  </a:txBody>
                  <a:tcPr marL="76775" marR="76775" marT="38387" marB="38387" anchor="ctr">
                    <a:solidFill>
                      <a:schemeClr val="bg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768605672"/>
                  </a:ext>
                </a:extLst>
              </a:tr>
              <a:tr h="296277">
                <a:tc>
                  <a:txBody>
                    <a:bodyPr/>
                    <a:lstStyle/>
                    <a:p>
                      <a:r>
                        <a:rPr lang="en-US" sz="1000" dirty="0">
                          <a:gradFill>
                            <a:gsLst>
                              <a:gs pos="0">
                                <a:schemeClr val="tx2"/>
                              </a:gs>
                              <a:gs pos="100000">
                                <a:schemeClr val="tx2"/>
                              </a:gs>
                            </a:gsLst>
                            <a:lin ang="8100000" scaled="1"/>
                          </a:gradFill>
                          <a:latin typeface="+mn-lt"/>
                        </a:rPr>
                        <a:t>Physical network</a:t>
                      </a:r>
                    </a:p>
                  </a:txBody>
                  <a:tcPr marL="76775" marR="76775" marT="38387" marB="38387" anchor="ctr">
                    <a:solidFill>
                      <a:schemeClr val="bg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1867462061"/>
                  </a:ext>
                </a:extLst>
              </a:tr>
              <a:tr h="296277">
                <a:tc>
                  <a:txBody>
                    <a:bodyPr/>
                    <a:lstStyle/>
                    <a:p>
                      <a:r>
                        <a:rPr lang="en-US" sz="1000" dirty="0">
                          <a:gradFill>
                            <a:gsLst>
                              <a:gs pos="0">
                                <a:schemeClr val="tx2"/>
                              </a:gs>
                              <a:gs pos="100000">
                                <a:schemeClr val="tx2"/>
                              </a:gs>
                            </a:gsLst>
                            <a:lin ang="8100000" scaled="1"/>
                          </a:gradFill>
                          <a:latin typeface="+mn-lt"/>
                        </a:rPr>
                        <a:t>Physical datacenter</a:t>
                      </a:r>
                    </a:p>
                  </a:txBody>
                  <a:tcPr marL="76775" marR="76775" marT="38387" marB="38387" anchor="ctr">
                    <a:solidFill>
                      <a:schemeClr val="bg1"/>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T w="38100" cap="flat" cmpd="sng" algn="ctr">
                      <a:solidFill>
                        <a:schemeClr val="bg1"/>
                      </a:solidFill>
                      <a:prstDash val="solid"/>
                      <a:round/>
                      <a:headEnd type="none" w="med" len="med"/>
                      <a:tailEnd type="none" w="med" len="med"/>
                    </a:lnT>
                    <a:solidFill>
                      <a:schemeClr val="accent6"/>
                    </a:solidFill>
                  </a:tcPr>
                </a:tc>
                <a:tc>
                  <a:txBody>
                    <a:bodyPr/>
                    <a:lstStyle/>
                    <a:p>
                      <a:endParaRPr lang="en-US" sz="1000" dirty="0">
                        <a:gradFill>
                          <a:gsLst>
                            <a:gs pos="0">
                              <a:schemeClr val="tx2"/>
                            </a:gs>
                            <a:gs pos="100000">
                              <a:schemeClr val="tx2"/>
                            </a:gs>
                          </a:gsLst>
                          <a:lin ang="8100000" scaled="1"/>
                        </a:gradFill>
                      </a:endParaRPr>
                    </a:p>
                  </a:txBody>
                  <a:tcPr marL="76775" marR="76775" marT="38387" marB="38387"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accent6"/>
                    </a:solidFill>
                  </a:tcPr>
                </a:tc>
                <a:extLst>
                  <a:ext uri="{0D108BD9-81ED-4DB2-BD59-A6C34878D82A}">
                    <a16:rowId xmlns:a16="http://schemas.microsoft.com/office/drawing/2014/main" val="1852488359"/>
                  </a:ext>
                </a:extLst>
              </a:tr>
            </a:tbl>
          </a:graphicData>
        </a:graphic>
      </p:graphicFrame>
      <p:graphicFrame>
        <p:nvGraphicFramePr>
          <p:cNvPr id="11" name="Table 10">
            <a:extLst>
              <a:ext uri="{FF2B5EF4-FFF2-40B4-BE49-F238E27FC236}">
                <a16:creationId xmlns:a16="http://schemas.microsoft.com/office/drawing/2014/main" id="{815C55E0-8693-4523-A7EC-0E8E771E82C2}"/>
              </a:ext>
            </a:extLst>
          </p:cNvPr>
          <p:cNvGraphicFramePr>
            <a:graphicFrameLocks noGrp="1"/>
          </p:cNvGraphicFramePr>
          <p:nvPr/>
        </p:nvGraphicFramePr>
        <p:xfrm>
          <a:off x="2895600" y="4809316"/>
          <a:ext cx="1792987" cy="248641"/>
        </p:xfrm>
        <a:graphic>
          <a:graphicData uri="http://schemas.openxmlformats.org/drawingml/2006/table">
            <a:tbl>
              <a:tblPr firstRow="1" bandRow="1">
                <a:tableStyleId>{5C22544A-7EE6-4342-B048-85BDC9FD1C3A}</a:tableStyleId>
              </a:tblPr>
              <a:tblGrid>
                <a:gridCol w="253103">
                  <a:extLst>
                    <a:ext uri="{9D8B030D-6E8A-4147-A177-3AD203B41FA5}">
                      <a16:colId xmlns:a16="http://schemas.microsoft.com/office/drawing/2014/main" val="657516371"/>
                    </a:ext>
                  </a:extLst>
                </a:gridCol>
                <a:gridCol w="644303">
                  <a:extLst>
                    <a:ext uri="{9D8B030D-6E8A-4147-A177-3AD203B41FA5}">
                      <a16:colId xmlns:a16="http://schemas.microsoft.com/office/drawing/2014/main" val="3194317718"/>
                    </a:ext>
                  </a:extLst>
                </a:gridCol>
                <a:gridCol w="251278">
                  <a:extLst>
                    <a:ext uri="{9D8B030D-6E8A-4147-A177-3AD203B41FA5}">
                      <a16:colId xmlns:a16="http://schemas.microsoft.com/office/drawing/2014/main" val="1265651489"/>
                    </a:ext>
                  </a:extLst>
                </a:gridCol>
                <a:gridCol w="644303">
                  <a:extLst>
                    <a:ext uri="{9D8B030D-6E8A-4147-A177-3AD203B41FA5}">
                      <a16:colId xmlns:a16="http://schemas.microsoft.com/office/drawing/2014/main" val="1060466096"/>
                    </a:ext>
                  </a:extLst>
                </a:gridCol>
              </a:tblGrid>
              <a:tr h="248641">
                <a:tc>
                  <a:txBody>
                    <a:bodyPr/>
                    <a:lstStyle/>
                    <a:p>
                      <a:endParaRPr lang="en-US" sz="900" dirty="0">
                        <a:gradFill>
                          <a:gsLst>
                            <a:gs pos="50000">
                              <a:schemeClr val="tx2"/>
                            </a:gs>
                            <a:gs pos="100000">
                              <a:schemeClr val="tx2"/>
                            </a:gs>
                          </a:gsLst>
                          <a:lin ang="8100000" scaled="1"/>
                        </a:gradFill>
                        <a:latin typeface="+mn-lt"/>
                      </a:endParaRPr>
                    </a:p>
                  </a:txBody>
                  <a:tcPr marL="64430" marR="64430" marT="32215" marB="3221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6E6E6"/>
                    </a:solidFill>
                  </a:tcPr>
                </a:tc>
                <a:tc>
                  <a:txBody>
                    <a:bodyPr/>
                    <a:lstStyle/>
                    <a:p>
                      <a:pPr marL="0" algn="l" defTabSz="699557" rtl="0" eaLnBrk="1" latinLnBrk="0" hangingPunct="1"/>
                      <a:r>
                        <a:rPr lang="en-US" sz="900" b="0" kern="1200" dirty="0">
                          <a:gradFill>
                            <a:gsLst>
                              <a:gs pos="50000">
                                <a:schemeClr val="tx2"/>
                              </a:gs>
                              <a:gs pos="100000">
                                <a:schemeClr val="tx2"/>
                              </a:gs>
                            </a:gsLst>
                            <a:lin ang="8100000" scaled="1"/>
                          </a:gradFill>
                          <a:latin typeface="+mn-lt"/>
                          <a:ea typeface="+mn-ea"/>
                          <a:cs typeface="+mn-cs"/>
                        </a:rPr>
                        <a:t>Microsoft</a:t>
                      </a:r>
                    </a:p>
                  </a:txBody>
                  <a:tcPr marL="64430" marR="64430" marT="32215" marB="3221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endParaRPr lang="en-US" sz="900" dirty="0">
                        <a:gradFill>
                          <a:gsLst>
                            <a:gs pos="50000">
                              <a:schemeClr val="tx2"/>
                            </a:gs>
                            <a:gs pos="100000">
                              <a:schemeClr val="tx2"/>
                            </a:gs>
                          </a:gsLst>
                          <a:lin ang="8100000" scaled="1"/>
                        </a:gradFill>
                        <a:latin typeface="+mn-lt"/>
                      </a:endParaRPr>
                    </a:p>
                  </a:txBody>
                  <a:tcPr marL="64430" marR="64430" marT="32215" marB="3221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dirty="0">
                          <a:gradFill>
                            <a:gsLst>
                              <a:gs pos="50000">
                                <a:schemeClr val="tx2"/>
                              </a:gs>
                              <a:gs pos="100000">
                                <a:schemeClr val="tx2"/>
                              </a:gs>
                            </a:gsLst>
                            <a:lin ang="8100000" scaled="1"/>
                          </a:gradFill>
                          <a:latin typeface="+mn-lt"/>
                          <a:ea typeface="+mn-ea"/>
                          <a:cs typeface="+mn-cs"/>
                        </a:rPr>
                        <a:t>Customer</a:t>
                      </a:r>
                    </a:p>
                  </a:txBody>
                  <a:tcPr marL="64430" marR="64430" marT="32215" marB="32215"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870584792"/>
                  </a:ext>
                </a:extLst>
              </a:tr>
            </a:tbl>
          </a:graphicData>
        </a:graphic>
      </p:graphicFrame>
      <p:sp>
        <p:nvSpPr>
          <p:cNvPr id="12" name="Rectangle 11">
            <a:extLst>
              <a:ext uri="{FF2B5EF4-FFF2-40B4-BE49-F238E27FC236}">
                <a16:creationId xmlns:a16="http://schemas.microsoft.com/office/drawing/2014/main" id="{5F5B5971-279A-414F-B2FC-B94E4012CC58}"/>
              </a:ext>
            </a:extLst>
          </p:cNvPr>
          <p:cNvSpPr/>
          <p:nvPr/>
        </p:nvSpPr>
        <p:spPr>
          <a:xfrm>
            <a:off x="4314723" y="5218832"/>
            <a:ext cx="3327707" cy="276999"/>
          </a:xfrm>
          <a:prstGeom prst="rect">
            <a:avLst/>
          </a:prstGeom>
        </p:spPr>
        <p:txBody>
          <a:bodyPr wrap="none">
            <a:spAutoFit/>
          </a:bodyPr>
          <a:lstStyle/>
          <a:p>
            <a:pPr algn="ctr" defTabSz="685828"/>
            <a:r>
              <a:rPr lang="en-US" sz="1200" b="1" i="1" dirty="0">
                <a:gradFill>
                  <a:gsLst>
                    <a:gs pos="1250">
                      <a:schemeClr val="accent5"/>
                    </a:gs>
                    <a:gs pos="100000">
                      <a:schemeClr val="accent5"/>
                    </a:gs>
                  </a:gsLst>
                  <a:lin ang="5400000" scaled="0"/>
                </a:gradFill>
                <a:latin typeface="Segoe UI"/>
              </a:rPr>
              <a:t>*</a:t>
            </a:r>
            <a:r>
              <a:rPr lang="en-US" sz="1200" i="1" dirty="0">
                <a:gradFill>
                  <a:gsLst>
                    <a:gs pos="1250">
                      <a:schemeClr val="accent5"/>
                    </a:gs>
                    <a:gs pos="100000">
                      <a:schemeClr val="accent5"/>
                    </a:gs>
                  </a:gsLst>
                  <a:lin ang="5400000" scaled="0"/>
                </a:gradFill>
                <a:latin typeface="Segoe UI"/>
              </a:rPr>
              <a:t>You still need to manage feature configuration</a:t>
            </a:r>
          </a:p>
        </p:txBody>
      </p:sp>
      <p:sp>
        <p:nvSpPr>
          <p:cNvPr id="13" name="Title 5">
            <a:extLst>
              <a:ext uri="{FF2B5EF4-FFF2-40B4-BE49-F238E27FC236}">
                <a16:creationId xmlns:a16="http://schemas.microsoft.com/office/drawing/2014/main" id="{6E36881E-A7AA-4F15-8AD2-4A4A1205D889}"/>
              </a:ext>
            </a:extLst>
          </p:cNvPr>
          <p:cNvSpPr>
            <a:spLocks noGrp="1"/>
          </p:cNvSpPr>
          <p:nvPr>
            <p:ph type="title"/>
          </p:nvPr>
        </p:nvSpPr>
        <p:spPr>
          <a:xfrm>
            <a:off x="441197" y="342901"/>
            <a:ext cx="8263890" cy="415499"/>
          </a:xfrm>
        </p:spPr>
        <p:txBody>
          <a:bodyPr/>
          <a:lstStyle/>
          <a:p>
            <a:r>
              <a:rPr lang="en-US" dirty="0"/>
              <a:t>Security Responsibilities Transfer to Cloud</a:t>
            </a:r>
          </a:p>
        </p:txBody>
      </p:sp>
      <p:sp>
        <p:nvSpPr>
          <p:cNvPr id="14" name="Rectangle 13">
            <a:extLst>
              <a:ext uri="{FF2B5EF4-FFF2-40B4-BE49-F238E27FC236}">
                <a16:creationId xmlns:a16="http://schemas.microsoft.com/office/drawing/2014/main" id="{E0878BDC-9988-4802-9906-763A8E9D2E6C}"/>
              </a:ext>
            </a:extLst>
          </p:cNvPr>
          <p:cNvSpPr/>
          <p:nvPr/>
        </p:nvSpPr>
        <p:spPr>
          <a:xfrm>
            <a:off x="4357632" y="3046094"/>
            <a:ext cx="3871969" cy="1633396"/>
          </a:xfrm>
          <a:prstGeom prst="rect">
            <a:avLst/>
          </a:prstGeom>
        </p:spPr>
        <p:txBody>
          <a:bodyPr wrap="square">
            <a:spAutoFit/>
          </a:bodyPr>
          <a:lstStyle/>
          <a:p>
            <a:pPr marL="0" lvl="1" defTabSz="685828">
              <a:lnSpc>
                <a:spcPct val="90000"/>
              </a:lnSpc>
              <a:spcAft>
                <a:spcPts val="450"/>
              </a:spcAft>
              <a:buSzPct val="90000"/>
            </a:pPr>
            <a:r>
              <a:rPr lang="en-US" sz="1400"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IaaS and PaaS</a:t>
            </a:r>
          </a:p>
          <a:p>
            <a:pPr marL="0" lvl="1" defTabSz="685828">
              <a:lnSpc>
                <a:spcPct val="90000"/>
              </a:lnSpc>
              <a:spcAft>
                <a:spcPts val="450"/>
              </a:spcAft>
              <a:buSzPct val="90000"/>
            </a:pP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nial of Service*</a:t>
            </a:r>
          </a:p>
          <a:p>
            <a:pPr marL="0" lvl="1" defTabSz="685828">
              <a:lnSpc>
                <a:spcPct val="90000"/>
              </a:lnSpc>
              <a:spcAft>
                <a:spcPts val="450"/>
              </a:spcAft>
              <a:buSzPct val="90000"/>
            </a:pP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Racking/Stacking Servers, </a:t>
            </a:r>
            <a:b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Delays in Adding Capacity</a:t>
            </a:r>
          </a:p>
          <a:p>
            <a:pPr marL="0" lvl="1" defTabSz="685828">
              <a:lnSpc>
                <a:spcPct val="90000"/>
              </a:lnSpc>
              <a:spcAft>
                <a:spcPts val="450"/>
              </a:spcAft>
              <a:buSzPct val="90000"/>
            </a:pP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Virtualization Patching, </a:t>
            </a:r>
            <a:b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Maintenance  &amp; Troubleshooting</a:t>
            </a:r>
          </a:p>
          <a:p>
            <a:pPr marL="0" lvl="1" defTabSz="685828">
              <a:lnSpc>
                <a:spcPct val="90000"/>
              </a:lnSpc>
              <a:spcAft>
                <a:spcPts val="450"/>
              </a:spcAft>
              <a:buSzPct val="90000"/>
            </a:pP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abric Availability / Uptime</a:t>
            </a:r>
            <a:b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a:t>
            </a: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sym typeface="Wingdings" panose="05000000000000000000" pitchFamily="2" charset="2"/>
              </a:rPr>
              <a:t> </a:t>
            </a: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hlinkClick r:id="rId2"/>
              </a:rPr>
              <a:t>SLA</a:t>
            </a: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 from Microsoft</a:t>
            </a:r>
          </a:p>
        </p:txBody>
      </p:sp>
      <p:grpSp>
        <p:nvGrpSpPr>
          <p:cNvPr id="15" name="Group 14">
            <a:extLst>
              <a:ext uri="{FF2B5EF4-FFF2-40B4-BE49-F238E27FC236}">
                <a16:creationId xmlns:a16="http://schemas.microsoft.com/office/drawing/2014/main" id="{02F9EC31-5144-47CA-BE55-7C60A0C00AC8}"/>
              </a:ext>
            </a:extLst>
          </p:cNvPr>
          <p:cNvGrpSpPr/>
          <p:nvPr/>
        </p:nvGrpSpPr>
        <p:grpSpPr>
          <a:xfrm>
            <a:off x="3727618" y="1009061"/>
            <a:ext cx="2821109" cy="2366695"/>
            <a:chOff x="4970158" y="1345414"/>
            <a:chExt cx="3761478" cy="3155593"/>
          </a:xfrm>
        </p:grpSpPr>
        <p:sp>
          <p:nvSpPr>
            <p:cNvPr id="16" name="Rectangle: Rounded Corners 15">
              <a:extLst>
                <a:ext uri="{FF2B5EF4-FFF2-40B4-BE49-F238E27FC236}">
                  <a16:creationId xmlns:a16="http://schemas.microsoft.com/office/drawing/2014/main" id="{CED1ED07-6A91-41C9-BCD4-A2486E137D24}"/>
                </a:ext>
              </a:extLst>
            </p:cNvPr>
            <p:cNvSpPr/>
            <p:nvPr/>
          </p:nvSpPr>
          <p:spPr bwMode="auto">
            <a:xfrm>
              <a:off x="5649469" y="1345414"/>
              <a:ext cx="3082167" cy="2498622"/>
            </a:xfrm>
            <a:prstGeom prst="roundRect">
              <a:avLst>
                <a:gd name="adj" fmla="val 0"/>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t" anchorCtr="0" forceAA="0" compatLnSpc="1">
              <a:prstTxWarp prst="textNoShape">
                <a:avLst/>
              </a:prstTxWarp>
              <a:noAutofit/>
            </a:bodyPr>
            <a:lstStyle/>
            <a:p>
              <a:pPr algn="ctr" defTabSz="514235">
                <a:lnSpc>
                  <a:spcPct val="90000"/>
                </a:lnSpc>
              </a:pPr>
              <a:endParaRPr lang="en-US" sz="1324" kern="0" dirty="0">
                <a:gradFill>
                  <a:gsLst>
                    <a:gs pos="0">
                      <a:srgbClr val="FFFFFF"/>
                    </a:gs>
                    <a:gs pos="100000">
                      <a:srgbClr val="FFFFFF"/>
                    </a:gs>
                  </a:gsLst>
                  <a:lin ang="5400000" scaled="0"/>
                </a:gradFill>
                <a:latin typeface="Segoe UI"/>
                <a:cs typeface="Segoe UI" pitchFamily="34" charset="0"/>
              </a:endParaRPr>
            </a:p>
          </p:txBody>
        </p:sp>
        <p:grpSp>
          <p:nvGrpSpPr>
            <p:cNvPr id="17" name="Group 16">
              <a:extLst>
                <a:ext uri="{FF2B5EF4-FFF2-40B4-BE49-F238E27FC236}">
                  <a16:creationId xmlns:a16="http://schemas.microsoft.com/office/drawing/2014/main" id="{4CA08E62-66E3-4671-9C44-4CAC42449A24}"/>
                </a:ext>
              </a:extLst>
            </p:cNvPr>
            <p:cNvGrpSpPr/>
            <p:nvPr/>
          </p:nvGrpSpPr>
          <p:grpSpPr>
            <a:xfrm>
              <a:off x="4970158" y="2969361"/>
              <a:ext cx="679296" cy="1531646"/>
              <a:chOff x="5096381" y="3720210"/>
              <a:chExt cx="438836" cy="1624734"/>
            </a:xfrm>
          </p:grpSpPr>
          <p:sp>
            <p:nvSpPr>
              <p:cNvPr id="18" name="Right Bracket 17">
                <a:extLst>
                  <a:ext uri="{FF2B5EF4-FFF2-40B4-BE49-F238E27FC236}">
                    <a16:creationId xmlns:a16="http://schemas.microsoft.com/office/drawing/2014/main" id="{701215EE-9566-4788-9C3B-E4CD628B2465}"/>
                  </a:ext>
                </a:extLst>
              </p:cNvPr>
              <p:cNvSpPr/>
              <p:nvPr/>
            </p:nvSpPr>
            <p:spPr>
              <a:xfrm>
                <a:off x="5096381" y="3720210"/>
                <a:ext cx="45713" cy="1624734"/>
              </a:xfrm>
              <a:prstGeom prst="rightBracket">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9" name="Straight Connector 18">
                <a:extLst>
                  <a:ext uri="{FF2B5EF4-FFF2-40B4-BE49-F238E27FC236}">
                    <a16:creationId xmlns:a16="http://schemas.microsoft.com/office/drawing/2014/main" id="{34CFEA0B-4CE8-4653-94CF-2640A316ECBF}"/>
                  </a:ext>
                </a:extLst>
              </p:cNvPr>
              <p:cNvCxnSpPr>
                <a:cxnSpLocks/>
              </p:cNvCxnSpPr>
              <p:nvPr/>
            </p:nvCxnSpPr>
            <p:spPr>
              <a:xfrm>
                <a:off x="5142099" y="4318699"/>
                <a:ext cx="393118" cy="0"/>
              </a:xfrm>
              <a:prstGeom prst="line">
                <a:avLst/>
              </a:prstGeom>
              <a:ln w="34925">
                <a:solidFill>
                  <a:schemeClr val="tx1">
                    <a:lumMod val="75000"/>
                    <a:lumOff val="2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0" name="Rectangle 19">
            <a:extLst>
              <a:ext uri="{FF2B5EF4-FFF2-40B4-BE49-F238E27FC236}">
                <a16:creationId xmlns:a16="http://schemas.microsoft.com/office/drawing/2014/main" id="{4C7D9F51-3B39-40C1-B28A-A0281B2099A3}"/>
              </a:ext>
            </a:extLst>
          </p:cNvPr>
          <p:cNvSpPr/>
          <p:nvPr/>
        </p:nvSpPr>
        <p:spPr>
          <a:xfrm>
            <a:off x="4287705" y="1123252"/>
            <a:ext cx="2258555" cy="1268039"/>
          </a:xfrm>
          <a:prstGeom prst="rect">
            <a:avLst/>
          </a:prstGeom>
        </p:spPr>
        <p:txBody>
          <a:bodyPr wrap="square">
            <a:spAutoFit/>
          </a:bodyPr>
          <a:lstStyle/>
          <a:p>
            <a:pPr marL="0" lvl="1" defTabSz="685828">
              <a:lnSpc>
                <a:spcPct val="90000"/>
              </a:lnSpc>
              <a:spcBef>
                <a:spcPct val="20000"/>
              </a:spcBef>
              <a:spcAft>
                <a:spcPts val="450"/>
              </a:spcAft>
              <a:buSzPct val="90000"/>
            </a:pPr>
            <a:r>
              <a:rPr lang="en-US" sz="1400"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Transferred for PaaS</a:t>
            </a:r>
          </a:p>
          <a:p>
            <a:pPr marL="0" lvl="1" defTabSz="685828">
              <a:lnSpc>
                <a:spcPct val="90000"/>
              </a:lnSpc>
              <a:spcAft>
                <a:spcPts val="450"/>
              </a:spcAft>
              <a:buSzPct val="90000"/>
            </a:pPr>
            <a:r>
              <a:rPr lang="en-US" sz="12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Security Patches </a:t>
            </a:r>
          </a:p>
          <a:p>
            <a:pPr marL="0" lvl="1" defTabSz="685828">
              <a:lnSpc>
                <a:spcPct val="90000"/>
              </a:lnSpc>
              <a:spcAft>
                <a:spcPts val="450"/>
              </a:spcAft>
              <a:buSzPct val="90000"/>
            </a:pPr>
            <a:r>
              <a:rPr lang="en-US" sz="12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Feature Upgrades</a:t>
            </a:r>
          </a:p>
          <a:p>
            <a:pPr marL="0" lvl="1" defTabSz="685828">
              <a:lnSpc>
                <a:spcPct val="90000"/>
              </a:lnSpc>
              <a:spcAft>
                <a:spcPts val="450"/>
              </a:spcAft>
              <a:buSzPct val="90000"/>
            </a:pPr>
            <a:r>
              <a:rPr lang="en-US" sz="12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Ms/Containers security – </a:t>
            </a:r>
            <a:br>
              <a:rPr lang="en-US" sz="12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br>
            <a:r>
              <a:rPr lang="en-US" sz="105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OS and Middleware Installation, Maintenance, troubleshooting, etc.</a:t>
            </a:r>
            <a:endParaRPr lang="en-US" sz="1200"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2EC67723-34A5-486E-B5D2-6690E533A305}"/>
              </a:ext>
            </a:extLst>
          </p:cNvPr>
          <p:cNvSpPr/>
          <p:nvPr/>
        </p:nvSpPr>
        <p:spPr>
          <a:xfrm>
            <a:off x="6548727" y="3375755"/>
            <a:ext cx="2200873" cy="1202380"/>
          </a:xfrm>
          <a:prstGeom prst="rect">
            <a:avLst/>
          </a:prstGeom>
        </p:spPr>
        <p:txBody>
          <a:bodyPr wrap="square">
            <a:spAutoFit/>
          </a:bodyPr>
          <a:lstStyle/>
          <a:p>
            <a:pPr marL="0" lvl="1" defTabSz="685828">
              <a:lnSpc>
                <a:spcPct val="90000"/>
              </a:lnSpc>
              <a:spcBef>
                <a:spcPct val="20000"/>
              </a:spcBef>
              <a:spcAft>
                <a:spcPts val="450"/>
              </a:spcAft>
              <a:buSzPct val="90000"/>
            </a:pPr>
            <a:r>
              <a:rPr lang="en-US" sz="1200" b="1"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Attacks on </a:t>
            </a:r>
          </a:p>
          <a:p>
            <a:pPr marL="214313" lvl="1" indent="-214313" defTabSz="685828">
              <a:lnSpc>
                <a:spcPct val="90000"/>
              </a:lnSpc>
              <a:spcBef>
                <a:spcPts val="450"/>
              </a:spcBef>
              <a:buSzPct val="90000"/>
              <a:buFont typeface="Arial" panose="020B0604020202020204" pitchFamily="34" charset="0"/>
              <a:buChar char="•"/>
            </a:pP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Physical Attacks</a:t>
            </a:r>
          </a:p>
          <a:p>
            <a:pPr marL="214313" lvl="1" indent="-214313" defTabSz="685828">
              <a:lnSpc>
                <a:spcPct val="90000"/>
              </a:lnSpc>
              <a:spcBef>
                <a:spcPts val="450"/>
              </a:spcBef>
              <a:buSzPct val="90000"/>
              <a:buFont typeface="Arial" panose="020B0604020202020204" pitchFamily="34" charset="0"/>
              <a:buChar char="•"/>
            </a:pP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Virtualization Fabric</a:t>
            </a:r>
          </a:p>
          <a:p>
            <a:pPr marL="214313" lvl="1" indent="-214313" defTabSz="685828">
              <a:lnSpc>
                <a:spcPct val="90000"/>
              </a:lnSpc>
              <a:spcBef>
                <a:spcPts val="450"/>
              </a:spcBef>
              <a:buSzPct val="90000"/>
              <a:buFont typeface="Arial" panose="020B0604020202020204" pitchFamily="34" charset="0"/>
              <a:buChar char="•"/>
            </a:pP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Hardware/Firmware</a:t>
            </a:r>
          </a:p>
          <a:p>
            <a:pPr marL="214313" lvl="1" indent="-214313" defTabSz="685828">
              <a:lnSpc>
                <a:spcPct val="90000"/>
              </a:lnSpc>
              <a:spcBef>
                <a:spcPts val="450"/>
              </a:spcBef>
              <a:buSzPct val="90000"/>
              <a:buFont typeface="Arial" panose="020B0604020202020204" pitchFamily="34" charset="0"/>
              <a:buChar char="•"/>
            </a:pPr>
            <a:r>
              <a:rPr lang="en-US" sz="1125" dirty="0">
                <a:gradFill>
                  <a:gsLst>
                    <a:gs pos="1250">
                      <a:schemeClr val="tx1"/>
                    </a:gs>
                    <a:gs pos="100000">
                      <a:schemeClr val="tx1"/>
                    </a:gs>
                  </a:gsLst>
                  <a:lin ang="5400000" scaled="0"/>
                </a:gradFill>
                <a:latin typeface="Segoe UI" panose="020B0502040204020203" pitchFamily="34" charset="0"/>
                <a:cs typeface="Segoe UI" panose="020B0502040204020203" pitchFamily="34" charset="0"/>
              </a:rPr>
              <a:t>Network Infrastructure</a:t>
            </a:r>
          </a:p>
        </p:txBody>
      </p:sp>
      <p:sp>
        <p:nvSpPr>
          <p:cNvPr id="22" name="Rectangle 21">
            <a:extLst>
              <a:ext uri="{FF2B5EF4-FFF2-40B4-BE49-F238E27FC236}">
                <a16:creationId xmlns:a16="http://schemas.microsoft.com/office/drawing/2014/main" id="{BA03AE30-B631-40ED-B397-B5ACB640D852}"/>
              </a:ext>
            </a:extLst>
          </p:cNvPr>
          <p:cNvSpPr/>
          <p:nvPr/>
        </p:nvSpPr>
        <p:spPr bwMode="auto">
          <a:xfrm>
            <a:off x="6797041" y="2042534"/>
            <a:ext cx="1908047" cy="722735"/>
          </a:xfrm>
          <a:prstGeom prst="rect">
            <a:avLst/>
          </a:prstGeom>
          <a:solidFill>
            <a:schemeClr val="bg1">
              <a:lumMod val="50000"/>
              <a:alpha val="14902"/>
            </a:schemeClr>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48" tIns="80678" rIns="100848" bIns="80678" numCol="1" spcCol="0" rtlCol="0" fromWordArt="0" anchor="ctr" anchorCtr="0" forceAA="0" compatLnSpc="1">
            <a:prstTxWarp prst="textNoShape">
              <a:avLst/>
            </a:prstTxWarp>
            <a:noAutofit/>
          </a:bodyPr>
          <a:lstStyle/>
          <a:p>
            <a:pPr algn="ctr" defTabSz="514235">
              <a:lnSpc>
                <a:spcPct val="90000"/>
              </a:lnSpc>
            </a:pPr>
            <a:r>
              <a:rPr lang="en-US" sz="1324" b="1" kern="0" dirty="0">
                <a:solidFill>
                  <a:sysClr val="windowText" lastClr="000000"/>
                </a:solidFill>
                <a:latin typeface="Segoe UI"/>
                <a:cs typeface="Segoe UI" pitchFamily="34" charset="0"/>
              </a:rPr>
              <a:t>Azure Marketplace </a:t>
            </a:r>
            <a:r>
              <a:rPr lang="en-US" sz="1324" kern="0" dirty="0">
                <a:solidFill>
                  <a:sysClr val="windowText" lastClr="000000"/>
                </a:solidFill>
                <a:latin typeface="Segoe UI"/>
                <a:cs typeface="Segoe UI" pitchFamily="34" charset="0"/>
              </a:rPr>
              <a:t>fits PaaS or IaaS model</a:t>
            </a:r>
          </a:p>
        </p:txBody>
      </p:sp>
      <p:sp>
        <p:nvSpPr>
          <p:cNvPr id="23" name="Isosceles Triangle 22">
            <a:extLst>
              <a:ext uri="{FF2B5EF4-FFF2-40B4-BE49-F238E27FC236}">
                <a16:creationId xmlns:a16="http://schemas.microsoft.com/office/drawing/2014/main" id="{02FDA16B-ACCC-4947-A935-D3C1AFA669C0}"/>
              </a:ext>
            </a:extLst>
          </p:cNvPr>
          <p:cNvSpPr/>
          <p:nvPr/>
        </p:nvSpPr>
        <p:spPr bwMode="auto">
          <a:xfrm rot="10800000">
            <a:off x="7483416" y="2807953"/>
            <a:ext cx="414389" cy="117875"/>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4" name="Isosceles Triangle 23">
            <a:extLst>
              <a:ext uri="{FF2B5EF4-FFF2-40B4-BE49-F238E27FC236}">
                <a16:creationId xmlns:a16="http://schemas.microsoft.com/office/drawing/2014/main" id="{AE2CD712-E9D5-4DD6-9062-A29ABFD3EBC5}"/>
              </a:ext>
            </a:extLst>
          </p:cNvPr>
          <p:cNvSpPr/>
          <p:nvPr/>
        </p:nvSpPr>
        <p:spPr bwMode="auto">
          <a:xfrm rot="16200000">
            <a:off x="6464455" y="2344963"/>
            <a:ext cx="414389" cy="117875"/>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54"/>
            <a:endParaRPr lang="en-US"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099943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250"/>
                                        <p:tgtEl>
                                          <p:spTgt spid="14">
                                            <p:txEl>
                                              <p:pRg st="0" end="0"/>
                                            </p:txEl>
                                          </p:spTgt>
                                        </p:tgtEl>
                                      </p:cBhvr>
                                    </p:animEffect>
                                  </p:childTnLst>
                                </p:cTn>
                              </p:par>
                            </p:childTnLst>
                          </p:cTn>
                        </p:par>
                        <p:par>
                          <p:cTn id="8" fill="hold">
                            <p:stCondLst>
                              <p:cond delay="25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14">
                                            <p:txEl>
                                              <p:pRg st="1" end="1"/>
                                            </p:txEl>
                                          </p:spTgt>
                                        </p:tgtEl>
                                        <p:attrNameLst>
                                          <p:attrName>style.visibility</p:attrName>
                                        </p:attrNameLst>
                                      </p:cBhvr>
                                      <p:to>
                                        <p:strVal val="visible"/>
                                      </p:to>
                                    </p:set>
                                    <p:animEffect transition="in" filter="fade">
                                      <p:cBhvr>
                                        <p:cTn id="15" dur="250"/>
                                        <p:tgtEl>
                                          <p:spTgt spid="14">
                                            <p:txEl>
                                              <p:pRg st="1" end="1"/>
                                            </p:txEl>
                                          </p:spTgt>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4">
                                            <p:txEl>
                                              <p:pRg st="2" end="2"/>
                                            </p:txEl>
                                          </p:spTgt>
                                        </p:tgtEl>
                                        <p:attrNameLst>
                                          <p:attrName>style.visibility</p:attrName>
                                        </p:attrNameLst>
                                      </p:cBhvr>
                                      <p:to>
                                        <p:strVal val="visible"/>
                                      </p:to>
                                    </p:set>
                                    <p:animEffect transition="in" filter="fade">
                                      <p:cBhvr>
                                        <p:cTn id="19" dur="250"/>
                                        <p:tgtEl>
                                          <p:spTgt spid="14">
                                            <p:txEl>
                                              <p:pRg st="2" end="2"/>
                                            </p:txEl>
                                          </p:spTgt>
                                        </p:tgtEl>
                                      </p:cBhvr>
                                    </p:animEffect>
                                  </p:childTnLst>
                                </p:cTn>
                              </p:par>
                            </p:childTnLst>
                          </p:cTn>
                        </p:par>
                        <p:par>
                          <p:cTn id="20" fill="hold">
                            <p:stCondLst>
                              <p:cond delay="1250"/>
                            </p:stCondLst>
                            <p:childTnLst>
                              <p:par>
                                <p:cTn id="21" presetID="10" presetClass="entr" presetSubtype="0" fill="hold" nodeType="afterEffect">
                                  <p:stCondLst>
                                    <p:cond delay="0"/>
                                  </p:stCondLst>
                                  <p:childTnLst>
                                    <p:set>
                                      <p:cBhvr>
                                        <p:cTn id="22" dur="1" fill="hold">
                                          <p:stCondLst>
                                            <p:cond delay="0"/>
                                          </p:stCondLst>
                                        </p:cTn>
                                        <p:tgtEl>
                                          <p:spTgt spid="14">
                                            <p:txEl>
                                              <p:pRg st="3" end="3"/>
                                            </p:txEl>
                                          </p:spTgt>
                                        </p:tgtEl>
                                        <p:attrNameLst>
                                          <p:attrName>style.visibility</p:attrName>
                                        </p:attrNameLst>
                                      </p:cBhvr>
                                      <p:to>
                                        <p:strVal val="visible"/>
                                      </p:to>
                                    </p:set>
                                    <p:animEffect transition="in" filter="fade">
                                      <p:cBhvr>
                                        <p:cTn id="23" dur="250"/>
                                        <p:tgtEl>
                                          <p:spTgt spid="14">
                                            <p:txEl>
                                              <p:pRg st="3" end="3"/>
                                            </p:txEl>
                                          </p:spTgt>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4">
                                            <p:txEl>
                                              <p:pRg st="4" end="4"/>
                                            </p:txEl>
                                          </p:spTgt>
                                        </p:tgtEl>
                                        <p:attrNameLst>
                                          <p:attrName>style.visibility</p:attrName>
                                        </p:attrNameLst>
                                      </p:cBhvr>
                                      <p:to>
                                        <p:strVal val="visible"/>
                                      </p:to>
                                    </p:set>
                                    <p:animEffect transition="in" filter="fade">
                                      <p:cBhvr>
                                        <p:cTn id="27" dur="250"/>
                                        <p:tgtEl>
                                          <p:spTgt spid="14">
                                            <p:txEl>
                                              <p:pRg st="4" end="4"/>
                                            </p:txEl>
                                          </p:spTgt>
                                        </p:tgtEl>
                                      </p:cBhvr>
                                    </p:animEffect>
                                  </p:childTnLst>
                                </p:cTn>
                              </p:par>
                            </p:childTnLst>
                          </p:cTn>
                        </p:par>
                        <p:par>
                          <p:cTn id="28" fill="hold">
                            <p:stCondLst>
                              <p:cond delay="1750"/>
                            </p:stCondLst>
                            <p:childTnLst>
                              <p:par>
                                <p:cTn id="29" presetID="10"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250"/>
                                        <p:tgtEl>
                                          <p:spTgt spid="21"/>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nodeType="click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wipe(left)">
                                      <p:cBhvr>
                                        <p:cTn id="40" dur="500"/>
                                        <p:tgtEl>
                                          <p:spTgt spid="15"/>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20">
                                            <p:txEl>
                                              <p:pRg st="0" end="0"/>
                                            </p:txEl>
                                          </p:spTgt>
                                        </p:tgtEl>
                                        <p:attrNameLst>
                                          <p:attrName>style.visibility</p:attrName>
                                        </p:attrNameLst>
                                      </p:cBhvr>
                                      <p:to>
                                        <p:strVal val="visible"/>
                                      </p:to>
                                    </p:set>
                                    <p:animEffect transition="in" filter="fade">
                                      <p:cBhvr>
                                        <p:cTn id="44" dur="250"/>
                                        <p:tgtEl>
                                          <p:spTgt spid="20">
                                            <p:txEl>
                                              <p:pRg st="0" end="0"/>
                                            </p:txEl>
                                          </p:spTgt>
                                        </p:tgtEl>
                                      </p:cBhvr>
                                    </p:animEffect>
                                  </p:childTnLst>
                                </p:cTn>
                              </p:par>
                            </p:childTnLst>
                          </p:cTn>
                        </p:par>
                        <p:par>
                          <p:cTn id="45" fill="hold">
                            <p:stCondLst>
                              <p:cond delay="750"/>
                            </p:stCondLst>
                            <p:childTnLst>
                              <p:par>
                                <p:cTn id="46" presetID="10" presetClass="entr" presetSubtype="0" fill="hold" nodeType="afterEffect">
                                  <p:stCondLst>
                                    <p:cond delay="0"/>
                                  </p:stCondLst>
                                  <p:childTnLst>
                                    <p:set>
                                      <p:cBhvr>
                                        <p:cTn id="47" dur="1" fill="hold">
                                          <p:stCondLst>
                                            <p:cond delay="0"/>
                                          </p:stCondLst>
                                        </p:cTn>
                                        <p:tgtEl>
                                          <p:spTgt spid="20">
                                            <p:txEl>
                                              <p:pRg st="1" end="1"/>
                                            </p:txEl>
                                          </p:spTgt>
                                        </p:tgtEl>
                                        <p:attrNameLst>
                                          <p:attrName>style.visibility</p:attrName>
                                        </p:attrNameLst>
                                      </p:cBhvr>
                                      <p:to>
                                        <p:strVal val="visible"/>
                                      </p:to>
                                    </p:set>
                                    <p:animEffect transition="in" filter="fade">
                                      <p:cBhvr>
                                        <p:cTn id="48" dur="250"/>
                                        <p:tgtEl>
                                          <p:spTgt spid="20">
                                            <p:txEl>
                                              <p:pRg st="1" end="1"/>
                                            </p:txEl>
                                          </p:spTgt>
                                        </p:tgtEl>
                                      </p:cBhvr>
                                    </p:animEffect>
                                  </p:childTnLst>
                                </p:cTn>
                              </p:par>
                            </p:childTnLst>
                          </p:cTn>
                        </p:par>
                        <p:par>
                          <p:cTn id="49" fill="hold">
                            <p:stCondLst>
                              <p:cond delay="1000"/>
                            </p:stCondLst>
                            <p:childTnLst>
                              <p:par>
                                <p:cTn id="50" presetID="10" presetClass="entr" presetSubtype="0" fill="hold" nodeType="afterEffect">
                                  <p:stCondLst>
                                    <p:cond delay="0"/>
                                  </p:stCondLst>
                                  <p:childTnLst>
                                    <p:set>
                                      <p:cBhvr>
                                        <p:cTn id="51" dur="1" fill="hold">
                                          <p:stCondLst>
                                            <p:cond delay="0"/>
                                          </p:stCondLst>
                                        </p:cTn>
                                        <p:tgtEl>
                                          <p:spTgt spid="20">
                                            <p:txEl>
                                              <p:pRg st="2" end="2"/>
                                            </p:txEl>
                                          </p:spTgt>
                                        </p:tgtEl>
                                        <p:attrNameLst>
                                          <p:attrName>style.visibility</p:attrName>
                                        </p:attrNameLst>
                                      </p:cBhvr>
                                      <p:to>
                                        <p:strVal val="visible"/>
                                      </p:to>
                                    </p:set>
                                    <p:animEffect transition="in" filter="fade">
                                      <p:cBhvr>
                                        <p:cTn id="52" dur="250"/>
                                        <p:tgtEl>
                                          <p:spTgt spid="20">
                                            <p:txEl>
                                              <p:pRg st="2" end="2"/>
                                            </p:txEl>
                                          </p:spTgt>
                                        </p:tgtEl>
                                      </p:cBhvr>
                                    </p:animEffect>
                                  </p:childTnLst>
                                </p:cTn>
                              </p:par>
                            </p:childTnLst>
                          </p:cTn>
                        </p:par>
                        <p:par>
                          <p:cTn id="53" fill="hold">
                            <p:stCondLst>
                              <p:cond delay="1250"/>
                            </p:stCondLst>
                            <p:childTnLst>
                              <p:par>
                                <p:cTn id="54" presetID="10" presetClass="entr" presetSubtype="0" fill="hold" nodeType="afterEffect">
                                  <p:stCondLst>
                                    <p:cond delay="0"/>
                                  </p:stCondLst>
                                  <p:childTnLst>
                                    <p:set>
                                      <p:cBhvr>
                                        <p:cTn id="55" dur="1" fill="hold">
                                          <p:stCondLst>
                                            <p:cond delay="0"/>
                                          </p:stCondLst>
                                        </p:cTn>
                                        <p:tgtEl>
                                          <p:spTgt spid="20">
                                            <p:txEl>
                                              <p:pRg st="3" end="3"/>
                                            </p:txEl>
                                          </p:spTgt>
                                        </p:tgtEl>
                                        <p:attrNameLst>
                                          <p:attrName>style.visibility</p:attrName>
                                        </p:attrNameLst>
                                      </p:cBhvr>
                                      <p:to>
                                        <p:strVal val="visible"/>
                                      </p:to>
                                    </p:set>
                                    <p:animEffect transition="in" filter="fade">
                                      <p:cBhvr>
                                        <p:cTn id="56" dur="250"/>
                                        <p:tgtEl>
                                          <p:spTgt spid="20">
                                            <p:txEl>
                                              <p:pRg st="3" end="3"/>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500"/>
                                        <p:tgtEl>
                                          <p:spTgt spid="22"/>
                                        </p:tgtEl>
                                      </p:cBhvr>
                                    </p:animEffect>
                                  </p:childTnLst>
                                </p:cTn>
                              </p:par>
                              <p:par>
                                <p:cTn id="62" presetID="22" presetClass="entr" presetSubtype="2" fill="hold" grpId="0" nodeType="withEffect">
                                  <p:stCondLst>
                                    <p:cond delay="250"/>
                                  </p:stCondLst>
                                  <p:childTnLst>
                                    <p:set>
                                      <p:cBhvr>
                                        <p:cTn id="63" dur="1" fill="hold">
                                          <p:stCondLst>
                                            <p:cond delay="0"/>
                                          </p:stCondLst>
                                        </p:cTn>
                                        <p:tgtEl>
                                          <p:spTgt spid="24"/>
                                        </p:tgtEl>
                                        <p:attrNameLst>
                                          <p:attrName>style.visibility</p:attrName>
                                        </p:attrNameLst>
                                      </p:cBhvr>
                                      <p:to>
                                        <p:strVal val="visible"/>
                                      </p:to>
                                    </p:set>
                                    <p:animEffect transition="in" filter="wipe(right)">
                                      <p:cBhvr>
                                        <p:cTn id="64" dur="500"/>
                                        <p:tgtEl>
                                          <p:spTgt spid="24"/>
                                        </p:tgtEl>
                                      </p:cBhvr>
                                    </p:animEffect>
                                  </p:childTnLst>
                                </p:cTn>
                              </p:par>
                              <p:par>
                                <p:cTn id="65" presetID="22" presetClass="entr" presetSubtype="1" fill="hold" grpId="0" nodeType="withEffect">
                                  <p:stCondLst>
                                    <p:cond delay="250"/>
                                  </p:stCondLst>
                                  <p:childTnLst>
                                    <p:set>
                                      <p:cBhvr>
                                        <p:cTn id="66" dur="1" fill="hold">
                                          <p:stCondLst>
                                            <p:cond delay="0"/>
                                          </p:stCondLst>
                                        </p:cTn>
                                        <p:tgtEl>
                                          <p:spTgt spid="23"/>
                                        </p:tgtEl>
                                        <p:attrNameLst>
                                          <p:attrName>style.visibility</p:attrName>
                                        </p:attrNameLst>
                                      </p:cBhvr>
                                      <p:to>
                                        <p:strVal val="visible"/>
                                      </p:to>
                                    </p:set>
                                    <p:animEffect transition="in" filter="wipe(up)">
                                      <p:cBhvr>
                                        <p:cTn id="6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1" grpId="0"/>
      <p:bldP spid="22" grpId="0" animBg="1"/>
      <p:bldP spid="23" grpId="0" animBg="1"/>
      <p:bldP spid="2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8679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E1D60-ECCE-4A51-B419-E473FA939B1D}"/>
              </a:ext>
            </a:extLst>
          </p:cNvPr>
          <p:cNvSpPr>
            <a:spLocks noGrp="1"/>
          </p:cNvSpPr>
          <p:nvPr>
            <p:ph type="title"/>
          </p:nvPr>
        </p:nvSpPr>
        <p:spPr/>
        <p:txBody>
          <a:bodyPr/>
          <a:lstStyle/>
          <a:p>
            <a:r>
              <a:rPr lang="en-US" dirty="0"/>
              <a:t>CIS Benchmark</a:t>
            </a:r>
          </a:p>
        </p:txBody>
      </p:sp>
      <p:sp>
        <p:nvSpPr>
          <p:cNvPr id="3" name="Text Placeholder 2">
            <a:extLst>
              <a:ext uri="{FF2B5EF4-FFF2-40B4-BE49-F238E27FC236}">
                <a16:creationId xmlns:a16="http://schemas.microsoft.com/office/drawing/2014/main" id="{F4DD54C7-AAD7-4D4B-B7FB-18E28A3E84A0}"/>
              </a:ext>
            </a:extLst>
          </p:cNvPr>
          <p:cNvSpPr>
            <a:spLocks noGrp="1"/>
          </p:cNvSpPr>
          <p:nvPr>
            <p:ph type="body" idx="1"/>
          </p:nvPr>
        </p:nvSpPr>
        <p:spPr>
          <a:xfrm>
            <a:off x="457200" y="1028700"/>
            <a:ext cx="3352800" cy="3200400"/>
          </a:xfrm>
        </p:spPr>
        <p:txBody>
          <a:bodyPr/>
          <a:lstStyle/>
          <a:p>
            <a:r>
              <a:rPr lang="en-US" dirty="0"/>
              <a:t>Step by Step Guide to reviewing security in Azure</a:t>
            </a:r>
          </a:p>
          <a:p>
            <a:r>
              <a:rPr lang="en-US" dirty="0"/>
              <a:t>Images for use as VMs</a:t>
            </a:r>
          </a:p>
          <a:p>
            <a:r>
              <a:rPr lang="en-US" dirty="0"/>
              <a:t>Container Security</a:t>
            </a:r>
          </a:p>
          <a:p>
            <a:r>
              <a:rPr lang="en-US" dirty="0"/>
              <a:t>Integration with Azure Policy and Security Center</a:t>
            </a:r>
          </a:p>
        </p:txBody>
      </p:sp>
      <p:sp>
        <p:nvSpPr>
          <p:cNvPr id="4" name="Rectangle 3">
            <a:extLst>
              <a:ext uri="{FF2B5EF4-FFF2-40B4-BE49-F238E27FC236}">
                <a16:creationId xmlns:a16="http://schemas.microsoft.com/office/drawing/2014/main" id="{17D57D66-AC9A-4EE8-A50D-7FAC90E706E6}"/>
              </a:ext>
            </a:extLst>
          </p:cNvPr>
          <p:cNvSpPr/>
          <p:nvPr/>
        </p:nvSpPr>
        <p:spPr>
          <a:xfrm>
            <a:off x="2362200" y="4400550"/>
            <a:ext cx="4648200" cy="369332"/>
          </a:xfrm>
          <a:prstGeom prst="rect">
            <a:avLst/>
          </a:prstGeom>
        </p:spPr>
        <p:txBody>
          <a:bodyPr wrap="square">
            <a:spAutoFit/>
          </a:bodyPr>
          <a:lstStyle/>
          <a:p>
            <a:r>
              <a:rPr lang="en-US" dirty="0">
                <a:hlinkClick r:id="rId2"/>
              </a:rPr>
              <a:t>https://www.cisecurity.org/benchmark/azure/</a:t>
            </a:r>
            <a:endParaRPr lang="en-US" dirty="0"/>
          </a:p>
        </p:txBody>
      </p:sp>
      <p:pic>
        <p:nvPicPr>
          <p:cNvPr id="2050" name="Picture 2" descr="Image result for azure benchmark cis">
            <a:extLst>
              <a:ext uri="{FF2B5EF4-FFF2-40B4-BE49-F238E27FC236}">
                <a16:creationId xmlns:a16="http://schemas.microsoft.com/office/drawing/2014/main" id="{7F0D1614-CC39-4C82-8A0A-EDBAA0A690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95800" y="895350"/>
            <a:ext cx="4280364" cy="223678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23434AA-9FA5-4856-8543-1C419730DEB8}"/>
              </a:ext>
            </a:extLst>
          </p:cNvPr>
          <p:cNvPicPr>
            <a:picLocks noChangeAspect="1"/>
          </p:cNvPicPr>
          <p:nvPr/>
        </p:nvPicPr>
        <p:blipFill>
          <a:blip r:embed="rId4"/>
          <a:stretch>
            <a:fillRect/>
          </a:stretch>
        </p:blipFill>
        <p:spPr>
          <a:xfrm>
            <a:off x="4686300" y="3181350"/>
            <a:ext cx="3586017" cy="887412"/>
          </a:xfrm>
          <a:prstGeom prst="rect">
            <a:avLst/>
          </a:prstGeom>
        </p:spPr>
      </p:pic>
    </p:spTree>
    <p:extLst>
      <p:ext uri="{BB962C8B-B14F-4D97-AF65-F5344CB8AC3E}">
        <p14:creationId xmlns:p14="http://schemas.microsoft.com/office/powerpoint/2010/main" val="155636621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F68A3C3-9CFA-495A-99F5-31AA544A5E96}"/>
              </a:ext>
            </a:extLst>
          </p:cNvPr>
          <p:cNvSpPr/>
          <p:nvPr/>
        </p:nvSpPr>
        <p:spPr bwMode="auto">
          <a:xfrm>
            <a:off x="16851" y="1299062"/>
            <a:ext cx="9135136" cy="1343832"/>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rot="0" spcFirstLastPara="0" vertOverflow="overflow" horzOverflow="overflow" vert="horz" wrap="square" lIns="0" tIns="34978" rIns="0" bIns="34978" numCol="1" spcCol="0" rtlCol="0" fromWordArt="0" anchor="ctr" anchorCtr="0" forceAA="0" compatLnSpc="1">
            <a:prstTxWarp prst="textNoShape">
              <a:avLst/>
            </a:prstTxWarp>
            <a:noAutofit/>
          </a:bodyPr>
          <a:lstStyle/>
          <a:p>
            <a:pPr algn="ctr" defTabSz="699354" eaLnBrk="1" hangingPunct="1">
              <a:lnSpc>
                <a:spcPct val="90000"/>
              </a:lnSpc>
            </a:pPr>
            <a:endParaRPr lang="en-US" sz="1500" kern="0">
              <a:solidFill>
                <a:srgbClr val="0078D7"/>
              </a:solidFill>
              <a:latin typeface="Segoe UI Semibold" panose="020B0702040204020203"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4415AEFA-3EA8-4F2F-8918-9E101DED05F8}"/>
              </a:ext>
            </a:extLst>
          </p:cNvPr>
          <p:cNvSpPr>
            <a:spLocks noGrp="1"/>
          </p:cNvSpPr>
          <p:nvPr>
            <p:ph type="title"/>
          </p:nvPr>
        </p:nvSpPr>
        <p:spPr>
          <a:xfrm>
            <a:off x="441197" y="342900"/>
            <a:ext cx="8263890" cy="446276"/>
          </a:xfrm>
        </p:spPr>
        <p:txBody>
          <a:bodyPr/>
          <a:lstStyle/>
          <a:p>
            <a:r>
              <a:rPr lang="en-US" dirty="0"/>
              <a:t>Security  Control Planes in Azure</a:t>
            </a:r>
          </a:p>
        </p:txBody>
      </p:sp>
      <p:grpSp>
        <p:nvGrpSpPr>
          <p:cNvPr id="54" name="Group 53">
            <a:extLst>
              <a:ext uri="{FF2B5EF4-FFF2-40B4-BE49-F238E27FC236}">
                <a16:creationId xmlns:a16="http://schemas.microsoft.com/office/drawing/2014/main" id="{D8B8603E-C8B8-4BE1-B07C-0DAA6B803DE0}"/>
              </a:ext>
            </a:extLst>
          </p:cNvPr>
          <p:cNvGrpSpPr/>
          <p:nvPr/>
        </p:nvGrpSpPr>
        <p:grpSpPr>
          <a:xfrm>
            <a:off x="2043928" y="1559913"/>
            <a:ext cx="1708704" cy="2477664"/>
            <a:chOff x="428487" y="1501147"/>
            <a:chExt cx="1708704" cy="2477664"/>
          </a:xfrm>
        </p:grpSpPr>
        <p:grpSp>
          <p:nvGrpSpPr>
            <p:cNvPr id="4" name="Group 3">
              <a:extLst>
                <a:ext uri="{FF2B5EF4-FFF2-40B4-BE49-F238E27FC236}">
                  <a16:creationId xmlns:a16="http://schemas.microsoft.com/office/drawing/2014/main" id="{8879611C-4764-4DC2-88E0-56882E95D8C7}"/>
                </a:ext>
              </a:extLst>
            </p:cNvPr>
            <p:cNvGrpSpPr/>
            <p:nvPr/>
          </p:nvGrpSpPr>
          <p:grpSpPr>
            <a:xfrm>
              <a:off x="428487" y="2105394"/>
              <a:ext cx="1708704" cy="1873417"/>
              <a:chOff x="7145208" y="3231557"/>
              <a:chExt cx="2278272" cy="2497890"/>
            </a:xfrm>
          </p:grpSpPr>
          <p:sp>
            <p:nvSpPr>
              <p:cNvPr id="5" name="TextBox 4">
                <a:extLst>
                  <a:ext uri="{FF2B5EF4-FFF2-40B4-BE49-F238E27FC236}">
                    <a16:creationId xmlns:a16="http://schemas.microsoft.com/office/drawing/2014/main" id="{E92B9BED-AF73-4DDF-BC55-044ECE3EFC39}"/>
                  </a:ext>
                </a:extLst>
              </p:cNvPr>
              <p:cNvSpPr txBox="1">
                <a:spLocks noChangeAspect="1"/>
              </p:cNvSpPr>
              <p:nvPr/>
            </p:nvSpPr>
            <p:spPr>
              <a:xfrm>
                <a:off x="7145208" y="3231557"/>
                <a:ext cx="1663104" cy="483807"/>
              </a:xfrm>
              <a:prstGeom prst="rect">
                <a:avLst/>
              </a:prstGeom>
              <a:noFill/>
            </p:spPr>
            <p:txBody>
              <a:bodyPr wrap="none" lIns="69945" tIns="69945" rIns="69945" bIns="69945"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699422" eaLnBrk="1" hangingPunct="1">
                  <a:spcAft>
                    <a:spcPts val="450"/>
                  </a:spcAft>
                  <a:defRPr/>
                </a:pPr>
                <a:r>
                  <a:rPr lang="en-US" sz="1600" b="0" dirty="0">
                    <a:solidFill>
                      <a:srgbClr val="0D0D0D"/>
                    </a:solidFill>
                    <a:latin typeface="Segoe UI Semibold"/>
                  </a:rPr>
                  <a:t>Governance</a:t>
                </a:r>
              </a:p>
            </p:txBody>
          </p:sp>
          <p:sp>
            <p:nvSpPr>
              <p:cNvPr id="6" name="TextBox 5">
                <a:extLst>
                  <a:ext uri="{FF2B5EF4-FFF2-40B4-BE49-F238E27FC236}">
                    <a16:creationId xmlns:a16="http://schemas.microsoft.com/office/drawing/2014/main" id="{496817CE-2C03-43FE-B6AC-87ED701C05B9}"/>
                  </a:ext>
                </a:extLst>
              </p:cNvPr>
              <p:cNvSpPr txBox="1"/>
              <p:nvPr/>
            </p:nvSpPr>
            <p:spPr>
              <a:xfrm>
                <a:off x="7160369" y="4063777"/>
                <a:ext cx="2263111" cy="1665670"/>
              </a:xfrm>
              <a:prstGeom prst="rect">
                <a:avLst/>
              </a:prstGeom>
              <a:noFill/>
            </p:spPr>
            <p:txBody>
              <a:bodyPr wrap="square" lIns="69945" tIns="69945" rIns="69945" bIns="69945" rtlCol="0">
                <a:spAutoFit/>
              </a:bodyPr>
              <a:lstStyle/>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Subscriptions</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Management Groups</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Policies</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Blueprints</a:t>
                </a:r>
              </a:p>
            </p:txBody>
          </p:sp>
        </p:grpSp>
        <p:pic>
          <p:nvPicPr>
            <p:cNvPr id="8" name="Picture 7" descr="A close up of a logo&#10;&#10;Description generated with high confidence">
              <a:extLst>
                <a:ext uri="{FF2B5EF4-FFF2-40B4-BE49-F238E27FC236}">
                  <a16:creationId xmlns:a16="http://schemas.microsoft.com/office/drawing/2014/main" id="{C109F735-6EE7-4D99-960F-3C4788AE659A}"/>
                </a:ext>
              </a:extLst>
            </p:cNvPr>
            <p:cNvPicPr>
              <a:picLocks noChangeAspect="1"/>
            </p:cNvPicPr>
            <p:nvPr/>
          </p:nvPicPr>
          <p:blipFill>
            <a:blip r:embed="rId3"/>
            <a:stretch>
              <a:fillRect/>
            </a:stretch>
          </p:blipFill>
          <p:spPr>
            <a:xfrm>
              <a:off x="510733" y="1501147"/>
              <a:ext cx="480636" cy="480636"/>
            </a:xfrm>
            <a:prstGeom prst="rect">
              <a:avLst/>
            </a:prstGeom>
          </p:spPr>
        </p:pic>
      </p:grpSp>
      <p:grpSp>
        <p:nvGrpSpPr>
          <p:cNvPr id="57" name="Group 56">
            <a:extLst>
              <a:ext uri="{FF2B5EF4-FFF2-40B4-BE49-F238E27FC236}">
                <a16:creationId xmlns:a16="http://schemas.microsoft.com/office/drawing/2014/main" id="{2204A6A7-3CD1-4A05-8BB2-D3B8306447B2}"/>
              </a:ext>
            </a:extLst>
          </p:cNvPr>
          <p:cNvGrpSpPr/>
          <p:nvPr/>
        </p:nvGrpSpPr>
        <p:grpSpPr>
          <a:xfrm>
            <a:off x="5715000" y="1514536"/>
            <a:ext cx="1571229" cy="2533461"/>
            <a:chOff x="5715000" y="1514536"/>
            <a:chExt cx="1571229" cy="2533461"/>
          </a:xfrm>
        </p:grpSpPr>
        <p:grpSp>
          <p:nvGrpSpPr>
            <p:cNvPr id="24" name="Group 23">
              <a:extLst>
                <a:ext uri="{FF2B5EF4-FFF2-40B4-BE49-F238E27FC236}">
                  <a16:creationId xmlns:a16="http://schemas.microsoft.com/office/drawing/2014/main" id="{B606012B-7647-436D-81A7-EA3DEF4FED98}"/>
                </a:ext>
              </a:extLst>
            </p:cNvPr>
            <p:cNvGrpSpPr/>
            <p:nvPr/>
          </p:nvGrpSpPr>
          <p:grpSpPr>
            <a:xfrm>
              <a:off x="5715000" y="2036084"/>
              <a:ext cx="1571229" cy="2011913"/>
              <a:chOff x="2518394" y="3126198"/>
              <a:chExt cx="2094970" cy="2682552"/>
            </a:xfrm>
          </p:grpSpPr>
          <p:sp>
            <p:nvSpPr>
              <p:cNvPr id="26" name="TextBox 25">
                <a:extLst>
                  <a:ext uri="{FF2B5EF4-FFF2-40B4-BE49-F238E27FC236}">
                    <a16:creationId xmlns:a16="http://schemas.microsoft.com/office/drawing/2014/main" id="{F64CE9B1-0A38-40D6-92BF-E936A518A124}"/>
                  </a:ext>
                </a:extLst>
              </p:cNvPr>
              <p:cNvSpPr txBox="1">
                <a:spLocks noChangeAspect="1"/>
              </p:cNvSpPr>
              <p:nvPr/>
            </p:nvSpPr>
            <p:spPr>
              <a:xfrm>
                <a:off x="2518394" y="3126198"/>
                <a:ext cx="1906758" cy="847667"/>
              </a:xfrm>
              <a:prstGeom prst="rect">
                <a:avLst/>
              </a:prstGeom>
              <a:noFill/>
            </p:spPr>
            <p:txBody>
              <a:bodyPr wrap="none" lIns="69945" tIns="69945" rIns="69945" bIns="69945"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685643" eaLnBrk="1" fontAlgn="auto" hangingPunct="1">
                  <a:spcBef>
                    <a:spcPts val="0"/>
                  </a:spcBef>
                  <a:spcAft>
                    <a:spcPts val="440"/>
                  </a:spcAft>
                  <a:defRPr/>
                </a:pPr>
                <a:r>
                  <a:rPr lang="en-US" sz="1600" kern="0" dirty="0">
                    <a:solidFill>
                      <a:srgbClr val="0D0D0D"/>
                    </a:solidFill>
                    <a:latin typeface="Segoe UI Semibold"/>
                    <a:cs typeface="Segoe UI" panose="020B0502040204020203" pitchFamily="34" charset="0"/>
                  </a:rPr>
                  <a:t>Resource </a:t>
                </a:r>
              </a:p>
              <a:p>
                <a:pPr defTabSz="685643" eaLnBrk="1" fontAlgn="auto" hangingPunct="1">
                  <a:spcBef>
                    <a:spcPts val="0"/>
                  </a:spcBef>
                  <a:spcAft>
                    <a:spcPts val="440"/>
                  </a:spcAft>
                  <a:defRPr/>
                </a:pPr>
                <a:r>
                  <a:rPr lang="en-US" sz="1600" kern="0" dirty="0">
                    <a:solidFill>
                      <a:srgbClr val="0D0D0D"/>
                    </a:solidFill>
                    <a:latin typeface="Segoe UI Semibold"/>
                    <a:cs typeface="Segoe UI" panose="020B0502040204020203" pitchFamily="34" charset="0"/>
                  </a:rPr>
                  <a:t>Configuration</a:t>
                </a:r>
              </a:p>
            </p:txBody>
          </p:sp>
          <p:sp>
            <p:nvSpPr>
              <p:cNvPr id="27" name="TextBox 26">
                <a:extLst>
                  <a:ext uri="{FF2B5EF4-FFF2-40B4-BE49-F238E27FC236}">
                    <a16:creationId xmlns:a16="http://schemas.microsoft.com/office/drawing/2014/main" id="{BA9EC10F-E269-4A00-A589-1E08F0D7A7FF}"/>
                  </a:ext>
                </a:extLst>
              </p:cNvPr>
              <p:cNvSpPr txBox="1"/>
              <p:nvPr/>
            </p:nvSpPr>
            <p:spPr>
              <a:xfrm>
                <a:off x="2518394" y="4143080"/>
                <a:ext cx="2094970" cy="1665670"/>
              </a:xfrm>
              <a:prstGeom prst="rect">
                <a:avLst/>
              </a:prstGeom>
              <a:noFill/>
            </p:spPr>
            <p:txBody>
              <a:bodyPr wrap="square" lIns="69945" tIns="69945" rIns="69945" bIns="69945" rtlCol="0">
                <a:spAutoFit/>
              </a:bodyPr>
              <a:lstStyle/>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RBAC</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Storage</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SQL</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ACR</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AKS</a:t>
                </a:r>
              </a:p>
            </p:txBody>
          </p:sp>
        </p:grpSp>
        <p:pic>
          <p:nvPicPr>
            <p:cNvPr id="25" name="Graphic 24">
              <a:extLst>
                <a:ext uri="{FF2B5EF4-FFF2-40B4-BE49-F238E27FC236}">
                  <a16:creationId xmlns:a16="http://schemas.microsoft.com/office/drawing/2014/main" id="{8F4696FC-8A84-4697-AB36-9646B54426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71642" y="1514536"/>
              <a:ext cx="496206" cy="496206"/>
            </a:xfrm>
            <a:prstGeom prst="rect">
              <a:avLst/>
            </a:prstGeom>
          </p:spPr>
        </p:pic>
      </p:grpSp>
      <p:grpSp>
        <p:nvGrpSpPr>
          <p:cNvPr id="58" name="Group 57">
            <a:extLst>
              <a:ext uri="{FF2B5EF4-FFF2-40B4-BE49-F238E27FC236}">
                <a16:creationId xmlns:a16="http://schemas.microsoft.com/office/drawing/2014/main" id="{A570F1EC-B64C-479A-BAF5-7EC1AF3A5850}"/>
              </a:ext>
            </a:extLst>
          </p:cNvPr>
          <p:cNvGrpSpPr/>
          <p:nvPr/>
        </p:nvGrpSpPr>
        <p:grpSpPr>
          <a:xfrm>
            <a:off x="7529063" y="1508798"/>
            <a:ext cx="1513324" cy="2921372"/>
            <a:chOff x="7529063" y="1508798"/>
            <a:chExt cx="1513324" cy="2921372"/>
          </a:xfrm>
        </p:grpSpPr>
        <p:grpSp>
          <p:nvGrpSpPr>
            <p:cNvPr id="31" name="Group 30">
              <a:extLst>
                <a:ext uri="{FF2B5EF4-FFF2-40B4-BE49-F238E27FC236}">
                  <a16:creationId xmlns:a16="http://schemas.microsoft.com/office/drawing/2014/main" id="{F6890204-5745-4B64-9B3A-6B3D9353DBB1}"/>
                </a:ext>
              </a:extLst>
            </p:cNvPr>
            <p:cNvGrpSpPr/>
            <p:nvPr/>
          </p:nvGrpSpPr>
          <p:grpSpPr>
            <a:xfrm>
              <a:off x="7529063" y="2105393"/>
              <a:ext cx="1513324" cy="2324777"/>
              <a:chOff x="4785490" y="3218613"/>
              <a:chExt cx="2017765" cy="3099704"/>
            </a:xfrm>
          </p:grpSpPr>
          <p:sp>
            <p:nvSpPr>
              <p:cNvPr id="33" name="TextBox 32">
                <a:extLst>
                  <a:ext uri="{FF2B5EF4-FFF2-40B4-BE49-F238E27FC236}">
                    <a16:creationId xmlns:a16="http://schemas.microsoft.com/office/drawing/2014/main" id="{0FEABD41-206E-4A18-ACF6-5843C0564661}"/>
                  </a:ext>
                </a:extLst>
              </p:cNvPr>
              <p:cNvSpPr txBox="1">
                <a:spLocks noChangeAspect="1"/>
              </p:cNvSpPr>
              <p:nvPr/>
            </p:nvSpPr>
            <p:spPr>
              <a:xfrm>
                <a:off x="4785490" y="3218613"/>
                <a:ext cx="1451508" cy="442685"/>
              </a:xfrm>
              <a:prstGeom prst="rect">
                <a:avLst/>
              </a:prstGeom>
              <a:noFill/>
            </p:spPr>
            <p:txBody>
              <a:bodyPr wrap="none" lIns="69945" tIns="69945" rIns="69945" bIns="69945"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699422" eaLnBrk="1" hangingPunct="1">
                  <a:spcAft>
                    <a:spcPts val="450"/>
                  </a:spcAft>
                  <a:defRPr/>
                </a:pPr>
                <a:r>
                  <a:rPr lang="en-US" sz="1377" b="0" dirty="0">
                    <a:solidFill>
                      <a:srgbClr val="0D0D0D"/>
                    </a:solidFill>
                    <a:latin typeface="Segoe UI Semibold"/>
                  </a:rPr>
                  <a:t>Networking</a:t>
                </a:r>
              </a:p>
            </p:txBody>
          </p:sp>
          <p:sp>
            <p:nvSpPr>
              <p:cNvPr id="34" name="Rectangle 33">
                <a:extLst>
                  <a:ext uri="{FF2B5EF4-FFF2-40B4-BE49-F238E27FC236}">
                    <a16:creationId xmlns:a16="http://schemas.microsoft.com/office/drawing/2014/main" id="{0B8DF225-15A4-4F93-AD09-4DE39FC10B89}"/>
                  </a:ext>
                </a:extLst>
              </p:cNvPr>
              <p:cNvSpPr/>
              <p:nvPr/>
            </p:nvSpPr>
            <p:spPr>
              <a:xfrm>
                <a:off x="4792834" y="4061716"/>
                <a:ext cx="2010421" cy="2256601"/>
              </a:xfrm>
              <a:prstGeom prst="rect">
                <a:avLst/>
              </a:prstGeom>
              <a:noFill/>
            </p:spPr>
            <p:txBody>
              <a:bodyPr wrap="square" lIns="69945" tIns="69945" rIns="69945" bIns="69945" rtlCol="0">
                <a:spAutoFit/>
              </a:bodyPr>
              <a:lstStyle/>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Firewall</a:t>
                </a:r>
              </a:p>
              <a:p>
                <a:pPr defTabSz="713204" eaLnBrk="1" fontAlgn="auto" hangingPunct="1">
                  <a:lnSpc>
                    <a:spcPct val="90000"/>
                  </a:lnSpc>
                  <a:spcBef>
                    <a:spcPts val="0"/>
                  </a:spcBef>
                  <a:spcAft>
                    <a:spcPts val="0"/>
                  </a:spcAft>
                  <a:defRPr/>
                </a:pPr>
                <a:r>
                  <a:rPr lang="en-US" sz="1600" dirty="0" err="1">
                    <a:solidFill>
                      <a:srgbClr val="0D0D0D"/>
                    </a:solidFill>
                    <a:latin typeface="Segoe UI" charset="0"/>
                    <a:cs typeface="Segoe UI" charset="0"/>
                  </a:rPr>
                  <a:t>FrontDoor</a:t>
                </a:r>
                <a:endParaRPr lang="en-US" sz="1600" dirty="0">
                  <a:solidFill>
                    <a:srgbClr val="0D0D0D"/>
                  </a:solidFill>
                  <a:latin typeface="Segoe UI" charset="0"/>
                  <a:cs typeface="Segoe UI" charset="0"/>
                </a:endParaRP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WAF</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NSGs</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Service Endpoints</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Private Link</a:t>
                </a:r>
              </a:p>
            </p:txBody>
          </p:sp>
        </p:grpSp>
        <p:pic>
          <p:nvPicPr>
            <p:cNvPr id="38" name="Graphic 37">
              <a:extLst>
                <a:ext uri="{FF2B5EF4-FFF2-40B4-BE49-F238E27FC236}">
                  <a16:creationId xmlns:a16="http://schemas.microsoft.com/office/drawing/2014/main" id="{F9208C50-E140-4C32-ABDD-F3C45BB830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05803" y="1508798"/>
              <a:ext cx="476250" cy="476250"/>
            </a:xfrm>
            <a:prstGeom prst="rect">
              <a:avLst/>
            </a:prstGeom>
          </p:spPr>
        </p:pic>
      </p:grpSp>
      <p:grpSp>
        <p:nvGrpSpPr>
          <p:cNvPr id="56" name="Group 55">
            <a:extLst>
              <a:ext uri="{FF2B5EF4-FFF2-40B4-BE49-F238E27FC236}">
                <a16:creationId xmlns:a16="http://schemas.microsoft.com/office/drawing/2014/main" id="{43AD9719-6466-4844-AE66-40009413DC41}"/>
              </a:ext>
            </a:extLst>
          </p:cNvPr>
          <p:cNvGrpSpPr/>
          <p:nvPr/>
        </p:nvGrpSpPr>
        <p:grpSpPr>
          <a:xfrm>
            <a:off x="3885164" y="1502484"/>
            <a:ext cx="1608958" cy="3210311"/>
            <a:chOff x="3885164" y="1502484"/>
            <a:chExt cx="1608958" cy="3210311"/>
          </a:xfrm>
        </p:grpSpPr>
        <p:grpSp>
          <p:nvGrpSpPr>
            <p:cNvPr id="47" name="Group 46">
              <a:extLst>
                <a:ext uri="{FF2B5EF4-FFF2-40B4-BE49-F238E27FC236}">
                  <a16:creationId xmlns:a16="http://schemas.microsoft.com/office/drawing/2014/main" id="{899FA000-8D7E-4010-A9C0-FC558B9E5623}"/>
                </a:ext>
              </a:extLst>
            </p:cNvPr>
            <p:cNvGrpSpPr/>
            <p:nvPr/>
          </p:nvGrpSpPr>
          <p:grpSpPr>
            <a:xfrm>
              <a:off x="3922893" y="2174277"/>
              <a:ext cx="1571229" cy="2538518"/>
              <a:chOff x="2519985" y="3248614"/>
              <a:chExt cx="2094970" cy="3384689"/>
            </a:xfrm>
          </p:grpSpPr>
          <p:sp>
            <p:nvSpPr>
              <p:cNvPr id="49" name="TextBox 48">
                <a:extLst>
                  <a:ext uri="{FF2B5EF4-FFF2-40B4-BE49-F238E27FC236}">
                    <a16:creationId xmlns:a16="http://schemas.microsoft.com/office/drawing/2014/main" id="{4DB6B270-ED25-4D38-B87F-29B30F1F72E8}"/>
                  </a:ext>
                </a:extLst>
              </p:cNvPr>
              <p:cNvSpPr txBox="1">
                <a:spLocks noChangeAspect="1"/>
              </p:cNvSpPr>
              <p:nvPr/>
            </p:nvSpPr>
            <p:spPr>
              <a:xfrm>
                <a:off x="2548965" y="3248614"/>
                <a:ext cx="853054" cy="483807"/>
              </a:xfrm>
              <a:prstGeom prst="rect">
                <a:avLst/>
              </a:prstGeom>
              <a:noFill/>
            </p:spPr>
            <p:txBody>
              <a:bodyPr wrap="none" lIns="69945" tIns="69945" rIns="69945" bIns="69945"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defTabSz="685643" eaLnBrk="1" fontAlgn="auto" hangingPunct="1">
                  <a:spcBef>
                    <a:spcPts val="0"/>
                  </a:spcBef>
                  <a:spcAft>
                    <a:spcPts val="440"/>
                  </a:spcAft>
                  <a:defRPr/>
                </a:pPr>
                <a:r>
                  <a:rPr lang="en-US" sz="1600" kern="0" dirty="0">
                    <a:solidFill>
                      <a:srgbClr val="0D0D0D"/>
                    </a:solidFill>
                    <a:latin typeface="Segoe UI Semibold"/>
                    <a:cs typeface="Segoe UI" panose="020B0502040204020203" pitchFamily="34" charset="0"/>
                  </a:rPr>
                  <a:t>Tools</a:t>
                </a:r>
              </a:p>
            </p:txBody>
          </p:sp>
          <p:sp>
            <p:nvSpPr>
              <p:cNvPr id="50" name="TextBox 49">
                <a:extLst>
                  <a:ext uri="{FF2B5EF4-FFF2-40B4-BE49-F238E27FC236}">
                    <a16:creationId xmlns:a16="http://schemas.microsoft.com/office/drawing/2014/main" id="{6F16ED87-47F7-4DA8-BE65-249EDDACD8F3}"/>
                  </a:ext>
                </a:extLst>
              </p:cNvPr>
              <p:cNvSpPr txBox="1"/>
              <p:nvPr/>
            </p:nvSpPr>
            <p:spPr>
              <a:xfrm>
                <a:off x="2519985" y="4081238"/>
                <a:ext cx="2094970" cy="2552065"/>
              </a:xfrm>
              <a:prstGeom prst="rect">
                <a:avLst/>
              </a:prstGeom>
              <a:noFill/>
            </p:spPr>
            <p:txBody>
              <a:bodyPr wrap="square" lIns="69945" tIns="69945" rIns="69945" bIns="69945" rtlCol="0">
                <a:spAutoFit/>
              </a:bodyPr>
              <a:lstStyle/>
              <a:p>
                <a:pPr defTabSz="713204" eaLnBrk="1" fontAlgn="auto" hangingPunct="1">
                  <a:lnSpc>
                    <a:spcPct val="90000"/>
                  </a:lnSpc>
                  <a:spcBef>
                    <a:spcPts val="0"/>
                  </a:spcBef>
                  <a:spcAft>
                    <a:spcPts val="0"/>
                  </a:spcAft>
                  <a:defRPr/>
                </a:pPr>
                <a:r>
                  <a:rPr lang="en-US" sz="1600" strike="sngStrike" dirty="0">
                    <a:solidFill>
                      <a:srgbClr val="0D0D0D"/>
                    </a:solidFill>
                    <a:latin typeface="Segoe UI" charset="0"/>
                    <a:cs typeface="Segoe UI" charset="0"/>
                  </a:rPr>
                  <a:t>Security Center</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Microsoft Defender for Cloud</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Sentinel</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Key Vault</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Azure Threat Protection</a:t>
                </a:r>
              </a:p>
            </p:txBody>
          </p:sp>
        </p:grpSp>
        <p:pic>
          <p:nvPicPr>
            <p:cNvPr id="53" name="Graphic 52">
              <a:extLst>
                <a:ext uri="{FF2B5EF4-FFF2-40B4-BE49-F238E27FC236}">
                  <a16:creationId xmlns:a16="http://schemas.microsoft.com/office/drawing/2014/main" id="{1C759102-F8EA-4B3B-9D4D-5AF4C9A75B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85164" y="1502484"/>
              <a:ext cx="598623" cy="598623"/>
            </a:xfrm>
            <a:prstGeom prst="rect">
              <a:avLst/>
            </a:prstGeom>
          </p:spPr>
        </p:pic>
      </p:grpSp>
      <p:grpSp>
        <p:nvGrpSpPr>
          <p:cNvPr id="59" name="Group 58">
            <a:extLst>
              <a:ext uri="{FF2B5EF4-FFF2-40B4-BE49-F238E27FC236}">
                <a16:creationId xmlns:a16="http://schemas.microsoft.com/office/drawing/2014/main" id="{99F6AF41-B725-4D5E-B566-263581939265}"/>
              </a:ext>
            </a:extLst>
          </p:cNvPr>
          <p:cNvGrpSpPr/>
          <p:nvPr/>
        </p:nvGrpSpPr>
        <p:grpSpPr>
          <a:xfrm>
            <a:off x="429444" y="1490896"/>
            <a:ext cx="1602479" cy="3163824"/>
            <a:chOff x="2305994" y="1508798"/>
            <a:chExt cx="1602479" cy="3163824"/>
          </a:xfrm>
        </p:grpSpPr>
        <p:grpSp>
          <p:nvGrpSpPr>
            <p:cNvPr id="60" name="Group 59">
              <a:extLst>
                <a:ext uri="{FF2B5EF4-FFF2-40B4-BE49-F238E27FC236}">
                  <a16:creationId xmlns:a16="http://schemas.microsoft.com/office/drawing/2014/main" id="{58D93B7B-1175-44F5-B2F2-09FEC45638B2}"/>
                </a:ext>
              </a:extLst>
            </p:cNvPr>
            <p:cNvGrpSpPr/>
            <p:nvPr/>
          </p:nvGrpSpPr>
          <p:grpSpPr>
            <a:xfrm>
              <a:off x="2305994" y="2164359"/>
              <a:ext cx="1602479" cy="2508263"/>
              <a:chOff x="416226" y="3218612"/>
              <a:chExt cx="2136639" cy="3344350"/>
            </a:xfrm>
          </p:grpSpPr>
          <p:sp>
            <p:nvSpPr>
              <p:cNvPr id="62" name="TextBox 61">
                <a:extLst>
                  <a:ext uri="{FF2B5EF4-FFF2-40B4-BE49-F238E27FC236}">
                    <a16:creationId xmlns:a16="http://schemas.microsoft.com/office/drawing/2014/main" id="{2785BB42-E887-4160-BF08-6D03439924F7}"/>
                  </a:ext>
                </a:extLst>
              </p:cNvPr>
              <p:cNvSpPr txBox="1">
                <a:spLocks noChangeAspect="1"/>
              </p:cNvSpPr>
              <p:nvPr/>
            </p:nvSpPr>
            <p:spPr>
              <a:xfrm>
                <a:off x="416226" y="3218612"/>
                <a:ext cx="1143732" cy="483807"/>
              </a:xfrm>
              <a:prstGeom prst="rect">
                <a:avLst/>
              </a:prstGeom>
              <a:noFill/>
            </p:spPr>
            <p:txBody>
              <a:bodyPr wrap="none" lIns="69945" tIns="69945" rIns="69945" bIns="69945" rtlCol="0">
                <a:spAutoFit/>
              </a:bodyPr>
              <a:lstStyle>
                <a:defPPr>
                  <a:defRPr lang="en-US"/>
                </a:defPPr>
                <a:lvl1pPr marR="0" lvl="0" indent="0" algn="ctr" defTabSz="914367" fontAlgn="auto">
                  <a:lnSpc>
                    <a:spcPct val="90000"/>
                  </a:lnSpc>
                  <a:spcBef>
                    <a:spcPts val="0"/>
                  </a:spcBef>
                  <a:spcAft>
                    <a:spcPts val="588"/>
                  </a:spcAft>
                  <a:buClrTx/>
                  <a:buSzTx/>
                  <a:buFontTx/>
                  <a:buNone/>
                  <a:tabLst/>
                  <a:defRPr kumimoji="0" b="1" i="0" u="none" strike="noStrike" kern="0" cap="none" spc="0" normalizeH="0" baseline="0">
                    <a:ln>
                      <a:noFill/>
                    </a:ln>
                    <a:solidFill>
                      <a:srgbClr val="505050"/>
                    </a:solidFill>
                    <a:effectLst/>
                    <a:uLnTx/>
                    <a:uFillTx/>
                    <a:latin typeface="Segoe UI" panose="020B0502040204020203" pitchFamily="34" charset="0"/>
                    <a:cs typeface="Segoe UI" panose="020B0502040204020203" pitchFamily="34" charset="0"/>
                  </a:defRPr>
                </a:lvl1pPr>
              </a:lstStyle>
              <a:p>
                <a:pPr algn="l" defTabSz="699422" eaLnBrk="1" hangingPunct="1">
                  <a:spcAft>
                    <a:spcPts val="450"/>
                  </a:spcAft>
                  <a:defRPr/>
                </a:pPr>
                <a:r>
                  <a:rPr lang="en-US" sz="1600" b="0" dirty="0">
                    <a:solidFill>
                      <a:srgbClr val="0D0D0D"/>
                    </a:solidFill>
                    <a:latin typeface="Segoe UI Semibold"/>
                  </a:rPr>
                  <a:t>Identity</a:t>
                </a:r>
              </a:p>
            </p:txBody>
          </p:sp>
          <p:sp>
            <p:nvSpPr>
              <p:cNvPr id="63" name="TextBox 62">
                <a:extLst>
                  <a:ext uri="{FF2B5EF4-FFF2-40B4-BE49-F238E27FC236}">
                    <a16:creationId xmlns:a16="http://schemas.microsoft.com/office/drawing/2014/main" id="{A929977A-4481-422B-B4BB-BBE7F9694F1F}"/>
                  </a:ext>
                </a:extLst>
              </p:cNvPr>
              <p:cNvSpPr txBox="1"/>
              <p:nvPr/>
            </p:nvSpPr>
            <p:spPr>
              <a:xfrm>
                <a:off x="416226" y="4010897"/>
                <a:ext cx="2136639" cy="2552065"/>
              </a:xfrm>
              <a:prstGeom prst="rect">
                <a:avLst/>
              </a:prstGeom>
              <a:noFill/>
            </p:spPr>
            <p:txBody>
              <a:bodyPr wrap="square" lIns="69945" tIns="69945" rIns="69945" bIns="69945" rtlCol="0">
                <a:spAutoFit/>
              </a:bodyPr>
              <a:lstStyle/>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Azure AD</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Conditional Access</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Service Principal</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Managed Identity</a:t>
                </a:r>
              </a:p>
              <a:p>
                <a:pPr defTabSz="713204" eaLnBrk="1" fontAlgn="auto" hangingPunct="1">
                  <a:lnSpc>
                    <a:spcPct val="90000"/>
                  </a:lnSpc>
                  <a:spcBef>
                    <a:spcPts val="0"/>
                  </a:spcBef>
                  <a:spcAft>
                    <a:spcPts val="0"/>
                  </a:spcAft>
                  <a:defRPr/>
                </a:pPr>
                <a:r>
                  <a:rPr lang="en-US" sz="1600" dirty="0">
                    <a:solidFill>
                      <a:srgbClr val="0D0D0D"/>
                    </a:solidFill>
                    <a:latin typeface="Segoe UI" charset="0"/>
                    <a:cs typeface="Segoe UI" charset="0"/>
                  </a:rPr>
                  <a:t>Roles</a:t>
                </a:r>
              </a:p>
              <a:p>
                <a:pPr defTabSz="713204" eaLnBrk="1" fontAlgn="auto" hangingPunct="1">
                  <a:lnSpc>
                    <a:spcPct val="90000"/>
                  </a:lnSpc>
                  <a:spcBef>
                    <a:spcPts val="0"/>
                  </a:spcBef>
                  <a:spcAft>
                    <a:spcPts val="0"/>
                  </a:spcAft>
                  <a:defRPr/>
                </a:pPr>
                <a:endParaRPr lang="en-US" sz="1600" dirty="0">
                  <a:solidFill>
                    <a:srgbClr val="0D0D0D"/>
                  </a:solidFill>
                  <a:latin typeface="Segoe UI" charset="0"/>
                  <a:cs typeface="Segoe UI" charset="0"/>
                </a:endParaRPr>
              </a:p>
            </p:txBody>
          </p:sp>
        </p:grpSp>
        <p:pic>
          <p:nvPicPr>
            <p:cNvPr id="61" name="Graphic 60">
              <a:extLst>
                <a:ext uri="{FF2B5EF4-FFF2-40B4-BE49-F238E27FC236}">
                  <a16:creationId xmlns:a16="http://schemas.microsoft.com/office/drawing/2014/main" id="{5BAF7F6A-2AB2-4074-9B7E-702E4D4471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487525" y="1508798"/>
              <a:ext cx="490322" cy="645161"/>
            </a:xfrm>
            <a:prstGeom prst="rect">
              <a:avLst/>
            </a:prstGeom>
          </p:spPr>
        </p:pic>
      </p:grpSp>
    </p:spTree>
    <p:extLst>
      <p:ext uri="{BB962C8B-B14F-4D97-AF65-F5344CB8AC3E}">
        <p14:creationId xmlns:p14="http://schemas.microsoft.com/office/powerpoint/2010/main" val="18510973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left)">
                                      <p:cBhvr>
                                        <p:cTn id="7" dur="500"/>
                                        <p:tgtEl>
                                          <p:spTgt spid="36"/>
                                        </p:tgtEl>
                                      </p:cBhvr>
                                    </p:animEffect>
                                  </p:childTnLst>
                                </p:cTn>
                              </p:par>
                              <p:par>
                                <p:cTn id="8" presetID="22" presetClass="entr" presetSubtype="8" fill="hold"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wipe(left)">
                                      <p:cBhvr>
                                        <p:cTn id="10" dur="500"/>
                                        <p:tgtEl>
                                          <p:spTgt spid="54"/>
                                        </p:tgtEl>
                                      </p:cBhvr>
                                    </p:animEffect>
                                  </p:childTnLst>
                                </p:cTn>
                              </p:par>
                              <p:par>
                                <p:cTn id="11" presetID="22" presetClass="entr" presetSubtype="8" fill="hold" nodeType="with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wipe(left)">
                                      <p:cBhvr>
                                        <p:cTn id="13" dur="500"/>
                                        <p:tgtEl>
                                          <p:spTgt spid="56"/>
                                        </p:tgtEl>
                                      </p:cBhvr>
                                    </p:animEffect>
                                  </p:childTnLst>
                                </p:cTn>
                              </p:par>
                              <p:par>
                                <p:cTn id="14" presetID="22" presetClass="entr" presetSubtype="8" fill="hold" nodeType="with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wipe(left)">
                                      <p:cBhvr>
                                        <p:cTn id="16" dur="500"/>
                                        <p:tgtEl>
                                          <p:spTgt spid="57"/>
                                        </p:tgtEl>
                                      </p:cBhvr>
                                    </p:animEffect>
                                  </p:childTnLst>
                                </p:cTn>
                              </p:par>
                              <p:par>
                                <p:cTn id="17" presetID="22" presetClass="entr" presetSubtype="8" fill="hold" nodeType="withEffect">
                                  <p:stCondLst>
                                    <p:cond delay="0"/>
                                  </p:stCondLst>
                                  <p:childTnLst>
                                    <p:set>
                                      <p:cBhvr>
                                        <p:cTn id="18" dur="1" fill="hold">
                                          <p:stCondLst>
                                            <p:cond delay="0"/>
                                          </p:stCondLst>
                                        </p:cTn>
                                        <p:tgtEl>
                                          <p:spTgt spid="58"/>
                                        </p:tgtEl>
                                        <p:attrNameLst>
                                          <p:attrName>style.visibility</p:attrName>
                                        </p:attrNameLst>
                                      </p:cBhvr>
                                      <p:to>
                                        <p:strVal val="visible"/>
                                      </p:to>
                                    </p:set>
                                    <p:animEffect transition="in" filter="wipe(left)">
                                      <p:cBhvr>
                                        <p:cTn id="19" dur="500"/>
                                        <p:tgtEl>
                                          <p:spTgt spid="58"/>
                                        </p:tgtEl>
                                      </p:cBhvr>
                                    </p:animEffect>
                                  </p:childTnLst>
                                </p:cTn>
                              </p:par>
                              <p:par>
                                <p:cTn id="20" presetID="22" presetClass="entr" presetSubtype="8" fill="hold" nodeType="with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left)">
                                      <p:cBhvr>
                                        <p:cTn id="22"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B3416F6-87A9-435C-947A-D76BB5DC28AD}"/>
              </a:ext>
            </a:extLst>
          </p:cNvPr>
          <p:cNvSpPr>
            <a:spLocks noGrp="1"/>
          </p:cNvSpPr>
          <p:nvPr>
            <p:ph type="title"/>
          </p:nvPr>
        </p:nvSpPr>
        <p:spPr/>
        <p:txBody>
          <a:bodyPr/>
          <a:lstStyle/>
          <a:p>
            <a:r>
              <a:rPr lang="en-US" dirty="0"/>
              <a:t>Identity</a:t>
            </a:r>
          </a:p>
        </p:txBody>
      </p:sp>
      <p:pic>
        <p:nvPicPr>
          <p:cNvPr id="4" name="Graphic 3">
            <a:extLst>
              <a:ext uri="{FF2B5EF4-FFF2-40B4-BE49-F238E27FC236}">
                <a16:creationId xmlns:a16="http://schemas.microsoft.com/office/drawing/2014/main" id="{66E35DB3-CFF5-4170-87AE-EDBFA04437F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15000" y="666750"/>
            <a:ext cx="2234923" cy="2940690"/>
          </a:xfrm>
          <a:prstGeom prst="rect">
            <a:avLst/>
          </a:prstGeom>
        </p:spPr>
      </p:pic>
    </p:spTree>
    <p:extLst>
      <p:ext uri="{BB962C8B-B14F-4D97-AF65-F5344CB8AC3E}">
        <p14:creationId xmlns:p14="http://schemas.microsoft.com/office/powerpoint/2010/main" val="39164629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1D7EB8-AD07-4403-9473-40FFFCC14BC4}"/>
              </a:ext>
            </a:extLst>
          </p:cNvPr>
          <p:cNvSpPr>
            <a:spLocks noGrp="1"/>
          </p:cNvSpPr>
          <p:nvPr>
            <p:ph type="title"/>
          </p:nvPr>
        </p:nvSpPr>
        <p:spPr/>
        <p:txBody>
          <a:bodyPr/>
          <a:lstStyle/>
          <a:p>
            <a:r>
              <a:rPr lang="en-US" dirty="0"/>
              <a:t>Identity is the Control Plane of most concern</a:t>
            </a:r>
          </a:p>
        </p:txBody>
      </p:sp>
      <p:grpSp>
        <p:nvGrpSpPr>
          <p:cNvPr id="77" name="Group 76">
            <a:extLst>
              <a:ext uri="{FF2B5EF4-FFF2-40B4-BE49-F238E27FC236}">
                <a16:creationId xmlns:a16="http://schemas.microsoft.com/office/drawing/2014/main" id="{5B757CDF-5F68-41EC-95B5-34C9824A9446}"/>
              </a:ext>
            </a:extLst>
          </p:cNvPr>
          <p:cNvGrpSpPr/>
          <p:nvPr/>
        </p:nvGrpSpPr>
        <p:grpSpPr>
          <a:xfrm>
            <a:off x="5192776" y="2746888"/>
            <a:ext cx="1050489" cy="1067867"/>
            <a:chOff x="6213252" y="1819255"/>
            <a:chExt cx="1400652" cy="1423822"/>
          </a:xfrm>
        </p:grpSpPr>
        <p:sp>
          <p:nvSpPr>
            <p:cNvPr id="78" name="Oval 4">
              <a:extLst>
                <a:ext uri="{FF2B5EF4-FFF2-40B4-BE49-F238E27FC236}">
                  <a16:creationId xmlns:a16="http://schemas.microsoft.com/office/drawing/2014/main" id="{7D7B10BB-E795-4CAB-808C-A0473A217AAA}"/>
                </a:ext>
              </a:extLst>
            </p:cNvPr>
            <p:cNvSpPr/>
            <p:nvPr/>
          </p:nvSpPr>
          <p:spPr>
            <a:xfrm>
              <a:off x="6213252" y="1819255"/>
              <a:ext cx="1400652" cy="1423822"/>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w="57150" cap="flat">
              <a:solidFill>
                <a:srgbClr val="F8F8F8"/>
              </a:solidFill>
              <a:prstDash val="solid"/>
            </a:ln>
          </p:spPr>
          <p:txBody>
            <a:bodyPr vert="horz" wrap="square" lIns="0" tIns="34976" rIns="0" bIns="34976" anchor="ctr" anchorCtr="1" compatLnSpc="1">
              <a:noAutofit/>
            </a:bodyPr>
            <a:lstStyle/>
            <a:p>
              <a:pPr algn="ctr" defTabSz="699351" eaLnBrk="1" fontAlgn="auto" hangingPunct="1">
                <a:spcBef>
                  <a:spcPts val="0"/>
                </a:spcBef>
                <a:spcAft>
                  <a:spcPts val="0"/>
                </a:spcAft>
                <a:defRPr sz="1800" b="0" i="0" u="none" strike="noStrike" kern="0" cap="none" spc="0" baseline="0">
                  <a:solidFill>
                    <a:srgbClr val="000000"/>
                  </a:solidFill>
                  <a:uFillTx/>
                </a:defRPr>
              </a:pPr>
              <a:endParaRPr lang="en-US" sz="1500">
                <a:solidFill>
                  <a:srgbClr val="000000"/>
                </a:solidFill>
                <a:latin typeface="Segoe UI"/>
              </a:endParaRPr>
            </a:p>
          </p:txBody>
        </p:sp>
        <p:pic>
          <p:nvPicPr>
            <p:cNvPr id="79" name="Graphic 78" descr="Document">
              <a:extLst>
                <a:ext uri="{FF2B5EF4-FFF2-40B4-BE49-F238E27FC236}">
                  <a16:creationId xmlns:a16="http://schemas.microsoft.com/office/drawing/2014/main" id="{2CF960B3-6829-45E4-8308-F46CA3EE6AF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02890" y="2112264"/>
              <a:ext cx="855712" cy="855712"/>
            </a:xfrm>
            <a:prstGeom prst="rect">
              <a:avLst/>
            </a:prstGeom>
          </p:spPr>
        </p:pic>
      </p:grpSp>
      <p:grpSp>
        <p:nvGrpSpPr>
          <p:cNvPr id="80" name="Group 79">
            <a:extLst>
              <a:ext uri="{FF2B5EF4-FFF2-40B4-BE49-F238E27FC236}">
                <a16:creationId xmlns:a16="http://schemas.microsoft.com/office/drawing/2014/main" id="{E7275A0A-90AD-4240-88A4-CFB5F2A9A8B0}"/>
              </a:ext>
            </a:extLst>
          </p:cNvPr>
          <p:cNvGrpSpPr/>
          <p:nvPr/>
        </p:nvGrpSpPr>
        <p:grpSpPr>
          <a:xfrm>
            <a:off x="686029" y="2605573"/>
            <a:ext cx="1050489" cy="1067867"/>
            <a:chOff x="599599" y="3523238"/>
            <a:chExt cx="984598" cy="984598"/>
          </a:xfrm>
        </p:grpSpPr>
        <p:sp>
          <p:nvSpPr>
            <p:cNvPr id="81" name="Oval 4">
              <a:extLst>
                <a:ext uri="{FF2B5EF4-FFF2-40B4-BE49-F238E27FC236}">
                  <a16:creationId xmlns:a16="http://schemas.microsoft.com/office/drawing/2014/main" id="{4F950D51-151E-4090-AA7F-69B28E843219}"/>
                </a:ext>
              </a:extLst>
            </p:cNvPr>
            <p:cNvSpPr/>
            <p:nvPr/>
          </p:nvSpPr>
          <p:spPr>
            <a:xfrm>
              <a:off x="599599" y="3523238"/>
              <a:ext cx="984598" cy="9845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078D7"/>
            </a:solidFill>
            <a:ln w="57150" cap="flat">
              <a:solidFill>
                <a:srgbClr val="F8F8F8"/>
              </a:solidFill>
              <a:prstDash val="solid"/>
            </a:ln>
          </p:spPr>
          <p:txBody>
            <a:bodyPr vert="horz" wrap="square" lIns="0" tIns="34976" rIns="0" bIns="34976" anchor="ctr" anchorCtr="1" compatLnSpc="1">
              <a:noAutofit/>
            </a:bodyPr>
            <a:lstStyle/>
            <a:p>
              <a:pPr algn="ctr" defTabSz="699351" eaLnBrk="1" fontAlgn="auto" hangingPunct="1">
                <a:spcBef>
                  <a:spcPts val="0"/>
                </a:spcBef>
                <a:spcAft>
                  <a:spcPts val="0"/>
                </a:spcAft>
                <a:defRPr sz="1800" b="0" i="0" u="none" strike="noStrike" kern="0" cap="none" spc="0" baseline="0">
                  <a:solidFill>
                    <a:srgbClr val="000000"/>
                  </a:solidFill>
                  <a:uFillTx/>
                </a:defRPr>
              </a:pPr>
              <a:endParaRPr lang="en-US" sz="1500">
                <a:solidFill>
                  <a:srgbClr val="000000"/>
                </a:solidFill>
                <a:latin typeface="Segoe UI"/>
              </a:endParaRPr>
            </a:p>
          </p:txBody>
        </p:sp>
        <p:grpSp>
          <p:nvGrpSpPr>
            <p:cNvPr id="82" name="Group 341">
              <a:extLst>
                <a:ext uri="{FF2B5EF4-FFF2-40B4-BE49-F238E27FC236}">
                  <a16:creationId xmlns:a16="http://schemas.microsoft.com/office/drawing/2014/main" id="{3BD2D0AC-AF9B-442B-981C-D10499DB1318}"/>
                </a:ext>
              </a:extLst>
            </p:cNvPr>
            <p:cNvGrpSpPr/>
            <p:nvPr/>
          </p:nvGrpSpPr>
          <p:grpSpPr>
            <a:xfrm>
              <a:off x="878528" y="3844283"/>
              <a:ext cx="421483" cy="335401"/>
              <a:chOff x="878528" y="3844283"/>
              <a:chExt cx="421483" cy="335401"/>
            </a:xfrm>
          </p:grpSpPr>
          <p:sp>
            <p:nvSpPr>
              <p:cNvPr id="83" name="Freeform 1993">
                <a:extLst>
                  <a:ext uri="{FF2B5EF4-FFF2-40B4-BE49-F238E27FC236}">
                    <a16:creationId xmlns:a16="http://schemas.microsoft.com/office/drawing/2014/main" id="{6CFF4609-80A0-486A-8E9A-F757C4F6C645}"/>
                  </a:ext>
                </a:extLst>
              </p:cNvPr>
              <p:cNvSpPr/>
              <p:nvPr/>
            </p:nvSpPr>
            <p:spPr>
              <a:xfrm>
                <a:off x="991319" y="4068375"/>
                <a:ext cx="195901" cy="111309"/>
              </a:xfrm>
              <a:custGeom>
                <a:avLst/>
                <a:gdLst>
                  <a:gd name="f0" fmla="val 10800000"/>
                  <a:gd name="f1" fmla="val 5400000"/>
                  <a:gd name="f2" fmla="val 180"/>
                  <a:gd name="f3" fmla="val w"/>
                  <a:gd name="f4" fmla="val h"/>
                  <a:gd name="f5" fmla="val 0"/>
                  <a:gd name="f6" fmla="val 56"/>
                  <a:gd name="f7" fmla="val 32"/>
                  <a:gd name="f8" fmla="val 48"/>
                  <a:gd name="f9" fmla="val 30"/>
                  <a:gd name="f10" fmla="val 17"/>
                  <a:gd name="f11" fmla="val 40"/>
                  <a:gd name="f12" fmla="val 8"/>
                  <a:gd name="f13" fmla="val 28"/>
                  <a:gd name="f14" fmla="val 16"/>
                  <a:gd name="f15" fmla="val 12"/>
                  <a:gd name="f16" fmla="val 11"/>
                  <a:gd name="f17" fmla="val 44"/>
                  <a:gd name="f18" fmla="val 13"/>
                  <a:gd name="f19" fmla="+- 0 0 -90"/>
                  <a:gd name="f20" fmla="*/ f3 1 56"/>
                  <a:gd name="f21" fmla="*/ f4 1 32"/>
                  <a:gd name="f22" fmla="val f5"/>
                  <a:gd name="f23" fmla="val f6"/>
                  <a:gd name="f24" fmla="val f7"/>
                  <a:gd name="f25" fmla="*/ f19 f0 1"/>
                  <a:gd name="f26" fmla="+- f24 0 f22"/>
                  <a:gd name="f27" fmla="+- f23 0 f22"/>
                  <a:gd name="f28" fmla="*/ f25 1 f2"/>
                  <a:gd name="f29" fmla="*/ f27 1 56"/>
                  <a:gd name="f30" fmla="*/ f26 1 32"/>
                  <a:gd name="f31" fmla="*/ 56 f27 1"/>
                  <a:gd name="f32" fmla="*/ 32 f26 1"/>
                  <a:gd name="f33" fmla="*/ 48 f27 1"/>
                  <a:gd name="f34" fmla="*/ 30 f26 1"/>
                  <a:gd name="f35" fmla="*/ 28 f27 1"/>
                  <a:gd name="f36" fmla="*/ 8 f26 1"/>
                  <a:gd name="f37" fmla="*/ 8 f27 1"/>
                  <a:gd name="f38" fmla="*/ 0 f27 1"/>
                  <a:gd name="f39" fmla="*/ 0 f26 1"/>
                  <a:gd name="f40" fmla="+- f28 0 f1"/>
                  <a:gd name="f41" fmla="*/ f31 1 56"/>
                  <a:gd name="f42" fmla="*/ f32 1 32"/>
                  <a:gd name="f43" fmla="*/ f33 1 56"/>
                  <a:gd name="f44" fmla="*/ f34 1 32"/>
                  <a:gd name="f45" fmla="*/ f35 1 56"/>
                  <a:gd name="f46" fmla="*/ f36 1 32"/>
                  <a:gd name="f47" fmla="*/ f37 1 56"/>
                  <a:gd name="f48" fmla="*/ f38 1 56"/>
                  <a:gd name="f49" fmla="*/ f39 1 32"/>
                  <a:gd name="f50" fmla="*/ 0 1 f29"/>
                  <a:gd name="f51" fmla="*/ f23 1 f29"/>
                  <a:gd name="f52" fmla="*/ 0 1 f30"/>
                  <a:gd name="f53" fmla="*/ f24 1 f30"/>
                  <a:gd name="f54" fmla="*/ f41 1 f29"/>
                  <a:gd name="f55" fmla="*/ f42 1 f30"/>
                  <a:gd name="f56" fmla="*/ f43 1 f29"/>
                  <a:gd name="f57" fmla="*/ f44 1 f30"/>
                  <a:gd name="f58" fmla="*/ f45 1 f29"/>
                  <a:gd name="f59" fmla="*/ f46 1 f30"/>
                  <a:gd name="f60" fmla="*/ f47 1 f29"/>
                  <a:gd name="f61" fmla="*/ f48 1 f29"/>
                  <a:gd name="f62" fmla="*/ f49 1 f30"/>
                  <a:gd name="f63" fmla="*/ f50 f20 1"/>
                  <a:gd name="f64" fmla="*/ f51 f20 1"/>
                  <a:gd name="f65" fmla="*/ f53 f21 1"/>
                  <a:gd name="f66" fmla="*/ f52 f21 1"/>
                  <a:gd name="f67" fmla="*/ f54 f20 1"/>
                  <a:gd name="f68" fmla="*/ f55 f21 1"/>
                  <a:gd name="f69" fmla="*/ f56 f20 1"/>
                  <a:gd name="f70" fmla="*/ f57 f21 1"/>
                  <a:gd name="f71" fmla="*/ f58 f20 1"/>
                  <a:gd name="f72" fmla="*/ f59 f21 1"/>
                  <a:gd name="f73" fmla="*/ f60 f20 1"/>
                  <a:gd name="f74" fmla="*/ f61 f20 1"/>
                  <a:gd name="f75" fmla="*/ f62 f21 1"/>
                </a:gdLst>
                <a:ahLst/>
                <a:cxnLst>
                  <a:cxn ang="3cd4">
                    <a:pos x="hc" y="t"/>
                  </a:cxn>
                  <a:cxn ang="0">
                    <a:pos x="r" y="vc"/>
                  </a:cxn>
                  <a:cxn ang="cd4">
                    <a:pos x="hc" y="b"/>
                  </a:cxn>
                  <a:cxn ang="cd2">
                    <a:pos x="l" y="vc"/>
                  </a:cxn>
                  <a:cxn ang="f40">
                    <a:pos x="f67" y="f68"/>
                  </a:cxn>
                  <a:cxn ang="f40">
                    <a:pos x="f69" y="f68"/>
                  </a:cxn>
                  <a:cxn ang="f40">
                    <a:pos x="f69" y="f70"/>
                  </a:cxn>
                  <a:cxn ang="f40">
                    <a:pos x="f71" y="f72"/>
                  </a:cxn>
                  <a:cxn ang="f40">
                    <a:pos x="f73" y="f70"/>
                  </a:cxn>
                  <a:cxn ang="f40">
                    <a:pos x="f73" y="f68"/>
                  </a:cxn>
                  <a:cxn ang="f40">
                    <a:pos x="f74" y="f68"/>
                  </a:cxn>
                  <a:cxn ang="f40">
                    <a:pos x="f74" y="f70"/>
                  </a:cxn>
                  <a:cxn ang="f40">
                    <a:pos x="f71" y="f75"/>
                  </a:cxn>
                  <a:cxn ang="f40">
                    <a:pos x="f67" y="f70"/>
                  </a:cxn>
                  <a:cxn ang="f40">
                    <a:pos x="f67" y="f68"/>
                  </a:cxn>
                </a:cxnLst>
                <a:rect l="f63" t="f66" r="f64" b="f65"/>
                <a:pathLst>
                  <a:path w="56" h="32">
                    <a:moveTo>
                      <a:pt x="f6" y="f7"/>
                    </a:moveTo>
                    <a:cubicBezTo>
                      <a:pt x="f8" y="f7"/>
                      <a:pt x="f8" y="f7"/>
                      <a:pt x="f8" y="f7"/>
                    </a:cubicBezTo>
                    <a:cubicBezTo>
                      <a:pt x="f8" y="f9"/>
                      <a:pt x="f8" y="f9"/>
                      <a:pt x="f8" y="f9"/>
                    </a:cubicBezTo>
                    <a:cubicBezTo>
                      <a:pt x="f8" y="f10"/>
                      <a:pt x="f11" y="f12"/>
                      <a:pt x="f13" y="f12"/>
                    </a:cubicBezTo>
                    <a:cubicBezTo>
                      <a:pt x="f14" y="f12"/>
                      <a:pt x="f12" y="f14"/>
                      <a:pt x="f12" y="f9"/>
                    </a:cubicBezTo>
                    <a:cubicBezTo>
                      <a:pt x="f12" y="f7"/>
                      <a:pt x="f12" y="f7"/>
                      <a:pt x="f12" y="f7"/>
                    </a:cubicBezTo>
                    <a:cubicBezTo>
                      <a:pt x="f5" y="f7"/>
                      <a:pt x="f5" y="f7"/>
                      <a:pt x="f5" y="f7"/>
                    </a:cubicBezTo>
                    <a:cubicBezTo>
                      <a:pt x="f5" y="f9"/>
                      <a:pt x="f5" y="f9"/>
                      <a:pt x="f5" y="f9"/>
                    </a:cubicBezTo>
                    <a:cubicBezTo>
                      <a:pt x="f5" y="f15"/>
                      <a:pt x="f16" y="f5"/>
                      <a:pt x="f13" y="f5"/>
                    </a:cubicBezTo>
                    <a:cubicBezTo>
                      <a:pt x="f17" y="f5"/>
                      <a:pt x="f6" y="f18"/>
                      <a:pt x="f6" y="f9"/>
                    </a:cubicBezTo>
                    <a:lnTo>
                      <a:pt x="f6" y="f7"/>
                    </a:lnTo>
                    <a:close/>
                  </a:path>
                </a:pathLst>
              </a:custGeom>
              <a:solidFill>
                <a:srgbClr val="FFFFFF"/>
              </a:solidFill>
              <a:ln cap="flat">
                <a:no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sp>
            <p:nvSpPr>
              <p:cNvPr id="84" name="Freeform 1994">
                <a:extLst>
                  <a:ext uri="{FF2B5EF4-FFF2-40B4-BE49-F238E27FC236}">
                    <a16:creationId xmlns:a16="http://schemas.microsoft.com/office/drawing/2014/main" id="{0B445CB5-A650-4BBE-B0A8-341DBFAD41D4}"/>
                  </a:ext>
                </a:extLst>
              </p:cNvPr>
              <p:cNvSpPr/>
              <p:nvPr/>
            </p:nvSpPr>
            <p:spPr>
              <a:xfrm>
                <a:off x="1130829" y="3844283"/>
                <a:ext cx="140991" cy="139500"/>
              </a:xfrm>
              <a:custGeom>
                <a:avLst/>
                <a:gdLst>
                  <a:gd name="f0" fmla="val 10800000"/>
                  <a:gd name="f1" fmla="val 5400000"/>
                  <a:gd name="f2" fmla="val 180"/>
                  <a:gd name="f3" fmla="val w"/>
                  <a:gd name="f4" fmla="val h"/>
                  <a:gd name="f5" fmla="val 0"/>
                  <a:gd name="f6" fmla="val 40"/>
                  <a:gd name="f7" fmla="val 20"/>
                  <a:gd name="f8" fmla="val 9"/>
                  <a:gd name="f9" fmla="val 31"/>
                  <a:gd name="f10" fmla="val 8"/>
                  <a:gd name="f11" fmla="val 13"/>
                  <a:gd name="f12" fmla="val 27"/>
                  <a:gd name="f13" fmla="val 32"/>
                  <a:gd name="f14" fmla="+- 0 0 -90"/>
                  <a:gd name="f15" fmla="*/ f3 1 40"/>
                  <a:gd name="f16" fmla="*/ f4 1 40"/>
                  <a:gd name="f17" fmla="val f5"/>
                  <a:gd name="f18" fmla="val f6"/>
                  <a:gd name="f19" fmla="*/ f14 f0 1"/>
                  <a:gd name="f20" fmla="+- f18 0 f17"/>
                  <a:gd name="f21" fmla="*/ f19 1 f2"/>
                  <a:gd name="f22" fmla="*/ f20 1 40"/>
                  <a:gd name="f23" fmla="*/ 20 f20 1"/>
                  <a:gd name="f24" fmla="*/ 40 f20 1"/>
                  <a:gd name="f25" fmla="*/ 0 f20 1"/>
                  <a:gd name="f26" fmla="*/ 8 f20 1"/>
                  <a:gd name="f27" fmla="*/ 32 f20 1"/>
                  <a:gd name="f28" fmla="+- f21 0 f1"/>
                  <a:gd name="f29" fmla="*/ f23 1 40"/>
                  <a:gd name="f30" fmla="*/ f24 1 40"/>
                  <a:gd name="f31" fmla="*/ f25 1 40"/>
                  <a:gd name="f32" fmla="*/ f26 1 40"/>
                  <a:gd name="f33" fmla="*/ f27 1 40"/>
                  <a:gd name="f34" fmla="*/ 0 1 f22"/>
                  <a:gd name="f35" fmla="*/ f18 1 f22"/>
                  <a:gd name="f36" fmla="*/ f29 1 f22"/>
                  <a:gd name="f37" fmla="*/ f30 1 f22"/>
                  <a:gd name="f38" fmla="*/ f31 1 f22"/>
                  <a:gd name="f39" fmla="*/ f32 1 f22"/>
                  <a:gd name="f40" fmla="*/ f33 1 f22"/>
                  <a:gd name="f41" fmla="*/ f34 f15 1"/>
                  <a:gd name="f42" fmla="*/ f35 f15 1"/>
                  <a:gd name="f43" fmla="*/ f35 f16 1"/>
                  <a:gd name="f44" fmla="*/ f34 f16 1"/>
                  <a:gd name="f45" fmla="*/ f36 f15 1"/>
                  <a:gd name="f46" fmla="*/ f37 f16 1"/>
                  <a:gd name="f47" fmla="*/ f38 f15 1"/>
                  <a:gd name="f48" fmla="*/ f36 f16 1"/>
                  <a:gd name="f49" fmla="*/ f38 f16 1"/>
                  <a:gd name="f50" fmla="*/ f37 f15 1"/>
                  <a:gd name="f51" fmla="*/ f39 f16 1"/>
                  <a:gd name="f52" fmla="*/ f39 f15 1"/>
                  <a:gd name="f53" fmla="*/ f40 f16 1"/>
                  <a:gd name="f54" fmla="*/ f40 f15 1"/>
                </a:gdLst>
                <a:ahLst/>
                <a:cxnLst>
                  <a:cxn ang="3cd4">
                    <a:pos x="hc" y="t"/>
                  </a:cxn>
                  <a:cxn ang="0">
                    <a:pos x="r" y="vc"/>
                  </a:cxn>
                  <a:cxn ang="cd4">
                    <a:pos x="hc" y="b"/>
                  </a:cxn>
                  <a:cxn ang="cd2">
                    <a:pos x="l" y="vc"/>
                  </a:cxn>
                  <a:cxn ang="f28">
                    <a:pos x="f45" y="f46"/>
                  </a:cxn>
                  <a:cxn ang="f28">
                    <a:pos x="f47" y="f48"/>
                  </a:cxn>
                  <a:cxn ang="f28">
                    <a:pos x="f45" y="f49"/>
                  </a:cxn>
                  <a:cxn ang="f28">
                    <a:pos x="f50" y="f48"/>
                  </a:cxn>
                  <a:cxn ang="f28">
                    <a:pos x="f45" y="f46"/>
                  </a:cxn>
                  <a:cxn ang="f28">
                    <a:pos x="f45" y="f51"/>
                  </a:cxn>
                  <a:cxn ang="f28">
                    <a:pos x="f52" y="f48"/>
                  </a:cxn>
                  <a:cxn ang="f28">
                    <a:pos x="f45" y="f53"/>
                  </a:cxn>
                  <a:cxn ang="f28">
                    <a:pos x="f54" y="f48"/>
                  </a:cxn>
                  <a:cxn ang="f28">
                    <a:pos x="f45" y="f51"/>
                  </a:cxn>
                </a:cxnLst>
                <a:rect l="f41" t="f44" r="f42" b="f43"/>
                <a:pathLst>
                  <a:path w="40" h="40">
                    <a:moveTo>
                      <a:pt x="f7" y="f6"/>
                    </a:moveTo>
                    <a:cubicBezTo>
                      <a:pt x="f8" y="f6"/>
                      <a:pt x="f5" y="f9"/>
                      <a:pt x="f5" y="f7"/>
                    </a:cubicBezTo>
                    <a:cubicBezTo>
                      <a:pt x="f5" y="f8"/>
                      <a:pt x="f8" y="f5"/>
                      <a:pt x="f7" y="f5"/>
                    </a:cubicBezTo>
                    <a:cubicBezTo>
                      <a:pt x="f9" y="f5"/>
                      <a:pt x="f6" y="f8"/>
                      <a:pt x="f6" y="f7"/>
                    </a:cubicBezTo>
                    <a:cubicBezTo>
                      <a:pt x="f6" y="f9"/>
                      <a:pt x="f9" y="f6"/>
                      <a:pt x="f7" y="f6"/>
                    </a:cubicBezTo>
                    <a:close/>
                    <a:moveTo>
                      <a:pt x="f7" y="f10"/>
                    </a:moveTo>
                    <a:cubicBezTo>
                      <a:pt x="f11" y="f10"/>
                      <a:pt x="f10" y="f11"/>
                      <a:pt x="f10" y="f7"/>
                    </a:cubicBezTo>
                    <a:cubicBezTo>
                      <a:pt x="f10" y="f12"/>
                      <a:pt x="f11" y="f13"/>
                      <a:pt x="f7" y="f13"/>
                    </a:cubicBezTo>
                    <a:cubicBezTo>
                      <a:pt x="f12" y="f13"/>
                      <a:pt x="f13" y="f12"/>
                      <a:pt x="f13" y="f7"/>
                    </a:cubicBezTo>
                    <a:cubicBezTo>
                      <a:pt x="f13" y="f11"/>
                      <a:pt x="f12" y="f10"/>
                      <a:pt x="f7" y="f10"/>
                    </a:cubicBezTo>
                    <a:close/>
                  </a:path>
                </a:pathLst>
              </a:custGeom>
              <a:solidFill>
                <a:srgbClr val="FFFFFF"/>
              </a:solidFill>
              <a:ln cap="flat">
                <a:no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sp>
            <p:nvSpPr>
              <p:cNvPr id="85" name="Freeform 1995">
                <a:extLst>
                  <a:ext uri="{FF2B5EF4-FFF2-40B4-BE49-F238E27FC236}">
                    <a16:creationId xmlns:a16="http://schemas.microsoft.com/office/drawing/2014/main" id="{8FDC55E7-EA1A-4ECE-9FD3-EBFB935FDE59}"/>
                  </a:ext>
                </a:extLst>
              </p:cNvPr>
              <p:cNvSpPr/>
              <p:nvPr/>
            </p:nvSpPr>
            <p:spPr>
              <a:xfrm>
                <a:off x="1130829" y="3955584"/>
                <a:ext cx="169182" cy="112791"/>
              </a:xfrm>
              <a:custGeom>
                <a:avLst/>
                <a:gdLst>
                  <a:gd name="f0" fmla="val 10800000"/>
                  <a:gd name="f1" fmla="val 5400000"/>
                  <a:gd name="f2" fmla="val 180"/>
                  <a:gd name="f3" fmla="val w"/>
                  <a:gd name="f4" fmla="val h"/>
                  <a:gd name="f5" fmla="val 0"/>
                  <a:gd name="f6" fmla="val 48"/>
                  <a:gd name="f7" fmla="val 32"/>
                  <a:gd name="f8" fmla="val 40"/>
                  <a:gd name="f9" fmla="val 30"/>
                  <a:gd name="f10" fmla="val 17"/>
                  <a:gd name="f11" fmla="val 8"/>
                  <a:gd name="f12" fmla="val 20"/>
                  <a:gd name="f13" fmla="val 14"/>
                  <a:gd name="f14" fmla="val 9"/>
                  <a:gd name="f15" fmla="val 10"/>
                  <a:gd name="f16" fmla="val 5"/>
                  <a:gd name="f17" fmla="val 3"/>
                  <a:gd name="f18" fmla="val 12"/>
                  <a:gd name="f19" fmla="val 36"/>
                  <a:gd name="f20" fmla="val 13"/>
                  <a:gd name="f21" fmla="+- 0 0 -90"/>
                  <a:gd name="f22" fmla="*/ f3 1 48"/>
                  <a:gd name="f23" fmla="*/ f4 1 32"/>
                  <a:gd name="f24" fmla="val f5"/>
                  <a:gd name="f25" fmla="val f6"/>
                  <a:gd name="f26" fmla="val f7"/>
                  <a:gd name="f27" fmla="*/ f21 f0 1"/>
                  <a:gd name="f28" fmla="+- f26 0 f24"/>
                  <a:gd name="f29" fmla="+- f25 0 f24"/>
                  <a:gd name="f30" fmla="*/ f27 1 f2"/>
                  <a:gd name="f31" fmla="*/ f29 1 48"/>
                  <a:gd name="f32" fmla="*/ f28 1 32"/>
                  <a:gd name="f33" fmla="*/ 48 f29 1"/>
                  <a:gd name="f34" fmla="*/ 32 f28 1"/>
                  <a:gd name="f35" fmla="*/ 40 f29 1"/>
                  <a:gd name="f36" fmla="*/ 30 f28 1"/>
                  <a:gd name="f37" fmla="*/ 20 f29 1"/>
                  <a:gd name="f38" fmla="*/ 8 f28 1"/>
                  <a:gd name="f39" fmla="*/ 5 f29 1"/>
                  <a:gd name="f40" fmla="*/ 14 f28 1"/>
                  <a:gd name="f41" fmla="*/ 0 f29 1"/>
                  <a:gd name="f42" fmla="*/ 0 f28 1"/>
                  <a:gd name="f43" fmla="+- f30 0 f1"/>
                  <a:gd name="f44" fmla="*/ f33 1 48"/>
                  <a:gd name="f45" fmla="*/ f34 1 32"/>
                  <a:gd name="f46" fmla="*/ f35 1 48"/>
                  <a:gd name="f47" fmla="*/ f36 1 32"/>
                  <a:gd name="f48" fmla="*/ f37 1 48"/>
                  <a:gd name="f49" fmla="*/ f38 1 32"/>
                  <a:gd name="f50" fmla="*/ f39 1 48"/>
                  <a:gd name="f51" fmla="*/ f40 1 32"/>
                  <a:gd name="f52" fmla="*/ f41 1 48"/>
                  <a:gd name="f53" fmla="*/ f42 1 32"/>
                  <a:gd name="f54" fmla="*/ 0 1 f31"/>
                  <a:gd name="f55" fmla="*/ f25 1 f31"/>
                  <a:gd name="f56" fmla="*/ 0 1 f32"/>
                  <a:gd name="f57" fmla="*/ f26 1 f32"/>
                  <a:gd name="f58" fmla="*/ f44 1 f31"/>
                  <a:gd name="f59" fmla="*/ f45 1 f32"/>
                  <a:gd name="f60" fmla="*/ f46 1 f31"/>
                  <a:gd name="f61" fmla="*/ f47 1 f32"/>
                  <a:gd name="f62" fmla="*/ f48 1 f31"/>
                  <a:gd name="f63" fmla="*/ f49 1 f32"/>
                  <a:gd name="f64" fmla="*/ f50 1 f31"/>
                  <a:gd name="f65" fmla="*/ f51 1 f32"/>
                  <a:gd name="f66" fmla="*/ f52 1 f31"/>
                  <a:gd name="f67" fmla="*/ f53 1 f32"/>
                  <a:gd name="f68" fmla="*/ f54 f22 1"/>
                  <a:gd name="f69" fmla="*/ f55 f22 1"/>
                  <a:gd name="f70" fmla="*/ f57 f23 1"/>
                  <a:gd name="f71" fmla="*/ f56 f23 1"/>
                  <a:gd name="f72" fmla="*/ f58 f22 1"/>
                  <a:gd name="f73" fmla="*/ f59 f23 1"/>
                  <a:gd name="f74" fmla="*/ f60 f22 1"/>
                  <a:gd name="f75" fmla="*/ f61 f23 1"/>
                  <a:gd name="f76" fmla="*/ f62 f22 1"/>
                  <a:gd name="f77" fmla="*/ f63 f23 1"/>
                  <a:gd name="f78" fmla="*/ f64 f22 1"/>
                  <a:gd name="f79" fmla="*/ f65 f23 1"/>
                  <a:gd name="f80" fmla="*/ f66 f22 1"/>
                  <a:gd name="f81" fmla="*/ f67 f23 1"/>
                </a:gdLst>
                <a:ahLst/>
                <a:cxnLst>
                  <a:cxn ang="3cd4">
                    <a:pos x="hc" y="t"/>
                  </a:cxn>
                  <a:cxn ang="0">
                    <a:pos x="r" y="vc"/>
                  </a:cxn>
                  <a:cxn ang="cd4">
                    <a:pos x="hc" y="b"/>
                  </a:cxn>
                  <a:cxn ang="cd2">
                    <a:pos x="l" y="vc"/>
                  </a:cxn>
                  <a:cxn ang="f43">
                    <a:pos x="f72" y="f73"/>
                  </a:cxn>
                  <a:cxn ang="f43">
                    <a:pos x="f74" y="f73"/>
                  </a:cxn>
                  <a:cxn ang="f43">
                    <a:pos x="f74" y="f75"/>
                  </a:cxn>
                  <a:cxn ang="f43">
                    <a:pos x="f76" y="f77"/>
                  </a:cxn>
                  <a:cxn ang="f43">
                    <a:pos x="f78" y="f79"/>
                  </a:cxn>
                  <a:cxn ang="f43">
                    <a:pos x="f80" y="f77"/>
                  </a:cxn>
                  <a:cxn ang="f43">
                    <a:pos x="f76" y="f81"/>
                  </a:cxn>
                  <a:cxn ang="f43">
                    <a:pos x="f72" y="f75"/>
                  </a:cxn>
                  <a:cxn ang="f43">
                    <a:pos x="f72" y="f73"/>
                  </a:cxn>
                </a:cxnLst>
                <a:rect l="f68" t="f71" r="f69" b="f70"/>
                <a:pathLst>
                  <a:path w="48" h="32">
                    <a:moveTo>
                      <a:pt x="f6" y="f7"/>
                    </a:moveTo>
                    <a:cubicBezTo>
                      <a:pt x="f8" y="f7"/>
                      <a:pt x="f8" y="f7"/>
                      <a:pt x="f8" y="f7"/>
                    </a:cubicBezTo>
                    <a:cubicBezTo>
                      <a:pt x="f8" y="f9"/>
                      <a:pt x="f8" y="f9"/>
                      <a:pt x="f8" y="f9"/>
                    </a:cubicBezTo>
                    <a:cubicBezTo>
                      <a:pt x="f8" y="f10"/>
                      <a:pt x="f7" y="f11"/>
                      <a:pt x="f12" y="f11"/>
                    </a:cubicBezTo>
                    <a:cubicBezTo>
                      <a:pt x="f13" y="f11"/>
                      <a:pt x="f14" y="f15"/>
                      <a:pt x="f16" y="f13"/>
                    </a:cubicBezTo>
                    <a:cubicBezTo>
                      <a:pt x="f5" y="f11"/>
                      <a:pt x="f5" y="f11"/>
                      <a:pt x="f5" y="f11"/>
                    </a:cubicBezTo>
                    <a:cubicBezTo>
                      <a:pt x="f16" y="f17"/>
                      <a:pt x="f18" y="f5"/>
                      <a:pt x="f12" y="f5"/>
                    </a:cubicBezTo>
                    <a:cubicBezTo>
                      <a:pt x="f19" y="f5"/>
                      <a:pt x="f6" y="f20"/>
                      <a:pt x="f6" y="f9"/>
                    </a:cubicBezTo>
                    <a:lnTo>
                      <a:pt x="f6" y="f7"/>
                    </a:lnTo>
                    <a:close/>
                  </a:path>
                </a:pathLst>
              </a:custGeom>
              <a:solidFill>
                <a:srgbClr val="FFFFFF"/>
              </a:solidFill>
              <a:ln cap="flat">
                <a:no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sp>
            <p:nvSpPr>
              <p:cNvPr id="86" name="Freeform 1996">
                <a:extLst>
                  <a:ext uri="{FF2B5EF4-FFF2-40B4-BE49-F238E27FC236}">
                    <a16:creationId xmlns:a16="http://schemas.microsoft.com/office/drawing/2014/main" id="{ED736147-94D2-41EC-84F3-4A44D6CC1C8A}"/>
                  </a:ext>
                </a:extLst>
              </p:cNvPr>
              <p:cNvSpPr/>
              <p:nvPr/>
            </p:nvSpPr>
            <p:spPr>
              <a:xfrm>
                <a:off x="906728" y="3844283"/>
                <a:ext cx="140991" cy="139500"/>
              </a:xfrm>
              <a:custGeom>
                <a:avLst/>
                <a:gdLst>
                  <a:gd name="f0" fmla="val 10800000"/>
                  <a:gd name="f1" fmla="val 5400000"/>
                  <a:gd name="f2" fmla="val 180"/>
                  <a:gd name="f3" fmla="val w"/>
                  <a:gd name="f4" fmla="val h"/>
                  <a:gd name="f5" fmla="val 0"/>
                  <a:gd name="f6" fmla="val 40"/>
                  <a:gd name="f7" fmla="val 20"/>
                  <a:gd name="f8" fmla="val 9"/>
                  <a:gd name="f9" fmla="val 31"/>
                  <a:gd name="f10" fmla="val 8"/>
                  <a:gd name="f11" fmla="val 13"/>
                  <a:gd name="f12" fmla="val 27"/>
                  <a:gd name="f13" fmla="val 32"/>
                  <a:gd name="f14" fmla="+- 0 0 -90"/>
                  <a:gd name="f15" fmla="*/ f3 1 40"/>
                  <a:gd name="f16" fmla="*/ f4 1 40"/>
                  <a:gd name="f17" fmla="val f5"/>
                  <a:gd name="f18" fmla="val f6"/>
                  <a:gd name="f19" fmla="*/ f14 f0 1"/>
                  <a:gd name="f20" fmla="+- f18 0 f17"/>
                  <a:gd name="f21" fmla="*/ f19 1 f2"/>
                  <a:gd name="f22" fmla="*/ f20 1 40"/>
                  <a:gd name="f23" fmla="*/ 20 f20 1"/>
                  <a:gd name="f24" fmla="*/ 40 f20 1"/>
                  <a:gd name="f25" fmla="*/ 0 f20 1"/>
                  <a:gd name="f26" fmla="*/ 8 f20 1"/>
                  <a:gd name="f27" fmla="*/ 32 f20 1"/>
                  <a:gd name="f28" fmla="+- f21 0 f1"/>
                  <a:gd name="f29" fmla="*/ f23 1 40"/>
                  <a:gd name="f30" fmla="*/ f24 1 40"/>
                  <a:gd name="f31" fmla="*/ f25 1 40"/>
                  <a:gd name="f32" fmla="*/ f26 1 40"/>
                  <a:gd name="f33" fmla="*/ f27 1 40"/>
                  <a:gd name="f34" fmla="*/ 0 1 f22"/>
                  <a:gd name="f35" fmla="*/ f18 1 f22"/>
                  <a:gd name="f36" fmla="*/ f29 1 f22"/>
                  <a:gd name="f37" fmla="*/ f30 1 f22"/>
                  <a:gd name="f38" fmla="*/ f31 1 f22"/>
                  <a:gd name="f39" fmla="*/ f32 1 f22"/>
                  <a:gd name="f40" fmla="*/ f33 1 f22"/>
                  <a:gd name="f41" fmla="*/ f34 f15 1"/>
                  <a:gd name="f42" fmla="*/ f35 f15 1"/>
                  <a:gd name="f43" fmla="*/ f35 f16 1"/>
                  <a:gd name="f44" fmla="*/ f34 f16 1"/>
                  <a:gd name="f45" fmla="*/ f36 f15 1"/>
                  <a:gd name="f46" fmla="*/ f37 f16 1"/>
                  <a:gd name="f47" fmla="*/ f38 f15 1"/>
                  <a:gd name="f48" fmla="*/ f36 f16 1"/>
                  <a:gd name="f49" fmla="*/ f38 f16 1"/>
                  <a:gd name="f50" fmla="*/ f37 f15 1"/>
                  <a:gd name="f51" fmla="*/ f39 f16 1"/>
                  <a:gd name="f52" fmla="*/ f39 f15 1"/>
                  <a:gd name="f53" fmla="*/ f40 f16 1"/>
                  <a:gd name="f54" fmla="*/ f40 f15 1"/>
                </a:gdLst>
                <a:ahLst/>
                <a:cxnLst>
                  <a:cxn ang="3cd4">
                    <a:pos x="hc" y="t"/>
                  </a:cxn>
                  <a:cxn ang="0">
                    <a:pos x="r" y="vc"/>
                  </a:cxn>
                  <a:cxn ang="cd4">
                    <a:pos x="hc" y="b"/>
                  </a:cxn>
                  <a:cxn ang="cd2">
                    <a:pos x="l" y="vc"/>
                  </a:cxn>
                  <a:cxn ang="f28">
                    <a:pos x="f45" y="f46"/>
                  </a:cxn>
                  <a:cxn ang="f28">
                    <a:pos x="f47" y="f48"/>
                  </a:cxn>
                  <a:cxn ang="f28">
                    <a:pos x="f45" y="f49"/>
                  </a:cxn>
                  <a:cxn ang="f28">
                    <a:pos x="f50" y="f48"/>
                  </a:cxn>
                  <a:cxn ang="f28">
                    <a:pos x="f45" y="f46"/>
                  </a:cxn>
                  <a:cxn ang="f28">
                    <a:pos x="f45" y="f51"/>
                  </a:cxn>
                  <a:cxn ang="f28">
                    <a:pos x="f52" y="f48"/>
                  </a:cxn>
                  <a:cxn ang="f28">
                    <a:pos x="f45" y="f53"/>
                  </a:cxn>
                  <a:cxn ang="f28">
                    <a:pos x="f54" y="f48"/>
                  </a:cxn>
                  <a:cxn ang="f28">
                    <a:pos x="f45" y="f51"/>
                  </a:cxn>
                </a:cxnLst>
                <a:rect l="f41" t="f44" r="f42" b="f43"/>
                <a:pathLst>
                  <a:path w="40" h="40">
                    <a:moveTo>
                      <a:pt x="f7" y="f6"/>
                    </a:moveTo>
                    <a:cubicBezTo>
                      <a:pt x="f8" y="f6"/>
                      <a:pt x="f5" y="f9"/>
                      <a:pt x="f5" y="f7"/>
                    </a:cubicBezTo>
                    <a:cubicBezTo>
                      <a:pt x="f5" y="f8"/>
                      <a:pt x="f8" y="f5"/>
                      <a:pt x="f7" y="f5"/>
                    </a:cubicBezTo>
                    <a:cubicBezTo>
                      <a:pt x="f9" y="f5"/>
                      <a:pt x="f6" y="f8"/>
                      <a:pt x="f6" y="f7"/>
                    </a:cubicBezTo>
                    <a:cubicBezTo>
                      <a:pt x="f6" y="f9"/>
                      <a:pt x="f9" y="f6"/>
                      <a:pt x="f7" y="f6"/>
                    </a:cubicBezTo>
                    <a:close/>
                    <a:moveTo>
                      <a:pt x="f7" y="f10"/>
                    </a:moveTo>
                    <a:cubicBezTo>
                      <a:pt x="f11" y="f10"/>
                      <a:pt x="f10" y="f11"/>
                      <a:pt x="f10" y="f7"/>
                    </a:cubicBezTo>
                    <a:cubicBezTo>
                      <a:pt x="f10" y="f12"/>
                      <a:pt x="f11" y="f13"/>
                      <a:pt x="f7" y="f13"/>
                    </a:cubicBezTo>
                    <a:cubicBezTo>
                      <a:pt x="f12" y="f13"/>
                      <a:pt x="f13" y="f12"/>
                      <a:pt x="f13" y="f7"/>
                    </a:cubicBezTo>
                    <a:cubicBezTo>
                      <a:pt x="f13" y="f11"/>
                      <a:pt x="f12" y="f10"/>
                      <a:pt x="f7" y="f10"/>
                    </a:cubicBezTo>
                    <a:close/>
                  </a:path>
                </a:pathLst>
              </a:custGeom>
              <a:solidFill>
                <a:srgbClr val="FFFFFF"/>
              </a:solidFill>
              <a:ln cap="flat">
                <a:no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sp>
            <p:nvSpPr>
              <p:cNvPr id="87" name="Freeform 1997">
                <a:extLst>
                  <a:ext uri="{FF2B5EF4-FFF2-40B4-BE49-F238E27FC236}">
                    <a16:creationId xmlns:a16="http://schemas.microsoft.com/office/drawing/2014/main" id="{78C40423-A7F7-4F2B-A549-CC32B6A8030B}"/>
                  </a:ext>
                </a:extLst>
              </p:cNvPr>
              <p:cNvSpPr/>
              <p:nvPr/>
            </p:nvSpPr>
            <p:spPr>
              <a:xfrm>
                <a:off x="878528" y="3955584"/>
                <a:ext cx="169182" cy="112791"/>
              </a:xfrm>
              <a:custGeom>
                <a:avLst/>
                <a:gdLst>
                  <a:gd name="f0" fmla="val 10800000"/>
                  <a:gd name="f1" fmla="val 5400000"/>
                  <a:gd name="f2" fmla="val 180"/>
                  <a:gd name="f3" fmla="val w"/>
                  <a:gd name="f4" fmla="val h"/>
                  <a:gd name="f5" fmla="val 0"/>
                  <a:gd name="f6" fmla="val 48"/>
                  <a:gd name="f7" fmla="val 32"/>
                  <a:gd name="f8" fmla="val 8"/>
                  <a:gd name="f9" fmla="val 30"/>
                  <a:gd name="f10" fmla="val 12"/>
                  <a:gd name="f11" fmla="val 11"/>
                  <a:gd name="f12" fmla="val 28"/>
                  <a:gd name="f13" fmla="val 36"/>
                  <a:gd name="f14" fmla="val 43"/>
                  <a:gd name="f15" fmla="val 3"/>
                  <a:gd name="f16" fmla="val 42"/>
                  <a:gd name="f17" fmla="val 14"/>
                  <a:gd name="f18" fmla="val 38"/>
                  <a:gd name="f19" fmla="val 10"/>
                  <a:gd name="f20" fmla="val 33"/>
                  <a:gd name="f21" fmla="val 16"/>
                  <a:gd name="f22" fmla="+- 0 0 -90"/>
                  <a:gd name="f23" fmla="*/ f3 1 48"/>
                  <a:gd name="f24" fmla="*/ f4 1 32"/>
                  <a:gd name="f25" fmla="val f5"/>
                  <a:gd name="f26" fmla="val f6"/>
                  <a:gd name="f27" fmla="val f7"/>
                  <a:gd name="f28" fmla="*/ f22 f0 1"/>
                  <a:gd name="f29" fmla="+- f27 0 f25"/>
                  <a:gd name="f30" fmla="+- f26 0 f25"/>
                  <a:gd name="f31" fmla="*/ f28 1 f2"/>
                  <a:gd name="f32" fmla="*/ f30 1 48"/>
                  <a:gd name="f33" fmla="*/ f29 1 32"/>
                  <a:gd name="f34" fmla="*/ 8 f30 1"/>
                  <a:gd name="f35" fmla="*/ 32 f29 1"/>
                  <a:gd name="f36" fmla="*/ 0 f30 1"/>
                  <a:gd name="f37" fmla="*/ 30 f29 1"/>
                  <a:gd name="f38" fmla="*/ 28 f30 1"/>
                  <a:gd name="f39" fmla="*/ 0 f29 1"/>
                  <a:gd name="f40" fmla="*/ 48 f30 1"/>
                  <a:gd name="f41" fmla="*/ 8 f29 1"/>
                  <a:gd name="f42" fmla="*/ 42 f30 1"/>
                  <a:gd name="f43" fmla="*/ 14 f29 1"/>
                  <a:gd name="f44" fmla="+- f31 0 f1"/>
                  <a:gd name="f45" fmla="*/ f34 1 48"/>
                  <a:gd name="f46" fmla="*/ f35 1 32"/>
                  <a:gd name="f47" fmla="*/ f36 1 48"/>
                  <a:gd name="f48" fmla="*/ f37 1 32"/>
                  <a:gd name="f49" fmla="*/ f38 1 48"/>
                  <a:gd name="f50" fmla="*/ f39 1 32"/>
                  <a:gd name="f51" fmla="*/ f40 1 48"/>
                  <a:gd name="f52" fmla="*/ f41 1 32"/>
                  <a:gd name="f53" fmla="*/ f42 1 48"/>
                  <a:gd name="f54" fmla="*/ f43 1 32"/>
                  <a:gd name="f55" fmla="*/ 0 1 f32"/>
                  <a:gd name="f56" fmla="*/ f26 1 f32"/>
                  <a:gd name="f57" fmla="*/ 0 1 f33"/>
                  <a:gd name="f58" fmla="*/ f27 1 f33"/>
                  <a:gd name="f59" fmla="*/ f45 1 f32"/>
                  <a:gd name="f60" fmla="*/ f46 1 f33"/>
                  <a:gd name="f61" fmla="*/ f47 1 f32"/>
                  <a:gd name="f62" fmla="*/ f48 1 f33"/>
                  <a:gd name="f63" fmla="*/ f49 1 f32"/>
                  <a:gd name="f64" fmla="*/ f50 1 f33"/>
                  <a:gd name="f65" fmla="*/ f51 1 f32"/>
                  <a:gd name="f66" fmla="*/ f52 1 f33"/>
                  <a:gd name="f67" fmla="*/ f53 1 f32"/>
                  <a:gd name="f68" fmla="*/ f54 1 f33"/>
                  <a:gd name="f69" fmla="*/ f55 f23 1"/>
                  <a:gd name="f70" fmla="*/ f56 f23 1"/>
                  <a:gd name="f71" fmla="*/ f58 f24 1"/>
                  <a:gd name="f72" fmla="*/ f57 f24 1"/>
                  <a:gd name="f73" fmla="*/ f59 f23 1"/>
                  <a:gd name="f74" fmla="*/ f60 f24 1"/>
                  <a:gd name="f75" fmla="*/ f61 f23 1"/>
                  <a:gd name="f76" fmla="*/ f62 f24 1"/>
                  <a:gd name="f77" fmla="*/ f63 f23 1"/>
                  <a:gd name="f78" fmla="*/ f64 f24 1"/>
                  <a:gd name="f79" fmla="*/ f65 f23 1"/>
                  <a:gd name="f80" fmla="*/ f66 f24 1"/>
                  <a:gd name="f81" fmla="*/ f67 f23 1"/>
                  <a:gd name="f82" fmla="*/ f68 f24 1"/>
                </a:gdLst>
                <a:ahLst/>
                <a:cxnLst>
                  <a:cxn ang="3cd4">
                    <a:pos x="hc" y="t"/>
                  </a:cxn>
                  <a:cxn ang="0">
                    <a:pos x="r" y="vc"/>
                  </a:cxn>
                  <a:cxn ang="cd4">
                    <a:pos x="hc" y="b"/>
                  </a:cxn>
                  <a:cxn ang="cd2">
                    <a:pos x="l" y="vc"/>
                  </a:cxn>
                  <a:cxn ang="f44">
                    <a:pos x="f73" y="f74"/>
                  </a:cxn>
                  <a:cxn ang="f44">
                    <a:pos x="f75" y="f74"/>
                  </a:cxn>
                  <a:cxn ang="f44">
                    <a:pos x="f75" y="f76"/>
                  </a:cxn>
                  <a:cxn ang="f44">
                    <a:pos x="f77" y="f78"/>
                  </a:cxn>
                  <a:cxn ang="f44">
                    <a:pos x="f79" y="f80"/>
                  </a:cxn>
                  <a:cxn ang="f44">
                    <a:pos x="f81" y="f82"/>
                  </a:cxn>
                  <a:cxn ang="f44">
                    <a:pos x="f77" y="f80"/>
                  </a:cxn>
                  <a:cxn ang="f44">
                    <a:pos x="f73" y="f76"/>
                  </a:cxn>
                  <a:cxn ang="f44">
                    <a:pos x="f73" y="f74"/>
                  </a:cxn>
                </a:cxnLst>
                <a:rect l="f69" t="f72" r="f70" b="f71"/>
                <a:pathLst>
                  <a:path w="48" h="32">
                    <a:moveTo>
                      <a:pt x="f8" y="f7"/>
                    </a:moveTo>
                    <a:cubicBezTo>
                      <a:pt x="f5" y="f7"/>
                      <a:pt x="f5" y="f7"/>
                      <a:pt x="f5" y="f7"/>
                    </a:cubicBezTo>
                    <a:cubicBezTo>
                      <a:pt x="f5" y="f9"/>
                      <a:pt x="f5" y="f9"/>
                      <a:pt x="f5" y="f9"/>
                    </a:cubicBezTo>
                    <a:cubicBezTo>
                      <a:pt x="f5" y="f10"/>
                      <a:pt x="f11" y="f5"/>
                      <a:pt x="f12" y="f5"/>
                    </a:cubicBezTo>
                    <a:cubicBezTo>
                      <a:pt x="f13" y="f5"/>
                      <a:pt x="f14" y="f15"/>
                      <a:pt x="f6" y="f8"/>
                    </a:cubicBezTo>
                    <a:cubicBezTo>
                      <a:pt x="f16" y="f17"/>
                      <a:pt x="f16" y="f17"/>
                      <a:pt x="f16" y="f17"/>
                    </a:cubicBezTo>
                    <a:cubicBezTo>
                      <a:pt x="f18" y="f19"/>
                      <a:pt x="f20" y="f8"/>
                      <a:pt x="f12" y="f8"/>
                    </a:cubicBezTo>
                    <a:cubicBezTo>
                      <a:pt x="f21" y="f8"/>
                      <a:pt x="f8" y="f21"/>
                      <a:pt x="f8" y="f9"/>
                    </a:cubicBezTo>
                    <a:lnTo>
                      <a:pt x="f8" y="f7"/>
                    </a:lnTo>
                    <a:close/>
                  </a:path>
                </a:pathLst>
              </a:custGeom>
              <a:solidFill>
                <a:srgbClr val="FFFFFF"/>
              </a:solidFill>
              <a:ln cap="flat">
                <a:no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sp>
            <p:nvSpPr>
              <p:cNvPr id="88" name="Freeform 1998">
                <a:extLst>
                  <a:ext uri="{FF2B5EF4-FFF2-40B4-BE49-F238E27FC236}">
                    <a16:creationId xmlns:a16="http://schemas.microsoft.com/office/drawing/2014/main" id="{8B8E1D39-F7DA-4687-9FBC-E4B2CF7C5A3E}"/>
                  </a:ext>
                </a:extLst>
              </p:cNvPr>
              <p:cNvSpPr/>
              <p:nvPr/>
            </p:nvSpPr>
            <p:spPr>
              <a:xfrm>
                <a:off x="1019519" y="3955584"/>
                <a:ext cx="139500" cy="140991"/>
              </a:xfrm>
              <a:custGeom>
                <a:avLst/>
                <a:gdLst>
                  <a:gd name="f0" fmla="val 10800000"/>
                  <a:gd name="f1" fmla="val 5400000"/>
                  <a:gd name="f2" fmla="val 180"/>
                  <a:gd name="f3" fmla="val w"/>
                  <a:gd name="f4" fmla="val h"/>
                  <a:gd name="f5" fmla="val 0"/>
                  <a:gd name="f6" fmla="val 40"/>
                  <a:gd name="f7" fmla="val 20"/>
                  <a:gd name="f8" fmla="val 9"/>
                  <a:gd name="f9" fmla="val 31"/>
                  <a:gd name="f10" fmla="val 8"/>
                  <a:gd name="f11" fmla="val 13"/>
                  <a:gd name="f12" fmla="val 27"/>
                  <a:gd name="f13" fmla="val 32"/>
                  <a:gd name="f14" fmla="+- 0 0 -90"/>
                  <a:gd name="f15" fmla="*/ f3 1 40"/>
                  <a:gd name="f16" fmla="*/ f4 1 40"/>
                  <a:gd name="f17" fmla="val f5"/>
                  <a:gd name="f18" fmla="val f6"/>
                  <a:gd name="f19" fmla="*/ f14 f0 1"/>
                  <a:gd name="f20" fmla="+- f18 0 f17"/>
                  <a:gd name="f21" fmla="*/ f19 1 f2"/>
                  <a:gd name="f22" fmla="*/ f20 1 40"/>
                  <a:gd name="f23" fmla="*/ 20 f20 1"/>
                  <a:gd name="f24" fmla="*/ 40 f20 1"/>
                  <a:gd name="f25" fmla="*/ 0 f20 1"/>
                  <a:gd name="f26" fmla="*/ 8 f20 1"/>
                  <a:gd name="f27" fmla="*/ 32 f20 1"/>
                  <a:gd name="f28" fmla="+- f21 0 f1"/>
                  <a:gd name="f29" fmla="*/ f23 1 40"/>
                  <a:gd name="f30" fmla="*/ f24 1 40"/>
                  <a:gd name="f31" fmla="*/ f25 1 40"/>
                  <a:gd name="f32" fmla="*/ f26 1 40"/>
                  <a:gd name="f33" fmla="*/ f27 1 40"/>
                  <a:gd name="f34" fmla="*/ 0 1 f22"/>
                  <a:gd name="f35" fmla="*/ f18 1 f22"/>
                  <a:gd name="f36" fmla="*/ f29 1 f22"/>
                  <a:gd name="f37" fmla="*/ f30 1 f22"/>
                  <a:gd name="f38" fmla="*/ f31 1 f22"/>
                  <a:gd name="f39" fmla="*/ f32 1 f22"/>
                  <a:gd name="f40" fmla="*/ f33 1 f22"/>
                  <a:gd name="f41" fmla="*/ f34 f15 1"/>
                  <a:gd name="f42" fmla="*/ f35 f15 1"/>
                  <a:gd name="f43" fmla="*/ f35 f16 1"/>
                  <a:gd name="f44" fmla="*/ f34 f16 1"/>
                  <a:gd name="f45" fmla="*/ f36 f15 1"/>
                  <a:gd name="f46" fmla="*/ f37 f16 1"/>
                  <a:gd name="f47" fmla="*/ f38 f15 1"/>
                  <a:gd name="f48" fmla="*/ f36 f16 1"/>
                  <a:gd name="f49" fmla="*/ f38 f16 1"/>
                  <a:gd name="f50" fmla="*/ f37 f15 1"/>
                  <a:gd name="f51" fmla="*/ f39 f16 1"/>
                  <a:gd name="f52" fmla="*/ f39 f15 1"/>
                  <a:gd name="f53" fmla="*/ f40 f16 1"/>
                  <a:gd name="f54" fmla="*/ f40 f15 1"/>
                </a:gdLst>
                <a:ahLst/>
                <a:cxnLst>
                  <a:cxn ang="3cd4">
                    <a:pos x="hc" y="t"/>
                  </a:cxn>
                  <a:cxn ang="0">
                    <a:pos x="r" y="vc"/>
                  </a:cxn>
                  <a:cxn ang="cd4">
                    <a:pos x="hc" y="b"/>
                  </a:cxn>
                  <a:cxn ang="cd2">
                    <a:pos x="l" y="vc"/>
                  </a:cxn>
                  <a:cxn ang="f28">
                    <a:pos x="f45" y="f46"/>
                  </a:cxn>
                  <a:cxn ang="f28">
                    <a:pos x="f47" y="f48"/>
                  </a:cxn>
                  <a:cxn ang="f28">
                    <a:pos x="f45" y="f49"/>
                  </a:cxn>
                  <a:cxn ang="f28">
                    <a:pos x="f50" y="f48"/>
                  </a:cxn>
                  <a:cxn ang="f28">
                    <a:pos x="f45" y="f46"/>
                  </a:cxn>
                  <a:cxn ang="f28">
                    <a:pos x="f45" y="f51"/>
                  </a:cxn>
                  <a:cxn ang="f28">
                    <a:pos x="f52" y="f48"/>
                  </a:cxn>
                  <a:cxn ang="f28">
                    <a:pos x="f45" y="f53"/>
                  </a:cxn>
                  <a:cxn ang="f28">
                    <a:pos x="f54" y="f48"/>
                  </a:cxn>
                  <a:cxn ang="f28">
                    <a:pos x="f45" y="f51"/>
                  </a:cxn>
                </a:cxnLst>
                <a:rect l="f41" t="f44" r="f42" b="f43"/>
                <a:pathLst>
                  <a:path w="40" h="40">
                    <a:moveTo>
                      <a:pt x="f7" y="f6"/>
                    </a:moveTo>
                    <a:cubicBezTo>
                      <a:pt x="f8" y="f6"/>
                      <a:pt x="f5" y="f9"/>
                      <a:pt x="f5" y="f7"/>
                    </a:cubicBezTo>
                    <a:cubicBezTo>
                      <a:pt x="f5" y="f8"/>
                      <a:pt x="f8" y="f5"/>
                      <a:pt x="f7" y="f5"/>
                    </a:cubicBezTo>
                    <a:cubicBezTo>
                      <a:pt x="f9" y="f5"/>
                      <a:pt x="f6" y="f8"/>
                      <a:pt x="f6" y="f7"/>
                    </a:cubicBezTo>
                    <a:cubicBezTo>
                      <a:pt x="f6" y="f9"/>
                      <a:pt x="f9" y="f6"/>
                      <a:pt x="f7" y="f6"/>
                    </a:cubicBezTo>
                    <a:close/>
                    <a:moveTo>
                      <a:pt x="f7" y="f10"/>
                    </a:moveTo>
                    <a:cubicBezTo>
                      <a:pt x="f11" y="f10"/>
                      <a:pt x="f10" y="f11"/>
                      <a:pt x="f10" y="f7"/>
                    </a:cubicBezTo>
                    <a:cubicBezTo>
                      <a:pt x="f10" y="f12"/>
                      <a:pt x="f11" y="f13"/>
                      <a:pt x="f7" y="f13"/>
                    </a:cubicBezTo>
                    <a:cubicBezTo>
                      <a:pt x="f12" y="f13"/>
                      <a:pt x="f13" y="f12"/>
                      <a:pt x="f13" y="f7"/>
                    </a:cubicBezTo>
                    <a:cubicBezTo>
                      <a:pt x="f13" y="f11"/>
                      <a:pt x="f12" y="f10"/>
                      <a:pt x="f7" y="f10"/>
                    </a:cubicBezTo>
                    <a:close/>
                  </a:path>
                </a:pathLst>
              </a:custGeom>
              <a:solidFill>
                <a:srgbClr val="FFFFFF"/>
              </a:solidFill>
              <a:ln cap="flat">
                <a:no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grpSp>
      </p:grpSp>
      <p:sp>
        <p:nvSpPr>
          <p:cNvPr id="89" name="Oval 255">
            <a:extLst>
              <a:ext uri="{FF2B5EF4-FFF2-40B4-BE49-F238E27FC236}">
                <a16:creationId xmlns:a16="http://schemas.microsoft.com/office/drawing/2014/main" id="{D5C5EBA4-2AAE-4FB9-A9AE-E408B217885A}"/>
              </a:ext>
            </a:extLst>
          </p:cNvPr>
          <p:cNvSpPr/>
          <p:nvPr/>
        </p:nvSpPr>
        <p:spPr>
          <a:xfrm>
            <a:off x="1537720" y="1842116"/>
            <a:ext cx="857250" cy="85725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bg1">
              <a:lumMod val="95000"/>
            </a:schemeClr>
          </a:solidFill>
          <a:ln w="38100" cap="flat">
            <a:solidFill>
              <a:schemeClr val="accent1"/>
            </a:solidFill>
            <a:prstDash val="solid"/>
          </a:ln>
        </p:spPr>
        <p:txBody>
          <a:bodyPr vert="horz" wrap="square" lIns="0" tIns="34976" rIns="0" bIns="34976" anchor="ctr" anchorCtr="1" compatLnSpc="1">
            <a:noAutofit/>
          </a:bodyPr>
          <a:lstStyle/>
          <a:p>
            <a:pPr algn="ctr" defTabSz="699221" eaLnBrk="1" fontAlgn="auto" hangingPunct="1">
              <a:spcBef>
                <a:spcPts val="0"/>
              </a:spcBef>
              <a:spcAft>
                <a:spcPts val="0"/>
              </a:spcAft>
              <a:defRPr sz="1800" b="0" i="0" u="none" strike="noStrike" kern="0" cap="none" spc="0" baseline="0">
                <a:solidFill>
                  <a:srgbClr val="000000"/>
                </a:solidFill>
                <a:uFillTx/>
              </a:defRPr>
            </a:pPr>
            <a:endParaRPr lang="en-US" sz="1500" kern="0">
              <a:solidFill>
                <a:srgbClr val="000000"/>
              </a:solidFill>
              <a:latin typeface="Segoe UI Semilight"/>
            </a:endParaRPr>
          </a:p>
        </p:txBody>
      </p:sp>
      <p:sp>
        <p:nvSpPr>
          <p:cNvPr id="90" name="Oval 255">
            <a:extLst>
              <a:ext uri="{FF2B5EF4-FFF2-40B4-BE49-F238E27FC236}">
                <a16:creationId xmlns:a16="http://schemas.microsoft.com/office/drawing/2014/main" id="{12A87406-DC93-4136-9EAE-83F52C42D5E4}"/>
              </a:ext>
            </a:extLst>
          </p:cNvPr>
          <p:cNvSpPr/>
          <p:nvPr/>
        </p:nvSpPr>
        <p:spPr>
          <a:xfrm>
            <a:off x="6691337" y="2852197"/>
            <a:ext cx="857250" cy="85725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bg1">
              <a:lumMod val="95000"/>
            </a:schemeClr>
          </a:solidFill>
          <a:ln w="38100" cap="flat">
            <a:solidFill>
              <a:schemeClr val="accent1"/>
            </a:solidFill>
            <a:prstDash val="solid"/>
          </a:ln>
        </p:spPr>
        <p:txBody>
          <a:bodyPr vert="horz" wrap="square" lIns="0" tIns="34976" rIns="0" bIns="34976" anchor="ctr" anchorCtr="1" compatLnSpc="1">
            <a:noAutofit/>
          </a:bodyPr>
          <a:lstStyle/>
          <a:p>
            <a:pPr algn="ctr" defTabSz="699221" eaLnBrk="1" fontAlgn="auto" hangingPunct="1">
              <a:spcBef>
                <a:spcPts val="0"/>
              </a:spcBef>
              <a:spcAft>
                <a:spcPts val="0"/>
              </a:spcAft>
              <a:defRPr sz="1800" b="0" i="0" u="none" strike="noStrike" kern="0" cap="none" spc="0" baseline="0">
                <a:solidFill>
                  <a:srgbClr val="000000"/>
                </a:solidFill>
                <a:uFillTx/>
              </a:defRPr>
            </a:pPr>
            <a:endParaRPr lang="en-US" sz="1500" kern="0">
              <a:solidFill>
                <a:srgbClr val="000000"/>
              </a:solidFill>
              <a:latin typeface="Segoe UI Semilight"/>
            </a:endParaRPr>
          </a:p>
        </p:txBody>
      </p:sp>
      <p:sp>
        <p:nvSpPr>
          <p:cNvPr id="91" name="Oval 255">
            <a:extLst>
              <a:ext uri="{FF2B5EF4-FFF2-40B4-BE49-F238E27FC236}">
                <a16:creationId xmlns:a16="http://schemas.microsoft.com/office/drawing/2014/main" id="{EE4E46F0-7803-418E-9FF8-AFE037388411}"/>
              </a:ext>
            </a:extLst>
          </p:cNvPr>
          <p:cNvSpPr/>
          <p:nvPr/>
        </p:nvSpPr>
        <p:spPr>
          <a:xfrm>
            <a:off x="6069473" y="1983430"/>
            <a:ext cx="857250" cy="85725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bg1">
              <a:lumMod val="95000"/>
            </a:schemeClr>
          </a:solidFill>
          <a:ln w="38100" cap="flat">
            <a:solidFill>
              <a:schemeClr val="accent1"/>
            </a:solidFill>
            <a:prstDash val="solid"/>
          </a:ln>
        </p:spPr>
        <p:txBody>
          <a:bodyPr vert="horz" wrap="square" lIns="0" tIns="34976" rIns="0" bIns="34976" anchor="ctr" anchorCtr="1" compatLnSpc="1">
            <a:noAutofit/>
          </a:bodyPr>
          <a:lstStyle/>
          <a:p>
            <a:pPr algn="ctr" defTabSz="699221" eaLnBrk="1" fontAlgn="auto" hangingPunct="1">
              <a:spcBef>
                <a:spcPts val="0"/>
              </a:spcBef>
              <a:spcAft>
                <a:spcPts val="0"/>
              </a:spcAft>
              <a:defRPr sz="1800" b="0" i="0" u="none" strike="noStrike" kern="0" cap="none" spc="0" baseline="0">
                <a:solidFill>
                  <a:srgbClr val="000000"/>
                </a:solidFill>
                <a:uFillTx/>
              </a:defRPr>
            </a:pPr>
            <a:endParaRPr lang="en-US" sz="1500" kern="0">
              <a:solidFill>
                <a:srgbClr val="000000"/>
              </a:solidFill>
              <a:latin typeface="Segoe UI Semilight"/>
            </a:endParaRPr>
          </a:p>
        </p:txBody>
      </p:sp>
      <p:sp>
        <p:nvSpPr>
          <p:cNvPr id="92" name="Oval 255">
            <a:extLst>
              <a:ext uri="{FF2B5EF4-FFF2-40B4-BE49-F238E27FC236}">
                <a16:creationId xmlns:a16="http://schemas.microsoft.com/office/drawing/2014/main" id="{0272DBD6-60FA-48D6-A99F-CD80C33733EC}"/>
              </a:ext>
            </a:extLst>
          </p:cNvPr>
          <p:cNvSpPr/>
          <p:nvPr/>
        </p:nvSpPr>
        <p:spPr>
          <a:xfrm>
            <a:off x="6069473" y="3686366"/>
            <a:ext cx="857250" cy="85725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bg1">
              <a:lumMod val="95000"/>
            </a:schemeClr>
          </a:solidFill>
          <a:ln w="38100" cap="flat">
            <a:solidFill>
              <a:schemeClr val="accent1"/>
            </a:solidFill>
            <a:prstDash val="solid"/>
          </a:ln>
        </p:spPr>
        <p:txBody>
          <a:bodyPr vert="horz" wrap="square" lIns="0" tIns="34976" rIns="0" bIns="34976" anchor="ctr" anchorCtr="1" compatLnSpc="1">
            <a:noAutofit/>
          </a:bodyPr>
          <a:lstStyle/>
          <a:p>
            <a:pPr algn="ctr" defTabSz="699221" eaLnBrk="1" fontAlgn="auto" hangingPunct="1">
              <a:spcBef>
                <a:spcPts val="0"/>
              </a:spcBef>
              <a:spcAft>
                <a:spcPts val="0"/>
              </a:spcAft>
              <a:defRPr sz="1800" b="0" i="0" u="none" strike="noStrike" kern="0" cap="none" spc="0" baseline="0">
                <a:solidFill>
                  <a:srgbClr val="000000"/>
                </a:solidFill>
                <a:uFillTx/>
              </a:defRPr>
            </a:pPr>
            <a:endParaRPr lang="en-US" sz="1500" kern="0">
              <a:solidFill>
                <a:srgbClr val="000000"/>
              </a:solidFill>
              <a:latin typeface="Segoe UI Semilight"/>
            </a:endParaRPr>
          </a:p>
        </p:txBody>
      </p:sp>
      <p:sp>
        <p:nvSpPr>
          <p:cNvPr id="93" name="Oval 255">
            <a:extLst>
              <a:ext uri="{FF2B5EF4-FFF2-40B4-BE49-F238E27FC236}">
                <a16:creationId xmlns:a16="http://schemas.microsoft.com/office/drawing/2014/main" id="{ED405AB4-4101-4921-BC38-FAECE819C417}"/>
              </a:ext>
            </a:extLst>
          </p:cNvPr>
          <p:cNvSpPr/>
          <p:nvPr/>
        </p:nvSpPr>
        <p:spPr>
          <a:xfrm>
            <a:off x="2067971" y="2729644"/>
            <a:ext cx="857250" cy="85725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bg1">
              <a:lumMod val="95000"/>
            </a:schemeClr>
          </a:solidFill>
          <a:ln w="38100" cap="flat">
            <a:solidFill>
              <a:schemeClr val="accent1"/>
            </a:solidFill>
            <a:prstDash val="solid"/>
          </a:ln>
        </p:spPr>
        <p:txBody>
          <a:bodyPr vert="horz" wrap="square" lIns="0" tIns="34976" rIns="0" bIns="34976" anchor="ctr" anchorCtr="1" compatLnSpc="1">
            <a:noAutofit/>
          </a:bodyPr>
          <a:lstStyle/>
          <a:p>
            <a:pPr algn="ctr" defTabSz="699221" eaLnBrk="1" fontAlgn="auto" hangingPunct="1">
              <a:spcBef>
                <a:spcPts val="0"/>
              </a:spcBef>
              <a:spcAft>
                <a:spcPts val="0"/>
              </a:spcAft>
              <a:defRPr sz="1800" b="0" i="0" u="none" strike="noStrike" kern="0" cap="none" spc="0" baseline="0">
                <a:solidFill>
                  <a:srgbClr val="000000"/>
                </a:solidFill>
                <a:uFillTx/>
              </a:defRPr>
            </a:pPr>
            <a:endParaRPr lang="en-US" sz="1500" kern="0">
              <a:solidFill>
                <a:srgbClr val="000000"/>
              </a:solidFill>
              <a:latin typeface="Segoe UI Semilight"/>
            </a:endParaRPr>
          </a:p>
        </p:txBody>
      </p:sp>
      <p:sp>
        <p:nvSpPr>
          <p:cNvPr id="94" name="Oval 255">
            <a:extLst>
              <a:ext uri="{FF2B5EF4-FFF2-40B4-BE49-F238E27FC236}">
                <a16:creationId xmlns:a16="http://schemas.microsoft.com/office/drawing/2014/main" id="{B966C56B-70CE-463F-81C4-02F2F1018598}"/>
              </a:ext>
            </a:extLst>
          </p:cNvPr>
          <p:cNvSpPr/>
          <p:nvPr/>
        </p:nvSpPr>
        <p:spPr>
          <a:xfrm>
            <a:off x="1537720" y="3549089"/>
            <a:ext cx="857250" cy="85725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chemeClr val="bg1">
              <a:lumMod val="95000"/>
            </a:schemeClr>
          </a:solidFill>
          <a:ln w="38100" cap="flat">
            <a:solidFill>
              <a:schemeClr val="accent1"/>
            </a:solidFill>
            <a:prstDash val="solid"/>
          </a:ln>
        </p:spPr>
        <p:txBody>
          <a:bodyPr vert="horz" wrap="square" lIns="0" tIns="34976" rIns="0" bIns="34976" anchor="ctr" anchorCtr="1" compatLnSpc="1">
            <a:noAutofit/>
          </a:bodyPr>
          <a:lstStyle/>
          <a:p>
            <a:pPr algn="ctr" defTabSz="699221" eaLnBrk="1" fontAlgn="auto" hangingPunct="1">
              <a:spcBef>
                <a:spcPts val="0"/>
              </a:spcBef>
              <a:spcAft>
                <a:spcPts val="0"/>
              </a:spcAft>
              <a:defRPr sz="1800" b="0" i="0" u="none" strike="noStrike" kern="0" cap="none" spc="0" baseline="0">
                <a:solidFill>
                  <a:srgbClr val="000000"/>
                </a:solidFill>
                <a:uFillTx/>
              </a:defRPr>
            </a:pPr>
            <a:endParaRPr lang="en-US" sz="1500" kern="0">
              <a:solidFill>
                <a:srgbClr val="000000"/>
              </a:solidFill>
              <a:latin typeface="Segoe UI Semilight"/>
            </a:endParaRPr>
          </a:p>
        </p:txBody>
      </p:sp>
      <p:grpSp>
        <p:nvGrpSpPr>
          <p:cNvPr id="95" name="Group 220">
            <a:extLst>
              <a:ext uri="{FF2B5EF4-FFF2-40B4-BE49-F238E27FC236}">
                <a16:creationId xmlns:a16="http://schemas.microsoft.com/office/drawing/2014/main" id="{060BE912-9E27-4FF6-A17A-F2E6790B5516}"/>
              </a:ext>
            </a:extLst>
          </p:cNvPr>
          <p:cNvGrpSpPr/>
          <p:nvPr/>
        </p:nvGrpSpPr>
        <p:grpSpPr>
          <a:xfrm>
            <a:off x="2246277" y="2966646"/>
            <a:ext cx="461797" cy="391276"/>
            <a:chOff x="5293644" y="3236409"/>
            <a:chExt cx="615729" cy="521701"/>
          </a:xfrm>
        </p:grpSpPr>
        <p:sp>
          <p:nvSpPr>
            <p:cNvPr id="96" name="Freeform 5">
              <a:extLst>
                <a:ext uri="{FF2B5EF4-FFF2-40B4-BE49-F238E27FC236}">
                  <a16:creationId xmlns:a16="http://schemas.microsoft.com/office/drawing/2014/main" id="{746FBE29-5633-41A4-84B2-F501178212BA}"/>
                </a:ext>
              </a:extLst>
            </p:cNvPr>
            <p:cNvSpPr/>
            <p:nvPr/>
          </p:nvSpPr>
          <p:spPr>
            <a:xfrm>
              <a:off x="5494940" y="3627982"/>
              <a:ext cx="157487" cy="78546"/>
            </a:xfrm>
            <a:custGeom>
              <a:avLst/>
              <a:gdLst>
                <a:gd name="f0" fmla="val 10800000"/>
                <a:gd name="f1" fmla="val 5400000"/>
                <a:gd name="f2" fmla="val 180"/>
                <a:gd name="f3" fmla="val w"/>
                <a:gd name="f4" fmla="val h"/>
                <a:gd name="f5" fmla="val 0"/>
                <a:gd name="f6" fmla="val 48"/>
                <a:gd name="f7" fmla="val 24"/>
                <a:gd name="f8" fmla="val 42"/>
                <a:gd name="f9" fmla="val 11"/>
                <a:gd name="f10" fmla="val 22"/>
                <a:gd name="f11" fmla="val 47"/>
                <a:gd name="f12" fmla="val 23"/>
                <a:gd name="f13" fmla="val 45"/>
                <a:gd name="f14" fmla="val 3"/>
                <a:gd name="f15" fmla="val 1"/>
                <a:gd name="f16" fmla="val 6"/>
                <a:gd name="f17" fmla="+- 0 0 -90"/>
                <a:gd name="f18" fmla="*/ f3 1 48"/>
                <a:gd name="f19" fmla="*/ f4 1 24"/>
                <a:gd name="f20" fmla="val f5"/>
                <a:gd name="f21" fmla="val f6"/>
                <a:gd name="f22" fmla="val f7"/>
                <a:gd name="f23" fmla="*/ f17 f0 1"/>
                <a:gd name="f24" fmla="+- f22 0 f20"/>
                <a:gd name="f25" fmla="+- f21 0 f20"/>
                <a:gd name="f26" fmla="*/ f23 1 f2"/>
                <a:gd name="f27" fmla="*/ f25 1 48"/>
                <a:gd name="f28" fmla="*/ f24 1 24"/>
                <a:gd name="f29" fmla="*/ 42 f25 1"/>
                <a:gd name="f30" fmla="*/ 0 f24 1"/>
                <a:gd name="f31" fmla="*/ 11 f24 1"/>
                <a:gd name="f32" fmla="*/ 48 f25 1"/>
                <a:gd name="f33" fmla="*/ 22 f24 1"/>
                <a:gd name="f34" fmla="*/ 45 f25 1"/>
                <a:gd name="f35" fmla="*/ 23 f24 1"/>
                <a:gd name="f36" fmla="*/ 3 f25 1"/>
                <a:gd name="f37" fmla="*/ 0 f25 1"/>
                <a:gd name="f38" fmla="*/ 6 f25 1"/>
                <a:gd name="f39" fmla="+- f26 0 f1"/>
                <a:gd name="f40" fmla="*/ f29 1 48"/>
                <a:gd name="f41" fmla="*/ f30 1 24"/>
                <a:gd name="f42" fmla="*/ f31 1 24"/>
                <a:gd name="f43" fmla="*/ f32 1 48"/>
                <a:gd name="f44" fmla="*/ f33 1 24"/>
                <a:gd name="f45" fmla="*/ f34 1 48"/>
                <a:gd name="f46" fmla="*/ f35 1 24"/>
                <a:gd name="f47" fmla="*/ f36 1 48"/>
                <a:gd name="f48" fmla="*/ f37 1 48"/>
                <a:gd name="f49" fmla="*/ f38 1 48"/>
                <a:gd name="f50" fmla="*/ 0 1 f27"/>
                <a:gd name="f51" fmla="*/ f21 1 f27"/>
                <a:gd name="f52" fmla="*/ 0 1 f28"/>
                <a:gd name="f53" fmla="*/ f22 1 f28"/>
                <a:gd name="f54" fmla="*/ f40 1 f27"/>
                <a:gd name="f55" fmla="*/ f41 1 f28"/>
                <a:gd name="f56" fmla="*/ f42 1 f28"/>
                <a:gd name="f57" fmla="*/ f43 1 f27"/>
                <a:gd name="f58" fmla="*/ f44 1 f28"/>
                <a:gd name="f59" fmla="*/ f45 1 f27"/>
                <a:gd name="f60" fmla="*/ f46 1 f28"/>
                <a:gd name="f61" fmla="*/ f47 1 f27"/>
                <a:gd name="f62" fmla="*/ f48 1 f27"/>
                <a:gd name="f63" fmla="*/ f49 1 f27"/>
                <a:gd name="f64" fmla="*/ f50 f18 1"/>
                <a:gd name="f65" fmla="*/ f51 f18 1"/>
                <a:gd name="f66" fmla="*/ f53 f19 1"/>
                <a:gd name="f67" fmla="*/ f52 f19 1"/>
                <a:gd name="f68" fmla="*/ f54 f18 1"/>
                <a:gd name="f69" fmla="*/ f55 f19 1"/>
                <a:gd name="f70" fmla="*/ f56 f19 1"/>
                <a:gd name="f71" fmla="*/ f57 f18 1"/>
                <a:gd name="f72" fmla="*/ f58 f19 1"/>
                <a:gd name="f73" fmla="*/ f59 f18 1"/>
                <a:gd name="f74" fmla="*/ f60 f19 1"/>
                <a:gd name="f75" fmla="*/ f61 f18 1"/>
                <a:gd name="f76" fmla="*/ f62 f18 1"/>
                <a:gd name="f77" fmla="*/ f63 f18 1"/>
              </a:gdLst>
              <a:ahLst/>
              <a:cxnLst>
                <a:cxn ang="3cd4">
                  <a:pos x="hc" y="t"/>
                </a:cxn>
                <a:cxn ang="0">
                  <a:pos x="r" y="vc"/>
                </a:cxn>
                <a:cxn ang="cd4">
                  <a:pos x="hc" y="b"/>
                </a:cxn>
                <a:cxn ang="cd2">
                  <a:pos x="l" y="vc"/>
                </a:cxn>
                <a:cxn ang="f39">
                  <a:pos x="f68" y="f69"/>
                </a:cxn>
                <a:cxn ang="f39">
                  <a:pos x="f68" y="f70"/>
                </a:cxn>
                <a:cxn ang="f39">
                  <a:pos x="f71" y="f72"/>
                </a:cxn>
                <a:cxn ang="f39">
                  <a:pos x="f73" y="f74"/>
                </a:cxn>
                <a:cxn ang="f39">
                  <a:pos x="f75" y="f74"/>
                </a:cxn>
                <a:cxn ang="f39">
                  <a:pos x="f76" y="f72"/>
                </a:cxn>
                <a:cxn ang="f39">
                  <a:pos x="f77" y="f70"/>
                </a:cxn>
                <a:cxn ang="f39">
                  <a:pos x="f77" y="f69"/>
                </a:cxn>
              </a:cxnLst>
              <a:rect l="f64" t="f67" r="f65" b="f66"/>
              <a:pathLst>
                <a:path w="48" h="24">
                  <a:moveTo>
                    <a:pt x="f8" y="f5"/>
                  </a:moveTo>
                  <a:cubicBezTo>
                    <a:pt x="f8" y="f9"/>
                    <a:pt x="f8" y="f9"/>
                    <a:pt x="f8" y="f9"/>
                  </a:cubicBezTo>
                  <a:cubicBezTo>
                    <a:pt x="f6" y="f10"/>
                    <a:pt x="f6" y="f10"/>
                    <a:pt x="f6" y="f10"/>
                  </a:cubicBezTo>
                  <a:cubicBezTo>
                    <a:pt x="f6" y="f7"/>
                    <a:pt x="f11" y="f12"/>
                    <a:pt x="f13" y="f12"/>
                  </a:cubicBezTo>
                  <a:cubicBezTo>
                    <a:pt x="f14" y="f12"/>
                    <a:pt x="f14" y="f12"/>
                    <a:pt x="f14" y="f12"/>
                  </a:cubicBezTo>
                  <a:cubicBezTo>
                    <a:pt x="f15" y="f12"/>
                    <a:pt x="f5" y="f7"/>
                    <a:pt x="f5" y="f10"/>
                  </a:cubicBezTo>
                  <a:cubicBezTo>
                    <a:pt x="f16" y="f9"/>
                    <a:pt x="f16" y="f9"/>
                    <a:pt x="f16" y="f9"/>
                  </a:cubicBezTo>
                  <a:cubicBezTo>
                    <a:pt x="f16" y="f5"/>
                    <a:pt x="f16" y="f5"/>
                    <a:pt x="f16" y="f5"/>
                  </a:cubicBez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FFFFFF"/>
                </a:solidFill>
                <a:latin typeface="Segoe UI Semilight"/>
              </a:endParaRPr>
            </a:p>
          </p:txBody>
        </p:sp>
        <p:sp>
          <p:nvSpPr>
            <p:cNvPr id="97" name="Freeform 6">
              <a:extLst>
                <a:ext uri="{FF2B5EF4-FFF2-40B4-BE49-F238E27FC236}">
                  <a16:creationId xmlns:a16="http://schemas.microsoft.com/office/drawing/2014/main" id="{D4AE077F-41A2-4643-B227-0395EADADDE6}"/>
                </a:ext>
              </a:extLst>
            </p:cNvPr>
            <p:cNvSpPr/>
            <p:nvPr/>
          </p:nvSpPr>
          <p:spPr>
            <a:xfrm>
              <a:off x="5293644" y="3236409"/>
              <a:ext cx="554153" cy="392743"/>
            </a:xfrm>
            <a:custGeom>
              <a:avLst/>
              <a:gdLst>
                <a:gd name="f0" fmla="val 10800000"/>
                <a:gd name="f1" fmla="val 5400000"/>
                <a:gd name="f2" fmla="val 180"/>
                <a:gd name="f3" fmla="val w"/>
                <a:gd name="f4" fmla="val h"/>
                <a:gd name="f5" fmla="val 0"/>
                <a:gd name="f6" fmla="val 168"/>
                <a:gd name="f7" fmla="val 120"/>
                <a:gd name="f8" fmla="val 118"/>
                <a:gd name="f9" fmla="val 10"/>
                <a:gd name="f10" fmla="val 4"/>
                <a:gd name="f11" fmla="val 115"/>
                <a:gd name="f12" fmla="val 110"/>
                <a:gd name="f13" fmla="val 158"/>
                <a:gd name="f14" fmla="val 164"/>
                <a:gd name="f15" fmla="val 29"/>
                <a:gd name="f16" fmla="+- 0 0 -90"/>
                <a:gd name="f17" fmla="*/ f3 1 168"/>
                <a:gd name="f18" fmla="*/ f4 1 120"/>
                <a:gd name="f19" fmla="val f5"/>
                <a:gd name="f20" fmla="val f6"/>
                <a:gd name="f21" fmla="val f7"/>
                <a:gd name="f22" fmla="*/ f16 f0 1"/>
                <a:gd name="f23" fmla="+- f21 0 f19"/>
                <a:gd name="f24" fmla="+- f20 0 f19"/>
                <a:gd name="f25" fmla="*/ f22 1 f2"/>
                <a:gd name="f26" fmla="*/ f24 1 168"/>
                <a:gd name="f27" fmla="*/ f23 1 120"/>
                <a:gd name="f28" fmla="*/ 118 f24 1"/>
                <a:gd name="f29" fmla="*/ 120 f23 1"/>
                <a:gd name="f30" fmla="*/ 10 f24 1"/>
                <a:gd name="f31" fmla="*/ 0 f24 1"/>
                <a:gd name="f32" fmla="*/ 110 f23 1"/>
                <a:gd name="f33" fmla="*/ 10 f23 1"/>
                <a:gd name="f34" fmla="*/ 0 f23 1"/>
                <a:gd name="f35" fmla="*/ 158 f24 1"/>
                <a:gd name="f36" fmla="*/ 168 f24 1"/>
                <a:gd name="f37" fmla="*/ 29 f23 1"/>
                <a:gd name="f38" fmla="+- f25 0 f1"/>
                <a:gd name="f39" fmla="*/ f28 1 168"/>
                <a:gd name="f40" fmla="*/ f29 1 120"/>
                <a:gd name="f41" fmla="*/ f30 1 168"/>
                <a:gd name="f42" fmla="*/ f31 1 168"/>
                <a:gd name="f43" fmla="*/ f32 1 120"/>
                <a:gd name="f44" fmla="*/ f33 1 120"/>
                <a:gd name="f45" fmla="*/ f34 1 120"/>
                <a:gd name="f46" fmla="*/ f35 1 168"/>
                <a:gd name="f47" fmla="*/ f36 1 168"/>
                <a:gd name="f48" fmla="*/ f37 1 120"/>
                <a:gd name="f49" fmla="*/ 0 1 f26"/>
                <a:gd name="f50" fmla="*/ f20 1 f26"/>
                <a:gd name="f51" fmla="*/ 0 1 f27"/>
                <a:gd name="f52" fmla="*/ f21 1 f27"/>
                <a:gd name="f53" fmla="*/ f39 1 f26"/>
                <a:gd name="f54" fmla="*/ f40 1 f27"/>
                <a:gd name="f55" fmla="*/ f41 1 f26"/>
                <a:gd name="f56" fmla="*/ f42 1 f26"/>
                <a:gd name="f57" fmla="*/ f43 1 f27"/>
                <a:gd name="f58" fmla="*/ f44 1 f27"/>
                <a:gd name="f59" fmla="*/ f45 1 f27"/>
                <a:gd name="f60" fmla="*/ f46 1 f26"/>
                <a:gd name="f61" fmla="*/ f47 1 f26"/>
                <a:gd name="f62" fmla="*/ f48 1 f27"/>
                <a:gd name="f63" fmla="*/ f49 f17 1"/>
                <a:gd name="f64" fmla="*/ f50 f17 1"/>
                <a:gd name="f65" fmla="*/ f52 f18 1"/>
                <a:gd name="f66" fmla="*/ f51 f18 1"/>
                <a:gd name="f67" fmla="*/ f53 f17 1"/>
                <a:gd name="f68" fmla="*/ f54 f18 1"/>
                <a:gd name="f69" fmla="*/ f55 f17 1"/>
                <a:gd name="f70" fmla="*/ f56 f17 1"/>
                <a:gd name="f71" fmla="*/ f57 f18 1"/>
                <a:gd name="f72" fmla="*/ f58 f18 1"/>
                <a:gd name="f73" fmla="*/ f59 f18 1"/>
                <a:gd name="f74" fmla="*/ f60 f17 1"/>
                <a:gd name="f75" fmla="*/ f61 f17 1"/>
                <a:gd name="f76" fmla="*/ f62 f18 1"/>
              </a:gdLst>
              <a:ahLst/>
              <a:cxnLst>
                <a:cxn ang="3cd4">
                  <a:pos x="hc" y="t"/>
                </a:cxn>
                <a:cxn ang="0">
                  <a:pos x="r" y="vc"/>
                </a:cxn>
                <a:cxn ang="cd4">
                  <a:pos x="hc" y="b"/>
                </a:cxn>
                <a:cxn ang="cd2">
                  <a:pos x="l" y="vc"/>
                </a:cxn>
                <a:cxn ang="f38">
                  <a:pos x="f67" y="f68"/>
                </a:cxn>
                <a:cxn ang="f38">
                  <a:pos x="f69" y="f68"/>
                </a:cxn>
                <a:cxn ang="f38">
                  <a:pos x="f70" y="f71"/>
                </a:cxn>
                <a:cxn ang="f38">
                  <a:pos x="f70" y="f72"/>
                </a:cxn>
                <a:cxn ang="f38">
                  <a:pos x="f69" y="f73"/>
                </a:cxn>
                <a:cxn ang="f38">
                  <a:pos x="f74" y="f73"/>
                </a:cxn>
                <a:cxn ang="f38">
                  <a:pos x="f75" y="f72"/>
                </a:cxn>
                <a:cxn ang="f38">
                  <a:pos x="f75" y="f76"/>
                </a:cxn>
              </a:cxnLst>
              <a:rect l="f63" t="f66" r="f64" b="f65"/>
              <a:pathLst>
                <a:path w="168" h="120">
                  <a:moveTo>
                    <a:pt x="f8" y="f7"/>
                  </a:moveTo>
                  <a:cubicBezTo>
                    <a:pt x="f9" y="f7"/>
                    <a:pt x="f9" y="f7"/>
                    <a:pt x="f9" y="f7"/>
                  </a:cubicBezTo>
                  <a:cubicBezTo>
                    <a:pt x="f10" y="f7"/>
                    <a:pt x="f5" y="f11"/>
                    <a:pt x="f5" y="f12"/>
                  </a:cubicBezTo>
                  <a:cubicBezTo>
                    <a:pt x="f5" y="f9"/>
                    <a:pt x="f5" y="f9"/>
                    <a:pt x="f5" y="f9"/>
                  </a:cubicBezTo>
                  <a:cubicBezTo>
                    <a:pt x="f5" y="f10"/>
                    <a:pt x="f10" y="f5"/>
                    <a:pt x="f9" y="f5"/>
                  </a:cubicBezTo>
                  <a:cubicBezTo>
                    <a:pt x="f13" y="f5"/>
                    <a:pt x="f13" y="f5"/>
                    <a:pt x="f13" y="f5"/>
                  </a:cubicBezTo>
                  <a:cubicBezTo>
                    <a:pt x="f14" y="f5"/>
                    <a:pt x="f6" y="f10"/>
                    <a:pt x="f6" y="f9"/>
                  </a:cubicBezTo>
                  <a:cubicBezTo>
                    <a:pt x="f6" y="f15"/>
                    <a:pt x="f6" y="f15"/>
                    <a:pt x="f6" y="f15"/>
                  </a:cubicBez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FFFFFF"/>
                </a:solidFill>
                <a:latin typeface="Segoe UI Semilight"/>
              </a:endParaRPr>
            </a:p>
          </p:txBody>
        </p:sp>
        <p:sp>
          <p:nvSpPr>
            <p:cNvPr id="98" name="Freeform 7">
              <a:extLst>
                <a:ext uri="{FF2B5EF4-FFF2-40B4-BE49-F238E27FC236}">
                  <a16:creationId xmlns:a16="http://schemas.microsoft.com/office/drawing/2014/main" id="{B0E6B578-8795-48B1-9F52-D868A1D7FD4A}"/>
                </a:ext>
              </a:extLst>
            </p:cNvPr>
            <p:cNvSpPr/>
            <p:nvPr/>
          </p:nvSpPr>
          <p:spPr>
            <a:xfrm>
              <a:off x="5300749" y="3558808"/>
              <a:ext cx="381277" cy="0"/>
            </a:xfrm>
            <a:custGeom>
              <a:avLst/>
              <a:gdLst>
                <a:gd name="f0" fmla="val 10800000"/>
                <a:gd name="f1" fmla="val 5400000"/>
                <a:gd name="f2" fmla="val 180"/>
                <a:gd name="f3" fmla="val w"/>
                <a:gd name="f4" fmla="val h"/>
                <a:gd name="f5" fmla="val 0"/>
                <a:gd name="f6" fmla="val 381277"/>
                <a:gd name="f7" fmla="val 212612"/>
                <a:gd name="f8" fmla="+- 0 0 -90"/>
                <a:gd name="f9" fmla="*/ f3 1 381277"/>
                <a:gd name="f10" fmla="*/ f4 1 0"/>
                <a:gd name="f11" fmla="val f5"/>
                <a:gd name="f12" fmla="val f6"/>
                <a:gd name="f13" fmla="*/ f8 f0 1"/>
                <a:gd name="f14" fmla="+- f11 0 f11"/>
                <a:gd name="f15" fmla="+- f12 0 f11"/>
                <a:gd name="f16" fmla="*/ f13 1 f2"/>
                <a:gd name="f17" fmla="*/ f15 1 381277"/>
                <a:gd name="f18" fmla="*/ f14 1 0"/>
                <a:gd name="f19" fmla="+- f16 0 f1"/>
                <a:gd name="f20" fmla="*/ 0 1 f17"/>
                <a:gd name="f21" fmla="*/ 0 1 f18"/>
                <a:gd name="f22" fmla="*/ 212612 1 f17"/>
                <a:gd name="f23" fmla="*/ 381277 1 f17"/>
                <a:gd name="f24" fmla="*/ 1 1 f18"/>
                <a:gd name="f25" fmla="*/ f20 f9 1"/>
                <a:gd name="f26" fmla="*/ f23 f9 1"/>
                <a:gd name="f27" fmla="*/ f24 f10 1"/>
                <a:gd name="f28" fmla="*/ f21 f10 1"/>
                <a:gd name="f29" fmla="*/ f22 f9 1"/>
              </a:gdLst>
              <a:ahLst/>
              <a:cxnLst>
                <a:cxn ang="3cd4">
                  <a:pos x="hc" y="t"/>
                </a:cxn>
                <a:cxn ang="0">
                  <a:pos x="r" y="vc"/>
                </a:cxn>
                <a:cxn ang="cd4">
                  <a:pos x="hc" y="b"/>
                </a:cxn>
                <a:cxn ang="cd2">
                  <a:pos x="l" y="vc"/>
                </a:cxn>
                <a:cxn ang="f19">
                  <a:pos x="f25" y="f28"/>
                </a:cxn>
                <a:cxn ang="f19">
                  <a:pos x="f29" y="f28"/>
                </a:cxn>
                <a:cxn ang="f19">
                  <a:pos x="f26" y="f28"/>
                </a:cxn>
              </a:cxnLst>
              <a:rect l="f25" t="f28" r="f26" b="f27"/>
              <a:pathLst>
                <a:path w="381277">
                  <a:moveTo>
                    <a:pt x="f5" y="f5"/>
                  </a:moveTo>
                  <a:lnTo>
                    <a:pt x="f7" y="f5"/>
                  </a:lnTo>
                  <a:lnTo>
                    <a:pt x="f6" y="f5"/>
                  </a:ln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FFFFFF"/>
                </a:solidFill>
                <a:latin typeface="Segoe UI Semilight"/>
              </a:endParaRPr>
            </a:p>
          </p:txBody>
        </p:sp>
        <p:sp>
          <p:nvSpPr>
            <p:cNvPr id="99" name="Freeform 8">
              <a:extLst>
                <a:ext uri="{FF2B5EF4-FFF2-40B4-BE49-F238E27FC236}">
                  <a16:creationId xmlns:a16="http://schemas.microsoft.com/office/drawing/2014/main" id="{B074BC20-AF0E-4BA4-8AF6-C6A916BD63EF}"/>
                </a:ext>
              </a:extLst>
            </p:cNvPr>
            <p:cNvSpPr/>
            <p:nvPr/>
          </p:nvSpPr>
          <p:spPr>
            <a:xfrm>
              <a:off x="5682026" y="3330199"/>
              <a:ext cx="227347" cy="427911"/>
            </a:xfrm>
            <a:custGeom>
              <a:avLst/>
              <a:gdLst>
                <a:gd name="f0" fmla="val 10800000"/>
                <a:gd name="f1" fmla="val 5400000"/>
                <a:gd name="f2" fmla="val 180"/>
                <a:gd name="f3" fmla="val w"/>
                <a:gd name="f4" fmla="val h"/>
                <a:gd name="f5" fmla="val 0"/>
                <a:gd name="f6" fmla="val 69"/>
                <a:gd name="f7" fmla="val 131"/>
                <a:gd name="f8" fmla="val 118"/>
                <a:gd name="f9" fmla="val 126"/>
                <a:gd name="f10" fmla="val 64"/>
                <a:gd name="f11" fmla="val 56"/>
                <a:gd name="f12" fmla="val 12"/>
                <a:gd name="f13" fmla="val 4"/>
                <a:gd name="f14" fmla="val 13"/>
                <a:gd name="f15" fmla="+- 0 0 -90"/>
                <a:gd name="f16" fmla="*/ f3 1 69"/>
                <a:gd name="f17" fmla="*/ f4 1 131"/>
                <a:gd name="f18" fmla="val f5"/>
                <a:gd name="f19" fmla="val f6"/>
                <a:gd name="f20" fmla="val f7"/>
                <a:gd name="f21" fmla="*/ f15 f0 1"/>
                <a:gd name="f22" fmla="+- f20 0 f18"/>
                <a:gd name="f23" fmla="+- f19 0 f18"/>
                <a:gd name="f24" fmla="*/ f21 1 f2"/>
                <a:gd name="f25" fmla="*/ f23 1 69"/>
                <a:gd name="f26" fmla="*/ f22 1 131"/>
                <a:gd name="f27" fmla="*/ 69 f23 1"/>
                <a:gd name="f28" fmla="*/ 118 f22 1"/>
                <a:gd name="f29" fmla="*/ 56 f23 1"/>
                <a:gd name="f30" fmla="*/ 131 f22 1"/>
                <a:gd name="f31" fmla="*/ 12 f23 1"/>
                <a:gd name="f32" fmla="*/ 0 f23 1"/>
                <a:gd name="f33" fmla="*/ 13 f22 1"/>
                <a:gd name="f34" fmla="*/ 0 f22 1"/>
                <a:gd name="f35" fmla="+- f24 0 f1"/>
                <a:gd name="f36" fmla="*/ f27 1 69"/>
                <a:gd name="f37" fmla="*/ f28 1 131"/>
                <a:gd name="f38" fmla="*/ f29 1 69"/>
                <a:gd name="f39" fmla="*/ f30 1 131"/>
                <a:gd name="f40" fmla="*/ f31 1 69"/>
                <a:gd name="f41" fmla="*/ f32 1 69"/>
                <a:gd name="f42" fmla="*/ f33 1 131"/>
                <a:gd name="f43" fmla="*/ f34 1 131"/>
                <a:gd name="f44" fmla="*/ 0 1 f25"/>
                <a:gd name="f45" fmla="*/ f19 1 f25"/>
                <a:gd name="f46" fmla="*/ 0 1 f26"/>
                <a:gd name="f47" fmla="*/ f20 1 f26"/>
                <a:gd name="f48" fmla="*/ f36 1 f25"/>
                <a:gd name="f49" fmla="*/ f37 1 f26"/>
                <a:gd name="f50" fmla="*/ f38 1 f25"/>
                <a:gd name="f51" fmla="*/ f39 1 f26"/>
                <a:gd name="f52" fmla="*/ f40 1 f25"/>
                <a:gd name="f53" fmla="*/ f41 1 f25"/>
                <a:gd name="f54" fmla="*/ f42 1 f26"/>
                <a:gd name="f55" fmla="*/ f43 1 f26"/>
                <a:gd name="f56" fmla="*/ f44 f16 1"/>
                <a:gd name="f57" fmla="*/ f45 f16 1"/>
                <a:gd name="f58" fmla="*/ f47 f17 1"/>
                <a:gd name="f59" fmla="*/ f46 f17 1"/>
                <a:gd name="f60" fmla="*/ f48 f16 1"/>
                <a:gd name="f61" fmla="*/ f49 f17 1"/>
                <a:gd name="f62" fmla="*/ f50 f16 1"/>
                <a:gd name="f63" fmla="*/ f51 f17 1"/>
                <a:gd name="f64" fmla="*/ f52 f16 1"/>
                <a:gd name="f65" fmla="*/ f53 f16 1"/>
                <a:gd name="f66" fmla="*/ f54 f17 1"/>
                <a:gd name="f67" fmla="*/ f55 f17 1"/>
              </a:gdLst>
              <a:ahLst/>
              <a:cxnLst>
                <a:cxn ang="3cd4">
                  <a:pos x="hc" y="t"/>
                </a:cxn>
                <a:cxn ang="0">
                  <a:pos x="r" y="vc"/>
                </a:cxn>
                <a:cxn ang="cd4">
                  <a:pos x="hc" y="b"/>
                </a:cxn>
                <a:cxn ang="cd2">
                  <a:pos x="l" y="vc"/>
                </a:cxn>
                <a:cxn ang="f35">
                  <a:pos x="f60" y="f61"/>
                </a:cxn>
                <a:cxn ang="f35">
                  <a:pos x="f62" y="f63"/>
                </a:cxn>
                <a:cxn ang="f35">
                  <a:pos x="f64" y="f63"/>
                </a:cxn>
                <a:cxn ang="f35">
                  <a:pos x="f65" y="f61"/>
                </a:cxn>
                <a:cxn ang="f35">
                  <a:pos x="f65" y="f66"/>
                </a:cxn>
                <a:cxn ang="f35">
                  <a:pos x="f64" y="f67"/>
                </a:cxn>
                <a:cxn ang="f35">
                  <a:pos x="f62" y="f67"/>
                </a:cxn>
                <a:cxn ang="f35">
                  <a:pos x="f60" y="f66"/>
                </a:cxn>
                <a:cxn ang="f35">
                  <a:pos x="f60" y="f61"/>
                </a:cxn>
              </a:cxnLst>
              <a:rect l="f56" t="f59" r="f57" b="f58"/>
              <a:pathLst>
                <a:path w="69" h="13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3"/>
                    <a:pt x="f13" y="f5"/>
                    <a:pt x="f12" y="f5"/>
                  </a:cubicBezTo>
                  <a:cubicBezTo>
                    <a:pt x="f11" y="f5"/>
                    <a:pt x="f11" y="f5"/>
                    <a:pt x="f11" y="f5"/>
                  </a:cubicBezTo>
                  <a:cubicBezTo>
                    <a:pt x="f10" y="f5"/>
                    <a:pt x="f6" y="f13"/>
                    <a:pt x="f6" y="f14"/>
                  </a:cubicBezTo>
                  <a:lnTo>
                    <a:pt x="f6" y="f8"/>
                  </a:lnTo>
                  <a:close/>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FFFFFF"/>
                </a:solidFill>
                <a:latin typeface="Segoe UI Semilight"/>
              </a:endParaRPr>
            </a:p>
          </p:txBody>
        </p:sp>
        <p:sp>
          <p:nvSpPr>
            <p:cNvPr id="100" name="Line 9">
              <a:extLst>
                <a:ext uri="{FF2B5EF4-FFF2-40B4-BE49-F238E27FC236}">
                  <a16:creationId xmlns:a16="http://schemas.microsoft.com/office/drawing/2014/main" id="{413D8637-3AB5-4D3F-90EC-791DAEA42533}"/>
                </a:ext>
              </a:extLst>
            </p:cNvPr>
            <p:cNvSpPr/>
            <p:nvPr/>
          </p:nvSpPr>
          <p:spPr>
            <a:xfrm flipH="1" flipV="1">
              <a:off x="5682026" y="3697147"/>
              <a:ext cx="227347"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FFFFFF"/>
                </a:solidFill>
                <a:latin typeface="Segoe UI Semilight"/>
              </a:endParaRPr>
            </a:p>
          </p:txBody>
        </p:sp>
        <p:sp>
          <p:nvSpPr>
            <p:cNvPr id="101" name="Line 10">
              <a:extLst>
                <a:ext uri="{FF2B5EF4-FFF2-40B4-BE49-F238E27FC236}">
                  <a16:creationId xmlns:a16="http://schemas.microsoft.com/office/drawing/2014/main" id="{26D7F576-308E-44D8-895A-6964B6E1D260}"/>
                </a:ext>
              </a:extLst>
            </p:cNvPr>
            <p:cNvSpPr/>
            <p:nvPr/>
          </p:nvSpPr>
          <p:spPr>
            <a:xfrm>
              <a:off x="5682026" y="3386471"/>
              <a:ext cx="227347"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FFFFFF"/>
                </a:solidFill>
                <a:latin typeface="Segoe UI Semilight"/>
              </a:endParaRPr>
            </a:p>
          </p:txBody>
        </p:sp>
      </p:grpSp>
      <p:grpSp>
        <p:nvGrpSpPr>
          <p:cNvPr id="102" name="Group 237">
            <a:extLst>
              <a:ext uri="{FF2B5EF4-FFF2-40B4-BE49-F238E27FC236}">
                <a16:creationId xmlns:a16="http://schemas.microsoft.com/office/drawing/2014/main" id="{899F3E63-9DFE-4179-948A-ED77182D7343}"/>
              </a:ext>
            </a:extLst>
          </p:cNvPr>
          <p:cNvGrpSpPr/>
          <p:nvPr/>
        </p:nvGrpSpPr>
        <p:grpSpPr>
          <a:xfrm>
            <a:off x="6979766" y="3080174"/>
            <a:ext cx="339183" cy="434489"/>
            <a:chOff x="7839827" y="3188869"/>
            <a:chExt cx="457200" cy="605661"/>
          </a:xfrm>
        </p:grpSpPr>
        <p:sp>
          <p:nvSpPr>
            <p:cNvPr id="103" name="Freeform 29">
              <a:extLst>
                <a:ext uri="{FF2B5EF4-FFF2-40B4-BE49-F238E27FC236}">
                  <a16:creationId xmlns:a16="http://schemas.microsoft.com/office/drawing/2014/main" id="{C6530DE0-CD91-4543-ACC8-D734758BE911}"/>
                </a:ext>
              </a:extLst>
            </p:cNvPr>
            <p:cNvSpPr/>
            <p:nvPr/>
          </p:nvSpPr>
          <p:spPr>
            <a:xfrm>
              <a:off x="7839827" y="3188869"/>
              <a:ext cx="457200" cy="605661"/>
            </a:xfrm>
            <a:custGeom>
              <a:avLst/>
              <a:gdLst>
                <a:gd name="f0" fmla="val 10800000"/>
                <a:gd name="f1" fmla="val 5400000"/>
                <a:gd name="f2" fmla="val 180"/>
                <a:gd name="f3" fmla="val w"/>
                <a:gd name="f4" fmla="val h"/>
                <a:gd name="f5" fmla="val 0"/>
                <a:gd name="f6" fmla="val 172"/>
                <a:gd name="f7" fmla="val 228"/>
                <a:gd name="f8" fmla="val 13"/>
                <a:gd name="f9" fmla="val 6"/>
                <a:gd name="f10" fmla="val 5"/>
                <a:gd name="f11" fmla="val 12"/>
                <a:gd name="f12" fmla="val 216"/>
                <a:gd name="f13" fmla="val 223"/>
                <a:gd name="f14" fmla="val 159"/>
                <a:gd name="f15" fmla="val 166"/>
                <a:gd name="f16" fmla="val 59"/>
                <a:gd name="f17" fmla="val 110"/>
                <a:gd name="f18" fmla="+- 0 0 -90"/>
                <a:gd name="f19" fmla="*/ f3 1 172"/>
                <a:gd name="f20" fmla="*/ f4 1 228"/>
                <a:gd name="f21" fmla="val f5"/>
                <a:gd name="f22" fmla="val f6"/>
                <a:gd name="f23" fmla="val f7"/>
                <a:gd name="f24" fmla="*/ f18 f0 1"/>
                <a:gd name="f25" fmla="+- f23 0 f21"/>
                <a:gd name="f26" fmla="+- f22 0 f21"/>
                <a:gd name="f27" fmla="*/ f24 1 f2"/>
                <a:gd name="f28" fmla="*/ f26 1 172"/>
                <a:gd name="f29" fmla="*/ f25 1 228"/>
                <a:gd name="f30" fmla="*/ 13 f26 1"/>
                <a:gd name="f31" fmla="*/ 0 f25 1"/>
                <a:gd name="f32" fmla="*/ 0 f26 1"/>
                <a:gd name="f33" fmla="*/ 12 f25 1"/>
                <a:gd name="f34" fmla="*/ 216 f25 1"/>
                <a:gd name="f35" fmla="*/ 228 f25 1"/>
                <a:gd name="f36" fmla="*/ 159 f26 1"/>
                <a:gd name="f37" fmla="*/ 172 f26 1"/>
                <a:gd name="f38" fmla="*/ 59 f25 1"/>
                <a:gd name="f39" fmla="*/ 110 f26 1"/>
                <a:gd name="f40" fmla="+- f27 0 f1"/>
                <a:gd name="f41" fmla="*/ f30 1 172"/>
                <a:gd name="f42" fmla="*/ f31 1 228"/>
                <a:gd name="f43" fmla="*/ f32 1 172"/>
                <a:gd name="f44" fmla="*/ f33 1 228"/>
                <a:gd name="f45" fmla="*/ f34 1 228"/>
                <a:gd name="f46" fmla="*/ f35 1 228"/>
                <a:gd name="f47" fmla="*/ f36 1 172"/>
                <a:gd name="f48" fmla="*/ f37 1 172"/>
                <a:gd name="f49" fmla="*/ f38 1 228"/>
                <a:gd name="f50" fmla="*/ f39 1 172"/>
                <a:gd name="f51" fmla="*/ 0 1 f28"/>
                <a:gd name="f52" fmla="*/ f22 1 f28"/>
                <a:gd name="f53" fmla="*/ 0 1 f29"/>
                <a:gd name="f54" fmla="*/ f23 1 f29"/>
                <a:gd name="f55" fmla="*/ f41 1 f28"/>
                <a:gd name="f56" fmla="*/ f42 1 f29"/>
                <a:gd name="f57" fmla="*/ f43 1 f28"/>
                <a:gd name="f58" fmla="*/ f44 1 f29"/>
                <a:gd name="f59" fmla="*/ f45 1 f29"/>
                <a:gd name="f60" fmla="*/ f46 1 f29"/>
                <a:gd name="f61" fmla="*/ f47 1 f28"/>
                <a:gd name="f62" fmla="*/ f48 1 f28"/>
                <a:gd name="f63" fmla="*/ f49 1 f29"/>
                <a:gd name="f64" fmla="*/ f50 1 f28"/>
                <a:gd name="f65" fmla="*/ f51 f19 1"/>
                <a:gd name="f66" fmla="*/ f52 f19 1"/>
                <a:gd name="f67" fmla="*/ f54 f20 1"/>
                <a:gd name="f68" fmla="*/ f53 f20 1"/>
                <a:gd name="f69" fmla="*/ f55 f19 1"/>
                <a:gd name="f70" fmla="*/ f56 f20 1"/>
                <a:gd name="f71" fmla="*/ f57 f19 1"/>
                <a:gd name="f72" fmla="*/ f58 f20 1"/>
                <a:gd name="f73" fmla="*/ f59 f20 1"/>
                <a:gd name="f74" fmla="*/ f60 f20 1"/>
                <a:gd name="f75" fmla="*/ f61 f19 1"/>
                <a:gd name="f76" fmla="*/ f62 f19 1"/>
                <a:gd name="f77" fmla="*/ f63 f20 1"/>
                <a:gd name="f78" fmla="*/ f64 f19 1"/>
              </a:gdLst>
              <a:ahLst/>
              <a:cxnLst>
                <a:cxn ang="3cd4">
                  <a:pos x="hc" y="t"/>
                </a:cxn>
                <a:cxn ang="0">
                  <a:pos x="r" y="vc"/>
                </a:cxn>
                <a:cxn ang="cd4">
                  <a:pos x="hc" y="b"/>
                </a:cxn>
                <a:cxn ang="cd2">
                  <a:pos x="l" y="vc"/>
                </a:cxn>
                <a:cxn ang="f40">
                  <a:pos x="f69" y="f70"/>
                </a:cxn>
                <a:cxn ang="f40">
                  <a:pos x="f71" y="f72"/>
                </a:cxn>
                <a:cxn ang="f40">
                  <a:pos x="f71" y="f73"/>
                </a:cxn>
                <a:cxn ang="f40">
                  <a:pos x="f69" y="f74"/>
                </a:cxn>
                <a:cxn ang="f40">
                  <a:pos x="f75" y="f74"/>
                </a:cxn>
                <a:cxn ang="f40">
                  <a:pos x="f76" y="f73"/>
                </a:cxn>
                <a:cxn ang="f40">
                  <a:pos x="f76" y="f77"/>
                </a:cxn>
                <a:cxn ang="f40">
                  <a:pos x="f78" y="f70"/>
                </a:cxn>
                <a:cxn ang="f40">
                  <a:pos x="f69" y="f70"/>
                </a:cxn>
              </a:cxnLst>
              <a:rect l="f65" t="f68" r="f66" b="f67"/>
              <a:pathLst>
                <a:path w="172" h="228">
                  <a:moveTo>
                    <a:pt x="f8" y="f5"/>
                  </a:moveTo>
                  <a:cubicBezTo>
                    <a:pt x="f9" y="f5"/>
                    <a:pt x="f5" y="f10"/>
                    <a:pt x="f5" y="f11"/>
                  </a:cubicBezTo>
                  <a:cubicBezTo>
                    <a:pt x="f5" y="f12"/>
                    <a:pt x="f5" y="f12"/>
                    <a:pt x="f5" y="f12"/>
                  </a:cubicBezTo>
                  <a:cubicBezTo>
                    <a:pt x="f5" y="f13"/>
                    <a:pt x="f9" y="f7"/>
                    <a:pt x="f8" y="f7"/>
                  </a:cubicBezTo>
                  <a:cubicBezTo>
                    <a:pt x="f14" y="f7"/>
                    <a:pt x="f14" y="f7"/>
                    <a:pt x="f14" y="f7"/>
                  </a:cubicBezTo>
                  <a:cubicBezTo>
                    <a:pt x="f15" y="f7"/>
                    <a:pt x="f6" y="f13"/>
                    <a:pt x="f6" y="f12"/>
                  </a:cubicBezTo>
                  <a:cubicBezTo>
                    <a:pt x="f6" y="f16"/>
                    <a:pt x="f6" y="f16"/>
                    <a:pt x="f6" y="f16"/>
                  </a:cubicBezTo>
                  <a:cubicBezTo>
                    <a:pt x="f17" y="f5"/>
                    <a:pt x="f17" y="f5"/>
                    <a:pt x="f17" y="f5"/>
                  </a:cubicBezTo>
                  <a:lnTo>
                    <a:pt x="f8" y="f5"/>
                  </a:lnTo>
                  <a:close/>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sp>
          <p:nvSpPr>
            <p:cNvPr id="104" name="Freeform 30">
              <a:extLst>
                <a:ext uri="{FF2B5EF4-FFF2-40B4-BE49-F238E27FC236}">
                  <a16:creationId xmlns:a16="http://schemas.microsoft.com/office/drawing/2014/main" id="{70DB47DB-3535-499C-BBA5-B721DB8ECCF6}"/>
                </a:ext>
              </a:extLst>
            </p:cNvPr>
            <p:cNvSpPr/>
            <p:nvPr/>
          </p:nvSpPr>
          <p:spPr>
            <a:xfrm>
              <a:off x="8132792" y="3188869"/>
              <a:ext cx="156472" cy="154753"/>
            </a:xfrm>
            <a:custGeom>
              <a:avLst/>
              <a:gdLst>
                <a:gd name="f0" fmla="val 10800000"/>
                <a:gd name="f1" fmla="val 5400000"/>
                <a:gd name="f2" fmla="val 180"/>
                <a:gd name="f3" fmla="val w"/>
                <a:gd name="f4" fmla="val h"/>
                <a:gd name="f5" fmla="val 0"/>
                <a:gd name="f6" fmla="val 59"/>
                <a:gd name="f7" fmla="val 58"/>
                <a:gd name="f8" fmla="val 13"/>
                <a:gd name="f9" fmla="val 6"/>
                <a:gd name="f10" fmla="val 52"/>
                <a:gd name="f11" fmla="val 45"/>
                <a:gd name="f12" fmla="+- 0 0 -90"/>
                <a:gd name="f13" fmla="*/ f3 1 59"/>
                <a:gd name="f14" fmla="*/ f4 1 58"/>
                <a:gd name="f15" fmla="val f5"/>
                <a:gd name="f16" fmla="val f6"/>
                <a:gd name="f17" fmla="val f7"/>
                <a:gd name="f18" fmla="*/ f12 f0 1"/>
                <a:gd name="f19" fmla="+- f17 0 f15"/>
                <a:gd name="f20" fmla="+- f16 0 f15"/>
                <a:gd name="f21" fmla="*/ f18 1 f2"/>
                <a:gd name="f22" fmla="*/ f20 1 59"/>
                <a:gd name="f23" fmla="*/ f19 1 58"/>
                <a:gd name="f24" fmla="*/ 59 f20 1"/>
                <a:gd name="f25" fmla="*/ 58 f19 1"/>
                <a:gd name="f26" fmla="*/ 13 f20 1"/>
                <a:gd name="f27" fmla="*/ 0 f20 1"/>
                <a:gd name="f28" fmla="*/ 45 f19 1"/>
                <a:gd name="f29" fmla="*/ 0 f19 1"/>
                <a:gd name="f30" fmla="+- f21 0 f1"/>
                <a:gd name="f31" fmla="*/ f24 1 59"/>
                <a:gd name="f32" fmla="*/ f25 1 58"/>
                <a:gd name="f33" fmla="*/ f26 1 59"/>
                <a:gd name="f34" fmla="*/ f27 1 59"/>
                <a:gd name="f35" fmla="*/ f28 1 58"/>
                <a:gd name="f36" fmla="*/ f29 1 58"/>
                <a:gd name="f37" fmla="*/ 0 1 f22"/>
                <a:gd name="f38" fmla="*/ f16 1 f22"/>
                <a:gd name="f39" fmla="*/ 0 1 f23"/>
                <a:gd name="f40" fmla="*/ f17 1 f23"/>
                <a:gd name="f41" fmla="*/ f31 1 f22"/>
                <a:gd name="f42" fmla="*/ f32 1 f23"/>
                <a:gd name="f43" fmla="*/ f33 1 f22"/>
                <a:gd name="f44" fmla="*/ f34 1 f22"/>
                <a:gd name="f45" fmla="*/ f35 1 f23"/>
                <a:gd name="f46" fmla="*/ f36 1 f23"/>
                <a:gd name="f47" fmla="*/ f37 f13 1"/>
                <a:gd name="f48" fmla="*/ f38 f13 1"/>
                <a:gd name="f49" fmla="*/ f40 f14 1"/>
                <a:gd name="f50" fmla="*/ f39 f14 1"/>
                <a:gd name="f51" fmla="*/ f41 f13 1"/>
                <a:gd name="f52" fmla="*/ f42 f14 1"/>
                <a:gd name="f53" fmla="*/ f43 f13 1"/>
                <a:gd name="f54" fmla="*/ f44 f13 1"/>
                <a:gd name="f55" fmla="*/ f45 f14 1"/>
                <a:gd name="f56" fmla="*/ f46 f14 1"/>
              </a:gdLst>
              <a:ahLst/>
              <a:cxnLst>
                <a:cxn ang="3cd4">
                  <a:pos x="hc" y="t"/>
                </a:cxn>
                <a:cxn ang="0">
                  <a:pos x="r" y="vc"/>
                </a:cxn>
                <a:cxn ang="cd4">
                  <a:pos x="hc" y="b"/>
                </a:cxn>
                <a:cxn ang="cd2">
                  <a:pos x="l" y="vc"/>
                </a:cxn>
                <a:cxn ang="f30">
                  <a:pos x="f51" y="f52"/>
                </a:cxn>
                <a:cxn ang="f30">
                  <a:pos x="f53" y="f52"/>
                </a:cxn>
                <a:cxn ang="f30">
                  <a:pos x="f54" y="f55"/>
                </a:cxn>
                <a:cxn ang="f30">
                  <a:pos x="f54" y="f56"/>
                </a:cxn>
              </a:cxnLst>
              <a:rect l="f47" t="f50" r="f48" b="f49"/>
              <a:pathLst>
                <a:path w="59" h="58">
                  <a:moveTo>
                    <a:pt x="f6" y="f7"/>
                  </a:moveTo>
                  <a:cubicBezTo>
                    <a:pt x="f8" y="f7"/>
                    <a:pt x="f8" y="f7"/>
                    <a:pt x="f8" y="f7"/>
                  </a:cubicBezTo>
                  <a:cubicBezTo>
                    <a:pt x="f9" y="f7"/>
                    <a:pt x="f5" y="f10"/>
                    <a:pt x="f5" y="f11"/>
                  </a:cubicBezTo>
                  <a:cubicBezTo>
                    <a:pt x="f5" y="f5"/>
                    <a:pt x="f5" y="f5"/>
                    <a:pt x="f5" y="f5"/>
                  </a:cubicBez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sp>
          <p:nvSpPr>
            <p:cNvPr id="105" name="Rectangle 31">
              <a:extLst>
                <a:ext uri="{FF2B5EF4-FFF2-40B4-BE49-F238E27FC236}">
                  <a16:creationId xmlns:a16="http://schemas.microsoft.com/office/drawing/2014/main" id="{466A486F-346B-482E-BDAD-F62AD3DC4B6C}"/>
                </a:ext>
              </a:extLst>
            </p:cNvPr>
            <p:cNvSpPr/>
            <p:nvPr/>
          </p:nvSpPr>
          <p:spPr>
            <a:xfrm>
              <a:off x="7904192" y="3343622"/>
              <a:ext cx="71021" cy="177018"/>
            </a:xfrm>
            <a:prstGeom prst="rect">
              <a:avLst/>
            </a:pr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sp>
          <p:nvSpPr>
            <p:cNvPr id="106" name="Rectangle 32">
              <a:extLst>
                <a:ext uri="{FF2B5EF4-FFF2-40B4-BE49-F238E27FC236}">
                  <a16:creationId xmlns:a16="http://schemas.microsoft.com/office/drawing/2014/main" id="{21A601F6-5DAA-4011-AA9A-9AADA5C37AD5}"/>
                </a:ext>
              </a:extLst>
            </p:cNvPr>
            <p:cNvSpPr/>
            <p:nvPr/>
          </p:nvSpPr>
          <p:spPr>
            <a:xfrm>
              <a:off x="8012942" y="3395953"/>
              <a:ext cx="53263" cy="124696"/>
            </a:xfrm>
            <a:prstGeom prst="rect">
              <a:avLst/>
            </a:pr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sp>
          <p:nvSpPr>
            <p:cNvPr id="107" name="Rectangle 33">
              <a:extLst>
                <a:ext uri="{FF2B5EF4-FFF2-40B4-BE49-F238E27FC236}">
                  <a16:creationId xmlns:a16="http://schemas.microsoft.com/office/drawing/2014/main" id="{EFA62DD6-9655-4DFB-9DAD-34A79B8EA4C8}"/>
                </a:ext>
              </a:extLst>
            </p:cNvPr>
            <p:cNvSpPr/>
            <p:nvPr/>
          </p:nvSpPr>
          <p:spPr>
            <a:xfrm>
              <a:off x="8102827" y="3433800"/>
              <a:ext cx="45500" cy="86840"/>
            </a:xfrm>
            <a:prstGeom prst="rect">
              <a:avLst/>
            </a:pr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sp>
          <p:nvSpPr>
            <p:cNvPr id="108" name="Freeform 34">
              <a:extLst>
                <a:ext uri="{FF2B5EF4-FFF2-40B4-BE49-F238E27FC236}">
                  <a16:creationId xmlns:a16="http://schemas.microsoft.com/office/drawing/2014/main" id="{4529B380-83AF-476C-BAF2-3C182D4B13A2}"/>
                </a:ext>
              </a:extLst>
            </p:cNvPr>
            <p:cNvSpPr/>
            <p:nvPr/>
          </p:nvSpPr>
          <p:spPr>
            <a:xfrm>
              <a:off x="8184949" y="3486131"/>
              <a:ext cx="43278" cy="34509"/>
            </a:xfrm>
            <a:custGeom>
              <a:avLst/>
              <a:gdLst>
                <a:gd name="f0" fmla="val 10800000"/>
                <a:gd name="f1" fmla="val 5400000"/>
                <a:gd name="f2" fmla="val 180"/>
                <a:gd name="f3" fmla="val w"/>
                <a:gd name="f4" fmla="val h"/>
                <a:gd name="f5" fmla="val 0"/>
                <a:gd name="f6" fmla="val 39"/>
                <a:gd name="f7" fmla="val 31"/>
                <a:gd name="f8" fmla="val 36"/>
                <a:gd name="f9" fmla="+- 0 0 -90"/>
                <a:gd name="f10" fmla="*/ f3 1 39"/>
                <a:gd name="f11" fmla="*/ f4 1 31"/>
                <a:gd name="f12" fmla="val f5"/>
                <a:gd name="f13" fmla="val f6"/>
                <a:gd name="f14" fmla="val f7"/>
                <a:gd name="f15" fmla="*/ f9 f0 1"/>
                <a:gd name="f16" fmla="+- f14 0 f12"/>
                <a:gd name="f17" fmla="+- f13 0 f12"/>
                <a:gd name="f18" fmla="*/ f15 1 f2"/>
                <a:gd name="f19" fmla="*/ f17 1 39"/>
                <a:gd name="f20" fmla="*/ f16 1 31"/>
                <a:gd name="f21" fmla="*/ 36 f17 1"/>
                <a:gd name="f22" fmla="*/ 0 f16 1"/>
                <a:gd name="f23" fmla="*/ 39 f17 1"/>
                <a:gd name="f24" fmla="*/ 31 f16 1"/>
                <a:gd name="f25" fmla="*/ 0 f17 1"/>
                <a:gd name="f26" fmla="+- f18 0 f1"/>
                <a:gd name="f27" fmla="*/ f21 1 39"/>
                <a:gd name="f28" fmla="*/ f22 1 31"/>
                <a:gd name="f29" fmla="*/ f23 1 39"/>
                <a:gd name="f30" fmla="*/ f24 1 31"/>
                <a:gd name="f31" fmla="*/ f25 1 39"/>
                <a:gd name="f32" fmla="*/ 0 1 f19"/>
                <a:gd name="f33" fmla="*/ f13 1 f19"/>
                <a:gd name="f34" fmla="*/ 0 1 f20"/>
                <a:gd name="f35" fmla="*/ f14 1 f20"/>
                <a:gd name="f36" fmla="*/ f27 1 f19"/>
                <a:gd name="f37" fmla="*/ f28 1 f20"/>
                <a:gd name="f38" fmla="*/ f29 1 f19"/>
                <a:gd name="f39" fmla="*/ f30 1 f20"/>
                <a:gd name="f40" fmla="*/ f31 1 f19"/>
                <a:gd name="f41" fmla="*/ f32 f10 1"/>
                <a:gd name="f42" fmla="*/ f33 f10 1"/>
                <a:gd name="f43" fmla="*/ f35 f11 1"/>
                <a:gd name="f44" fmla="*/ f34 f11 1"/>
                <a:gd name="f45" fmla="*/ f36 f10 1"/>
                <a:gd name="f46" fmla="*/ f37 f11 1"/>
                <a:gd name="f47" fmla="*/ f38 f10 1"/>
                <a:gd name="f48" fmla="*/ f39 f11 1"/>
                <a:gd name="f49" fmla="*/ f40 f10 1"/>
              </a:gdLst>
              <a:ahLst/>
              <a:cxnLst>
                <a:cxn ang="3cd4">
                  <a:pos x="hc" y="t"/>
                </a:cxn>
                <a:cxn ang="0">
                  <a:pos x="r" y="vc"/>
                </a:cxn>
                <a:cxn ang="cd4">
                  <a:pos x="hc" y="b"/>
                </a:cxn>
                <a:cxn ang="cd2">
                  <a:pos x="l" y="vc"/>
                </a:cxn>
                <a:cxn ang="f26">
                  <a:pos x="f45" y="f46"/>
                </a:cxn>
                <a:cxn ang="f26">
                  <a:pos x="f47" y="f46"/>
                </a:cxn>
                <a:cxn ang="f26">
                  <a:pos x="f47" y="f48"/>
                </a:cxn>
                <a:cxn ang="f26">
                  <a:pos x="f49" y="f48"/>
                </a:cxn>
                <a:cxn ang="f26">
                  <a:pos x="f49" y="f46"/>
                </a:cxn>
                <a:cxn ang="f26">
                  <a:pos x="f45" y="f46"/>
                </a:cxn>
              </a:cxnLst>
              <a:rect l="f41" t="f44" r="f42" b="f43"/>
              <a:pathLst>
                <a:path w="39" h="31">
                  <a:moveTo>
                    <a:pt x="f8" y="f5"/>
                  </a:moveTo>
                  <a:lnTo>
                    <a:pt x="f6" y="f5"/>
                  </a:lnTo>
                  <a:lnTo>
                    <a:pt x="f6" y="f7"/>
                  </a:lnTo>
                  <a:lnTo>
                    <a:pt x="f5" y="f7"/>
                  </a:lnTo>
                  <a:lnTo>
                    <a:pt x="f5" y="f5"/>
                  </a:lnTo>
                  <a:lnTo>
                    <a:pt x="f8" y="f5"/>
                  </a:lnTo>
                  <a:close/>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sp>
          <p:nvSpPr>
            <p:cNvPr id="109" name="Line 35">
              <a:extLst>
                <a:ext uri="{FF2B5EF4-FFF2-40B4-BE49-F238E27FC236}">
                  <a16:creationId xmlns:a16="http://schemas.microsoft.com/office/drawing/2014/main" id="{E1023CC0-905D-4001-B810-5998EF51F436}"/>
                </a:ext>
              </a:extLst>
            </p:cNvPr>
            <p:cNvSpPr/>
            <p:nvPr/>
          </p:nvSpPr>
          <p:spPr>
            <a:xfrm flipH="1">
              <a:off x="7904192" y="3585216"/>
              <a:ext cx="122072"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sp>
          <p:nvSpPr>
            <p:cNvPr id="110" name="Line 36">
              <a:extLst>
                <a:ext uri="{FF2B5EF4-FFF2-40B4-BE49-F238E27FC236}">
                  <a16:creationId xmlns:a16="http://schemas.microsoft.com/office/drawing/2014/main" id="{DBFEFA06-2F4C-4458-B4BA-CC611AD129EC}"/>
                </a:ext>
              </a:extLst>
            </p:cNvPr>
            <p:cNvSpPr/>
            <p:nvPr/>
          </p:nvSpPr>
          <p:spPr>
            <a:xfrm flipH="1">
              <a:off x="7904192" y="3650906"/>
              <a:ext cx="92107"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sp>
          <p:nvSpPr>
            <p:cNvPr id="111" name="Line 37">
              <a:extLst>
                <a:ext uri="{FF2B5EF4-FFF2-40B4-BE49-F238E27FC236}">
                  <a16:creationId xmlns:a16="http://schemas.microsoft.com/office/drawing/2014/main" id="{1DEE26B8-823C-4ED1-A3FF-E91BD1E27E57}"/>
                </a:ext>
              </a:extLst>
            </p:cNvPr>
            <p:cNvSpPr/>
            <p:nvPr/>
          </p:nvSpPr>
          <p:spPr>
            <a:xfrm flipH="1">
              <a:off x="7904192" y="3712143"/>
              <a:ext cx="122072"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sp>
          <p:nvSpPr>
            <p:cNvPr id="112" name="Line 38">
              <a:extLst>
                <a:ext uri="{FF2B5EF4-FFF2-40B4-BE49-F238E27FC236}">
                  <a16:creationId xmlns:a16="http://schemas.microsoft.com/office/drawing/2014/main" id="{8CD543EA-5103-4E8B-AE49-79B7C135D428}"/>
                </a:ext>
              </a:extLst>
            </p:cNvPr>
            <p:cNvSpPr/>
            <p:nvPr/>
          </p:nvSpPr>
          <p:spPr>
            <a:xfrm flipH="1">
              <a:off x="8108377" y="3585216"/>
              <a:ext cx="122072"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sp>
          <p:nvSpPr>
            <p:cNvPr id="113" name="Line 39">
              <a:extLst>
                <a:ext uri="{FF2B5EF4-FFF2-40B4-BE49-F238E27FC236}">
                  <a16:creationId xmlns:a16="http://schemas.microsoft.com/office/drawing/2014/main" id="{082BDE5E-4380-459D-A89B-CD011A1651A4}"/>
                </a:ext>
              </a:extLst>
            </p:cNvPr>
            <p:cNvSpPr/>
            <p:nvPr/>
          </p:nvSpPr>
          <p:spPr>
            <a:xfrm flipH="1">
              <a:off x="8108377" y="3650906"/>
              <a:ext cx="93213"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sp>
          <p:nvSpPr>
            <p:cNvPr id="114" name="Line 40">
              <a:extLst>
                <a:ext uri="{FF2B5EF4-FFF2-40B4-BE49-F238E27FC236}">
                  <a16:creationId xmlns:a16="http://schemas.microsoft.com/office/drawing/2014/main" id="{F7924C00-01C3-498A-9E24-B08898EF382C}"/>
                </a:ext>
              </a:extLst>
            </p:cNvPr>
            <p:cNvSpPr/>
            <p:nvPr/>
          </p:nvSpPr>
          <p:spPr>
            <a:xfrm flipH="1">
              <a:off x="8108377" y="3712143"/>
              <a:ext cx="122072" cy="0"/>
            </a:xfrm>
            <a:custGeom>
              <a:avLst/>
              <a:gdLst>
                <a:gd name="f0" fmla="val 10800000"/>
                <a:gd name="f1" fmla="val 5400000"/>
                <a:gd name="f2" fmla="val 180"/>
                <a:gd name="f3" fmla="val w"/>
                <a:gd name="f4" fmla="val h"/>
                <a:gd name="f5" fmla="val ss"/>
                <a:gd name="f6" fmla="val 0"/>
                <a:gd name="f7" fmla="+- 0 0 -180"/>
                <a:gd name="f8" fmla="+- 0 0 -360"/>
                <a:gd name="f9" fmla="abs f3"/>
                <a:gd name="f10" fmla="abs f4"/>
                <a:gd name="f11" fmla="abs f5"/>
                <a:gd name="f12" fmla="val f6"/>
                <a:gd name="f13" fmla="*/ f7 f0 1"/>
                <a:gd name="f14" fmla="*/ f8 f0 1"/>
                <a:gd name="f15" fmla="?: f9 f3 1"/>
                <a:gd name="f16" fmla="?: f10 f4 1"/>
                <a:gd name="f17" fmla="?: f11 f5 1"/>
                <a:gd name="f18" fmla="*/ f13 1 f2"/>
                <a:gd name="f19" fmla="*/ f14 1 f2"/>
                <a:gd name="f20" fmla="*/ f15 1 21600"/>
                <a:gd name="f21" fmla="*/ f16 1 21600"/>
                <a:gd name="f22" fmla="*/ 21600 f15 1"/>
                <a:gd name="f23" fmla="*/ 21600 f16 1"/>
                <a:gd name="f24" fmla="+- f18 0 f1"/>
                <a:gd name="f25" fmla="+- f19 0 f1"/>
                <a:gd name="f26" fmla="min f21 f20"/>
                <a:gd name="f27" fmla="*/ f22 1 f17"/>
                <a:gd name="f28" fmla="*/ f23 1 f17"/>
                <a:gd name="f29" fmla="val f27"/>
                <a:gd name="f30" fmla="val f28"/>
                <a:gd name="f31" fmla="*/ f6 f26 1"/>
                <a:gd name="f32" fmla="*/ f27 f26 1"/>
                <a:gd name="f33" fmla="*/ f28 f26 1"/>
                <a:gd name="f34" fmla="*/ f12 f26 1"/>
                <a:gd name="f35" fmla="*/ f29 f26 1"/>
                <a:gd name="f36" fmla="*/ f30 f26 1"/>
              </a:gdLst>
              <a:ahLst/>
              <a:cxnLst>
                <a:cxn ang="3cd4">
                  <a:pos x="hc" y="t"/>
                </a:cxn>
                <a:cxn ang="0">
                  <a:pos x="r" y="vc"/>
                </a:cxn>
                <a:cxn ang="cd4">
                  <a:pos x="hc" y="b"/>
                </a:cxn>
                <a:cxn ang="cd2">
                  <a:pos x="l" y="vc"/>
                </a:cxn>
                <a:cxn ang="f24">
                  <a:pos x="f34" y="f34"/>
                </a:cxn>
                <a:cxn ang="f25">
                  <a:pos x="f35" y="f36"/>
                </a:cxn>
              </a:cxnLst>
              <a:rect l="f31" t="f31" r="f32" b="f33"/>
              <a:pathLst>
                <a:path>
                  <a:moveTo>
                    <a:pt x="f34" y="f34"/>
                  </a:moveTo>
                  <a:lnTo>
                    <a:pt x="f35" y="f36"/>
                  </a:lnTo>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353535"/>
                </a:solidFill>
                <a:latin typeface="Segoe UI Semilight"/>
              </a:endParaRPr>
            </a:p>
          </p:txBody>
        </p:sp>
      </p:grpSp>
      <p:sp>
        <p:nvSpPr>
          <p:cNvPr id="115" name="Freeform 86">
            <a:extLst>
              <a:ext uri="{FF2B5EF4-FFF2-40B4-BE49-F238E27FC236}">
                <a16:creationId xmlns:a16="http://schemas.microsoft.com/office/drawing/2014/main" id="{67F23D1A-40B6-4668-9573-4C9DD4372F8D}"/>
              </a:ext>
            </a:extLst>
          </p:cNvPr>
          <p:cNvSpPr>
            <a:spLocks noChangeAspect="1"/>
          </p:cNvSpPr>
          <p:nvPr/>
        </p:nvSpPr>
        <p:spPr bwMode="black">
          <a:xfrm>
            <a:off x="6295578" y="3893615"/>
            <a:ext cx="419562" cy="476409"/>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1173" tIns="56939" rIns="71173" bIns="56939" numCol="1" spcCol="0" rtlCol="0" fromWordArt="0" anchor="t" anchorCtr="0" forceAA="0" compatLnSpc="1">
            <a:prstTxWarp prst="textNoShape">
              <a:avLst/>
            </a:prstTxWarp>
            <a:noAutofit/>
          </a:bodyPr>
          <a:lstStyle/>
          <a:p>
            <a:pPr algn="ctr" defTabSz="362873" eaLnBrk="1" hangingPunct="1">
              <a:lnSpc>
                <a:spcPct val="90000"/>
              </a:lnSpc>
              <a:defRPr/>
            </a:pPr>
            <a:endParaRPr lang="en-US" sz="934">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6" name="Group 41">
            <a:extLst>
              <a:ext uri="{FF2B5EF4-FFF2-40B4-BE49-F238E27FC236}">
                <a16:creationId xmlns:a16="http://schemas.microsoft.com/office/drawing/2014/main" id="{12CD78C6-6D6E-4939-862F-D653E204EC99}"/>
              </a:ext>
            </a:extLst>
          </p:cNvPr>
          <p:cNvGrpSpPr/>
          <p:nvPr/>
        </p:nvGrpSpPr>
        <p:grpSpPr>
          <a:xfrm>
            <a:off x="1576849" y="2130346"/>
            <a:ext cx="768654" cy="279435"/>
            <a:chOff x="5910187" y="1056031"/>
            <a:chExt cx="628037" cy="228316"/>
          </a:xfrm>
        </p:grpSpPr>
        <p:sp>
          <p:nvSpPr>
            <p:cNvPr id="117" name="Rectangle: Rounded Corners 42">
              <a:extLst>
                <a:ext uri="{FF2B5EF4-FFF2-40B4-BE49-F238E27FC236}">
                  <a16:creationId xmlns:a16="http://schemas.microsoft.com/office/drawing/2014/main" id="{1FB22C46-3730-4E0F-B8B3-C1F07DCA57AF}"/>
                </a:ext>
              </a:extLst>
            </p:cNvPr>
            <p:cNvSpPr/>
            <p:nvPr/>
          </p:nvSpPr>
          <p:spPr>
            <a:xfrm>
              <a:off x="5910187" y="1056031"/>
              <a:ext cx="628037" cy="228316"/>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noFill/>
            <a:ln w="19050" cap="flat">
              <a:solidFill>
                <a:schemeClr val="accent1"/>
              </a:solidFill>
              <a:prstDash val="solid"/>
            </a:ln>
          </p:spPr>
          <p:txBody>
            <a:bodyPr vert="horz" wrap="square" lIns="137160" tIns="109728" rIns="137160" bIns="109728" anchor="t" anchorCtr="1" compatLnSpc="1">
              <a:noAutofit/>
            </a:bodyPr>
            <a:lstStyle/>
            <a:p>
              <a:pPr algn="ctr" defTabSz="699351" eaLnBrk="1" fontAlgn="auto" hangingPunct="1">
                <a:lnSpc>
                  <a:spcPct val="90000"/>
                </a:lnSpc>
                <a:spcBef>
                  <a:spcPts val="0"/>
                </a:spcBef>
                <a:spcAft>
                  <a:spcPts val="0"/>
                </a:spcAft>
                <a:defRPr sz="1800" b="0" i="0" u="none" strike="noStrike" kern="0" cap="none" spc="0" baseline="0">
                  <a:solidFill>
                    <a:srgbClr val="000000"/>
                  </a:solidFill>
                  <a:uFillTx/>
                </a:defRPr>
              </a:pPr>
              <a:endParaRPr lang="en-US">
                <a:solidFill>
                  <a:srgbClr val="000000"/>
                </a:solidFill>
                <a:latin typeface="Segoe UI"/>
                <a:ea typeface="Segoe UI" pitchFamily="34"/>
                <a:cs typeface="Segoe UI" pitchFamily="34"/>
              </a:endParaRPr>
            </a:p>
          </p:txBody>
        </p:sp>
        <p:grpSp>
          <p:nvGrpSpPr>
            <p:cNvPr id="118" name="Group 43">
              <a:extLst>
                <a:ext uri="{FF2B5EF4-FFF2-40B4-BE49-F238E27FC236}">
                  <a16:creationId xmlns:a16="http://schemas.microsoft.com/office/drawing/2014/main" id="{DE179538-3D86-4C22-A7AB-97A5596BCD8A}"/>
                </a:ext>
              </a:extLst>
            </p:cNvPr>
            <p:cNvGrpSpPr/>
            <p:nvPr/>
          </p:nvGrpSpPr>
          <p:grpSpPr>
            <a:xfrm>
              <a:off x="5964969" y="1102885"/>
              <a:ext cx="518473" cy="134617"/>
              <a:chOff x="5964969" y="1102885"/>
              <a:chExt cx="518473" cy="134617"/>
            </a:xfrm>
          </p:grpSpPr>
          <p:grpSp>
            <p:nvGrpSpPr>
              <p:cNvPr id="119" name="Group 44">
                <a:extLst>
                  <a:ext uri="{FF2B5EF4-FFF2-40B4-BE49-F238E27FC236}">
                    <a16:creationId xmlns:a16="http://schemas.microsoft.com/office/drawing/2014/main" id="{3992B354-ADAF-437E-B0ED-656B723685CF}"/>
                  </a:ext>
                </a:extLst>
              </p:cNvPr>
              <p:cNvGrpSpPr/>
              <p:nvPr/>
            </p:nvGrpSpPr>
            <p:grpSpPr>
              <a:xfrm>
                <a:off x="6382063" y="1102885"/>
                <a:ext cx="101379" cy="134617"/>
                <a:chOff x="6382063" y="1102885"/>
                <a:chExt cx="101379" cy="134617"/>
              </a:xfrm>
            </p:grpSpPr>
            <p:sp>
              <p:nvSpPr>
                <p:cNvPr id="127" name="Freeform 1787">
                  <a:extLst>
                    <a:ext uri="{FF2B5EF4-FFF2-40B4-BE49-F238E27FC236}">
                      <a16:creationId xmlns:a16="http://schemas.microsoft.com/office/drawing/2014/main" id="{D2349326-B904-4AE1-899B-0130F1ECE980}"/>
                    </a:ext>
                  </a:extLst>
                </p:cNvPr>
                <p:cNvSpPr/>
                <p:nvPr/>
              </p:nvSpPr>
              <p:spPr>
                <a:xfrm>
                  <a:off x="6382063" y="1161461"/>
                  <a:ext cx="101379" cy="76041"/>
                </a:xfrm>
                <a:custGeom>
                  <a:avLst/>
                  <a:gdLst>
                    <a:gd name="f0" fmla="val 10800000"/>
                    <a:gd name="f1" fmla="val 5400000"/>
                    <a:gd name="f2" fmla="val 180"/>
                    <a:gd name="f3" fmla="val w"/>
                    <a:gd name="f4" fmla="val h"/>
                    <a:gd name="f5" fmla="val 0"/>
                    <a:gd name="f6" fmla="val 135"/>
                    <a:gd name="f7" fmla="val 19"/>
                    <a:gd name="f8" fmla="val 116"/>
                    <a:gd name="f9" fmla="val 161"/>
                    <a:gd name="f10" fmla="+- 0 0 -90"/>
                    <a:gd name="f11" fmla="*/ f3 1 180"/>
                    <a:gd name="f12" fmla="*/ f4 1 135"/>
                    <a:gd name="f13" fmla="val f5"/>
                    <a:gd name="f14" fmla="val f2"/>
                    <a:gd name="f15" fmla="val f6"/>
                    <a:gd name="f16" fmla="*/ f10 f0 1"/>
                    <a:gd name="f17" fmla="+- f15 0 f13"/>
                    <a:gd name="f18" fmla="+- f14 0 f13"/>
                    <a:gd name="f19" fmla="*/ f16 1 f2"/>
                    <a:gd name="f20" fmla="*/ f18 1 180"/>
                    <a:gd name="f21" fmla="*/ f17 1 135"/>
                    <a:gd name="f22" fmla="*/ 180 f18 1"/>
                    <a:gd name="f23" fmla="*/ 135 f17 1"/>
                    <a:gd name="f24" fmla="*/ 0 f18 1"/>
                    <a:gd name="f25" fmla="*/ 0 f17 1"/>
                    <a:gd name="f26" fmla="*/ 19 f18 1"/>
                    <a:gd name="f27" fmla="*/ 116 f17 1"/>
                    <a:gd name="f28" fmla="*/ 161 f18 1"/>
                    <a:gd name="f29" fmla="*/ 19 f17 1"/>
                    <a:gd name="f30" fmla="+- f19 0 f1"/>
                    <a:gd name="f31" fmla="*/ f22 1 180"/>
                    <a:gd name="f32" fmla="*/ f23 1 135"/>
                    <a:gd name="f33" fmla="*/ f24 1 180"/>
                    <a:gd name="f34" fmla="*/ f25 1 135"/>
                    <a:gd name="f35" fmla="*/ f26 1 180"/>
                    <a:gd name="f36" fmla="*/ f27 1 135"/>
                    <a:gd name="f37" fmla="*/ f28 1 180"/>
                    <a:gd name="f38" fmla="*/ f29 1 135"/>
                    <a:gd name="f39" fmla="*/ 0 1 f20"/>
                    <a:gd name="f40" fmla="*/ f14 1 f20"/>
                    <a:gd name="f41" fmla="*/ 0 1 f21"/>
                    <a:gd name="f42" fmla="*/ f15 1 f21"/>
                    <a:gd name="f43" fmla="*/ f31 1 f20"/>
                    <a:gd name="f44" fmla="*/ f32 1 f21"/>
                    <a:gd name="f45" fmla="*/ f33 1 f20"/>
                    <a:gd name="f46" fmla="*/ f34 1 f21"/>
                    <a:gd name="f47" fmla="*/ f35 1 f20"/>
                    <a:gd name="f48" fmla="*/ f36 1 f21"/>
                    <a:gd name="f49" fmla="*/ f37 1 f20"/>
                    <a:gd name="f50" fmla="*/ f38 1 f21"/>
                    <a:gd name="f51" fmla="*/ f39 f11 1"/>
                    <a:gd name="f52" fmla="*/ f40 f11 1"/>
                    <a:gd name="f53" fmla="*/ f42 f12 1"/>
                    <a:gd name="f54" fmla="*/ f41 f12 1"/>
                    <a:gd name="f55" fmla="*/ f43 f11 1"/>
                    <a:gd name="f56" fmla="*/ f44 f12 1"/>
                    <a:gd name="f57" fmla="*/ f45 f11 1"/>
                    <a:gd name="f58" fmla="*/ f46 f12 1"/>
                    <a:gd name="f59" fmla="*/ f47 f11 1"/>
                    <a:gd name="f60" fmla="*/ f48 f12 1"/>
                    <a:gd name="f61" fmla="*/ f49 f11 1"/>
                    <a:gd name="f62" fmla="*/ f50 f12 1"/>
                  </a:gdLst>
                  <a:ahLst/>
                  <a:cxnLst>
                    <a:cxn ang="3cd4">
                      <a:pos x="hc" y="t"/>
                    </a:cxn>
                    <a:cxn ang="0">
                      <a:pos x="r" y="vc"/>
                    </a:cxn>
                    <a:cxn ang="cd4">
                      <a:pos x="hc" y="b"/>
                    </a:cxn>
                    <a:cxn ang="cd2">
                      <a:pos x="l" y="vc"/>
                    </a:cxn>
                    <a:cxn ang="f30">
                      <a:pos x="f55" y="f56"/>
                    </a:cxn>
                    <a:cxn ang="f30">
                      <a:pos x="f57" y="f56"/>
                    </a:cxn>
                    <a:cxn ang="f30">
                      <a:pos x="f57" y="f58"/>
                    </a:cxn>
                    <a:cxn ang="f30">
                      <a:pos x="f55" y="f58"/>
                    </a:cxn>
                    <a:cxn ang="f30">
                      <a:pos x="f55" y="f56"/>
                    </a:cxn>
                    <a:cxn ang="f30">
                      <a:pos x="f59" y="f60"/>
                    </a:cxn>
                    <a:cxn ang="f30">
                      <a:pos x="f61" y="f60"/>
                    </a:cxn>
                    <a:cxn ang="f30">
                      <a:pos x="f61" y="f62"/>
                    </a:cxn>
                    <a:cxn ang="f30">
                      <a:pos x="f59" y="f62"/>
                    </a:cxn>
                    <a:cxn ang="f30">
                      <a:pos x="f59" y="f60"/>
                    </a:cxn>
                  </a:cxnLst>
                  <a:rect l="f51" t="f54" r="f52" b="f53"/>
                  <a:pathLst>
                    <a:path w="180" h="135">
                      <a:moveTo>
                        <a:pt x="f2" y="f6"/>
                      </a:moveTo>
                      <a:lnTo>
                        <a:pt x="f5" y="f6"/>
                      </a:lnTo>
                      <a:lnTo>
                        <a:pt x="f5" y="f5"/>
                      </a:lnTo>
                      <a:lnTo>
                        <a:pt x="f2" y="f5"/>
                      </a:lnTo>
                      <a:lnTo>
                        <a:pt x="f2" y="f6"/>
                      </a:lnTo>
                      <a:close/>
                      <a:moveTo>
                        <a:pt x="f7" y="f8"/>
                      </a:moveTo>
                      <a:lnTo>
                        <a:pt x="f9" y="f8"/>
                      </a:lnTo>
                      <a:lnTo>
                        <a:pt x="f9" y="f7"/>
                      </a:lnTo>
                      <a:lnTo>
                        <a:pt x="f7" y="f7"/>
                      </a:lnTo>
                      <a:lnTo>
                        <a:pt x="f7" y="f8"/>
                      </a:lnTo>
                      <a:close/>
                    </a:path>
                  </a:pathLst>
                </a:custGeom>
                <a:solidFill>
                  <a:srgbClr val="FFFFFF"/>
                </a:solidFill>
                <a:ln w="19050" cap="flat">
                  <a:solidFill>
                    <a:schemeClr val="accent1"/>
                  </a:solid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sp>
              <p:nvSpPr>
                <p:cNvPr id="128" name="Freeform 1788">
                  <a:extLst>
                    <a:ext uri="{FF2B5EF4-FFF2-40B4-BE49-F238E27FC236}">
                      <a16:creationId xmlns:a16="http://schemas.microsoft.com/office/drawing/2014/main" id="{911FF5BA-B992-4E33-9A13-2ACA2F9FCD8F}"/>
                    </a:ext>
                  </a:extLst>
                </p:cNvPr>
                <p:cNvSpPr/>
                <p:nvPr/>
              </p:nvSpPr>
              <p:spPr>
                <a:xfrm>
                  <a:off x="6397837" y="1102885"/>
                  <a:ext cx="68150" cy="58576"/>
                </a:xfrm>
                <a:custGeom>
                  <a:avLst/>
                  <a:gdLst>
                    <a:gd name="f0" fmla="val 10800000"/>
                    <a:gd name="f1" fmla="val 5400000"/>
                    <a:gd name="f2" fmla="val 180"/>
                    <a:gd name="f3" fmla="val w"/>
                    <a:gd name="f4" fmla="val h"/>
                    <a:gd name="f5" fmla="val 0"/>
                    <a:gd name="f6" fmla="val 51"/>
                    <a:gd name="f7" fmla="val 44"/>
                    <a:gd name="f8" fmla="val 43"/>
                    <a:gd name="f9" fmla="val 26"/>
                    <a:gd name="f10" fmla="val 16"/>
                    <a:gd name="f11" fmla="val 36"/>
                    <a:gd name="f12" fmla="val 8"/>
                    <a:gd name="f13" fmla="val 12"/>
                    <a:gd name="f14" fmla="val 11"/>
                    <a:gd name="f15" fmla="val 40"/>
                    <a:gd name="f16" fmla="+- 0 0 -90"/>
                    <a:gd name="f17" fmla="*/ f3 1 51"/>
                    <a:gd name="f18" fmla="*/ f4 1 44"/>
                    <a:gd name="f19" fmla="val f5"/>
                    <a:gd name="f20" fmla="val f6"/>
                    <a:gd name="f21" fmla="val f7"/>
                    <a:gd name="f22" fmla="*/ f16 f0 1"/>
                    <a:gd name="f23" fmla="+- f21 0 f19"/>
                    <a:gd name="f24" fmla="+- f20 0 f19"/>
                    <a:gd name="f25" fmla="*/ f22 1 f2"/>
                    <a:gd name="f26" fmla="*/ f24 1 51"/>
                    <a:gd name="f27" fmla="*/ f23 1 44"/>
                    <a:gd name="f28" fmla="*/ 51 f24 1"/>
                    <a:gd name="f29" fmla="*/ 44 f23 1"/>
                    <a:gd name="f30" fmla="*/ 43 f24 1"/>
                    <a:gd name="f31" fmla="*/ 26 f23 1"/>
                    <a:gd name="f32" fmla="*/ 26 f24 1"/>
                    <a:gd name="f33" fmla="*/ 8 f23 1"/>
                    <a:gd name="f34" fmla="*/ 8 f24 1"/>
                    <a:gd name="f35" fmla="*/ 0 f24 1"/>
                    <a:gd name="f36" fmla="*/ 0 f23 1"/>
                    <a:gd name="f37" fmla="+- f25 0 f1"/>
                    <a:gd name="f38" fmla="*/ f28 1 51"/>
                    <a:gd name="f39" fmla="*/ f29 1 44"/>
                    <a:gd name="f40" fmla="*/ f30 1 51"/>
                    <a:gd name="f41" fmla="*/ f31 1 44"/>
                    <a:gd name="f42" fmla="*/ f32 1 51"/>
                    <a:gd name="f43" fmla="*/ f33 1 44"/>
                    <a:gd name="f44" fmla="*/ f34 1 51"/>
                    <a:gd name="f45" fmla="*/ f35 1 51"/>
                    <a:gd name="f46" fmla="*/ f36 1 44"/>
                    <a:gd name="f47" fmla="*/ 0 1 f26"/>
                    <a:gd name="f48" fmla="*/ f20 1 f26"/>
                    <a:gd name="f49" fmla="*/ 0 1 f27"/>
                    <a:gd name="f50" fmla="*/ f21 1 f27"/>
                    <a:gd name="f51" fmla="*/ f38 1 f26"/>
                    <a:gd name="f52" fmla="*/ f39 1 f27"/>
                    <a:gd name="f53" fmla="*/ f40 1 f26"/>
                    <a:gd name="f54" fmla="*/ f41 1 f27"/>
                    <a:gd name="f55" fmla="*/ f42 1 f26"/>
                    <a:gd name="f56" fmla="*/ f43 1 f27"/>
                    <a:gd name="f57" fmla="*/ f44 1 f26"/>
                    <a:gd name="f58" fmla="*/ f45 1 f26"/>
                    <a:gd name="f59" fmla="*/ f46 1 f27"/>
                    <a:gd name="f60" fmla="*/ f47 f17 1"/>
                    <a:gd name="f61" fmla="*/ f48 f17 1"/>
                    <a:gd name="f62" fmla="*/ f50 f18 1"/>
                    <a:gd name="f63" fmla="*/ f49 f18 1"/>
                    <a:gd name="f64" fmla="*/ f51 f17 1"/>
                    <a:gd name="f65" fmla="*/ f52 f18 1"/>
                    <a:gd name="f66" fmla="*/ f53 f17 1"/>
                    <a:gd name="f67" fmla="*/ f54 f18 1"/>
                    <a:gd name="f68" fmla="*/ f55 f17 1"/>
                    <a:gd name="f69" fmla="*/ f56 f18 1"/>
                    <a:gd name="f70" fmla="*/ f57 f17 1"/>
                    <a:gd name="f71" fmla="*/ f58 f17 1"/>
                    <a:gd name="f72" fmla="*/ f59 f18 1"/>
                  </a:gdLst>
                  <a:ahLst/>
                  <a:cxnLst>
                    <a:cxn ang="3cd4">
                      <a:pos x="hc" y="t"/>
                    </a:cxn>
                    <a:cxn ang="0">
                      <a:pos x="r" y="vc"/>
                    </a:cxn>
                    <a:cxn ang="cd4">
                      <a:pos x="hc" y="b"/>
                    </a:cxn>
                    <a:cxn ang="cd2">
                      <a:pos x="l" y="vc"/>
                    </a:cxn>
                    <a:cxn ang="f37">
                      <a:pos x="f64" y="f65"/>
                    </a:cxn>
                    <a:cxn ang="f37">
                      <a:pos x="f66" y="f65"/>
                    </a:cxn>
                    <a:cxn ang="f37">
                      <a:pos x="f66" y="f67"/>
                    </a:cxn>
                    <a:cxn ang="f37">
                      <a:pos x="f68" y="f69"/>
                    </a:cxn>
                    <a:cxn ang="f37">
                      <a:pos x="f70" y="f67"/>
                    </a:cxn>
                    <a:cxn ang="f37">
                      <a:pos x="f70" y="f65"/>
                    </a:cxn>
                    <a:cxn ang="f37">
                      <a:pos x="f71" y="f65"/>
                    </a:cxn>
                    <a:cxn ang="f37">
                      <a:pos x="f71" y="f67"/>
                    </a:cxn>
                    <a:cxn ang="f37">
                      <a:pos x="f68" y="f72"/>
                    </a:cxn>
                    <a:cxn ang="f37">
                      <a:pos x="f64" y="f67"/>
                    </a:cxn>
                    <a:cxn ang="f37">
                      <a:pos x="f64" y="f65"/>
                    </a:cxn>
                  </a:cxnLst>
                  <a:rect l="f60" t="f63" r="f61" b="f62"/>
                  <a:pathLst>
                    <a:path w="51" h="44">
                      <a:moveTo>
                        <a:pt x="f6" y="f7"/>
                      </a:moveTo>
                      <a:cubicBezTo>
                        <a:pt x="f8" y="f7"/>
                        <a:pt x="f8" y="f7"/>
                        <a:pt x="f8" y="f7"/>
                      </a:cubicBezTo>
                      <a:cubicBezTo>
                        <a:pt x="f8" y="f9"/>
                        <a:pt x="f8" y="f9"/>
                        <a:pt x="f8" y="f9"/>
                      </a:cubicBezTo>
                      <a:cubicBezTo>
                        <a:pt x="f8" y="f10"/>
                        <a:pt x="f11" y="f12"/>
                        <a:pt x="f9" y="f12"/>
                      </a:cubicBezTo>
                      <a:cubicBezTo>
                        <a:pt x="f10" y="f12"/>
                        <a:pt x="f12" y="f10"/>
                        <a:pt x="f12" y="f9"/>
                      </a:cubicBezTo>
                      <a:cubicBezTo>
                        <a:pt x="f12" y="f7"/>
                        <a:pt x="f12" y="f7"/>
                        <a:pt x="f12" y="f7"/>
                      </a:cubicBezTo>
                      <a:cubicBezTo>
                        <a:pt x="f5" y="f7"/>
                        <a:pt x="f5" y="f7"/>
                        <a:pt x="f5" y="f7"/>
                      </a:cubicBezTo>
                      <a:cubicBezTo>
                        <a:pt x="f5" y="f9"/>
                        <a:pt x="f5" y="f9"/>
                        <a:pt x="f5" y="f9"/>
                      </a:cubicBezTo>
                      <a:cubicBezTo>
                        <a:pt x="f5" y="f13"/>
                        <a:pt x="f14" y="f5"/>
                        <a:pt x="f9" y="f5"/>
                      </a:cubicBezTo>
                      <a:cubicBezTo>
                        <a:pt x="f15" y="f5"/>
                        <a:pt x="f6" y="f13"/>
                        <a:pt x="f6" y="f9"/>
                      </a:cubicBezTo>
                      <a:lnTo>
                        <a:pt x="f6" y="f7"/>
                      </a:lnTo>
                      <a:close/>
                    </a:path>
                  </a:pathLst>
                </a:custGeom>
                <a:solidFill>
                  <a:srgbClr val="FFFFFF"/>
                </a:solidFill>
                <a:ln w="19050" cap="flat">
                  <a:solidFill>
                    <a:schemeClr val="accent1"/>
                  </a:solid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grpSp>
          <p:grpSp>
            <p:nvGrpSpPr>
              <p:cNvPr id="120" name="Group 45">
                <a:extLst>
                  <a:ext uri="{FF2B5EF4-FFF2-40B4-BE49-F238E27FC236}">
                    <a16:creationId xmlns:a16="http://schemas.microsoft.com/office/drawing/2014/main" id="{4FD7E685-6118-483A-890B-D609C00FFFA7}"/>
                  </a:ext>
                </a:extLst>
              </p:cNvPr>
              <p:cNvGrpSpPr/>
              <p:nvPr/>
            </p:nvGrpSpPr>
            <p:grpSpPr>
              <a:xfrm>
                <a:off x="5964969" y="1146026"/>
                <a:ext cx="385163" cy="48335"/>
                <a:chOff x="5964969" y="1146026"/>
                <a:chExt cx="385163" cy="48335"/>
              </a:xfrm>
            </p:grpSpPr>
            <p:sp>
              <p:nvSpPr>
                <p:cNvPr id="121" name="Oval 46">
                  <a:extLst>
                    <a:ext uri="{FF2B5EF4-FFF2-40B4-BE49-F238E27FC236}">
                      <a16:creationId xmlns:a16="http://schemas.microsoft.com/office/drawing/2014/main" id="{3BBDF16D-AC92-4157-9C0C-C3458D4646D4}"/>
                    </a:ext>
                  </a:extLst>
                </p:cNvPr>
                <p:cNvSpPr/>
                <p:nvPr/>
              </p:nvSpPr>
              <p:spPr>
                <a:xfrm>
                  <a:off x="5964969" y="1146026"/>
                  <a:ext cx="48335" cy="48335"/>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w="19050" cap="flat">
                  <a:solidFill>
                    <a:schemeClr val="accent1"/>
                  </a:solidFill>
                  <a:prstDash val="solid"/>
                </a:ln>
              </p:spPr>
              <p:txBody>
                <a:bodyPr vert="horz" wrap="square" lIns="137160" tIns="109728" rIns="137160" bIns="109728" anchor="t" anchorCtr="1" compatLnSpc="1">
                  <a:noAutofit/>
                </a:bodyPr>
                <a:lstStyle/>
                <a:p>
                  <a:pPr algn="ctr" defTabSz="699351" eaLnBrk="1" fontAlgn="auto" hangingPunct="1">
                    <a:lnSpc>
                      <a:spcPct val="90000"/>
                    </a:lnSpc>
                    <a:spcBef>
                      <a:spcPts val="0"/>
                    </a:spcBef>
                    <a:spcAft>
                      <a:spcPts val="0"/>
                    </a:spcAft>
                    <a:defRPr sz="1800" b="0" i="0" u="none" strike="noStrike" kern="0" cap="none" spc="0" baseline="0">
                      <a:solidFill>
                        <a:srgbClr val="000000"/>
                      </a:solidFill>
                      <a:uFillTx/>
                    </a:defRPr>
                  </a:pPr>
                  <a:endParaRPr lang="en-US">
                    <a:solidFill>
                      <a:srgbClr val="000000"/>
                    </a:solidFill>
                    <a:latin typeface="Segoe UI"/>
                    <a:ea typeface="Segoe UI" pitchFamily="34"/>
                    <a:cs typeface="Segoe UI" pitchFamily="34"/>
                  </a:endParaRPr>
                </a:p>
              </p:txBody>
            </p:sp>
            <p:sp>
              <p:nvSpPr>
                <p:cNvPr id="122" name="Oval 47">
                  <a:extLst>
                    <a:ext uri="{FF2B5EF4-FFF2-40B4-BE49-F238E27FC236}">
                      <a16:creationId xmlns:a16="http://schemas.microsoft.com/office/drawing/2014/main" id="{672C1322-4ADA-401F-A7A8-8EDBDB432A03}"/>
                    </a:ext>
                  </a:extLst>
                </p:cNvPr>
                <p:cNvSpPr/>
                <p:nvPr/>
              </p:nvSpPr>
              <p:spPr>
                <a:xfrm>
                  <a:off x="6032333" y="1146026"/>
                  <a:ext cx="48335" cy="48335"/>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w="19050" cap="flat">
                  <a:solidFill>
                    <a:schemeClr val="accent1"/>
                  </a:solidFill>
                  <a:prstDash val="solid"/>
                </a:ln>
              </p:spPr>
              <p:txBody>
                <a:bodyPr vert="horz" wrap="square" lIns="137160" tIns="109728" rIns="137160" bIns="109728" anchor="t" anchorCtr="1" compatLnSpc="1">
                  <a:noAutofit/>
                </a:bodyPr>
                <a:lstStyle/>
                <a:p>
                  <a:pPr algn="ctr" defTabSz="699351" eaLnBrk="1" fontAlgn="auto" hangingPunct="1">
                    <a:lnSpc>
                      <a:spcPct val="90000"/>
                    </a:lnSpc>
                    <a:spcBef>
                      <a:spcPts val="0"/>
                    </a:spcBef>
                    <a:spcAft>
                      <a:spcPts val="0"/>
                    </a:spcAft>
                    <a:defRPr sz="1800" b="0" i="0" u="none" strike="noStrike" kern="0" cap="none" spc="0" baseline="0">
                      <a:solidFill>
                        <a:srgbClr val="000000"/>
                      </a:solidFill>
                      <a:uFillTx/>
                    </a:defRPr>
                  </a:pPr>
                  <a:endParaRPr lang="en-US">
                    <a:solidFill>
                      <a:srgbClr val="000000"/>
                    </a:solidFill>
                    <a:latin typeface="Segoe UI"/>
                    <a:ea typeface="Segoe UI" pitchFamily="34"/>
                    <a:cs typeface="Segoe UI" pitchFamily="34"/>
                  </a:endParaRPr>
                </a:p>
              </p:txBody>
            </p:sp>
            <p:sp>
              <p:nvSpPr>
                <p:cNvPr id="123" name="Oval 48">
                  <a:extLst>
                    <a:ext uri="{FF2B5EF4-FFF2-40B4-BE49-F238E27FC236}">
                      <a16:creationId xmlns:a16="http://schemas.microsoft.com/office/drawing/2014/main" id="{439C1F6A-66CD-4FC0-A613-716E26619FAE}"/>
                    </a:ext>
                  </a:extLst>
                </p:cNvPr>
                <p:cNvSpPr/>
                <p:nvPr/>
              </p:nvSpPr>
              <p:spPr>
                <a:xfrm>
                  <a:off x="6099697" y="1146026"/>
                  <a:ext cx="48335" cy="48335"/>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w="19050" cap="flat">
                  <a:solidFill>
                    <a:schemeClr val="accent1"/>
                  </a:solidFill>
                  <a:prstDash val="solid"/>
                </a:ln>
              </p:spPr>
              <p:txBody>
                <a:bodyPr vert="horz" wrap="square" lIns="137160" tIns="109728" rIns="137160" bIns="109728" anchor="t" anchorCtr="1" compatLnSpc="1">
                  <a:noAutofit/>
                </a:bodyPr>
                <a:lstStyle/>
                <a:p>
                  <a:pPr algn="ctr" defTabSz="699351" eaLnBrk="1" fontAlgn="auto" hangingPunct="1">
                    <a:lnSpc>
                      <a:spcPct val="90000"/>
                    </a:lnSpc>
                    <a:spcBef>
                      <a:spcPts val="0"/>
                    </a:spcBef>
                    <a:spcAft>
                      <a:spcPts val="0"/>
                    </a:spcAft>
                    <a:defRPr sz="1800" b="0" i="0" u="none" strike="noStrike" kern="0" cap="none" spc="0" baseline="0">
                      <a:solidFill>
                        <a:srgbClr val="000000"/>
                      </a:solidFill>
                      <a:uFillTx/>
                    </a:defRPr>
                  </a:pPr>
                  <a:endParaRPr lang="en-US">
                    <a:solidFill>
                      <a:srgbClr val="000000"/>
                    </a:solidFill>
                    <a:latin typeface="Segoe UI"/>
                    <a:ea typeface="Segoe UI" pitchFamily="34"/>
                    <a:cs typeface="Segoe UI" pitchFamily="34"/>
                  </a:endParaRPr>
                </a:p>
              </p:txBody>
            </p:sp>
            <p:sp>
              <p:nvSpPr>
                <p:cNvPr id="124" name="Oval 49">
                  <a:extLst>
                    <a:ext uri="{FF2B5EF4-FFF2-40B4-BE49-F238E27FC236}">
                      <a16:creationId xmlns:a16="http://schemas.microsoft.com/office/drawing/2014/main" id="{A46B1271-47C7-4C19-9B3D-2C145FE848D6}"/>
                    </a:ext>
                  </a:extLst>
                </p:cNvPr>
                <p:cNvSpPr/>
                <p:nvPr/>
              </p:nvSpPr>
              <p:spPr>
                <a:xfrm>
                  <a:off x="6167061" y="1146026"/>
                  <a:ext cx="48335" cy="48335"/>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w="19050" cap="flat">
                  <a:solidFill>
                    <a:schemeClr val="accent1"/>
                  </a:solidFill>
                  <a:prstDash val="solid"/>
                </a:ln>
              </p:spPr>
              <p:txBody>
                <a:bodyPr vert="horz" wrap="square" lIns="137160" tIns="109728" rIns="137160" bIns="109728" anchor="t" anchorCtr="1" compatLnSpc="1">
                  <a:noAutofit/>
                </a:bodyPr>
                <a:lstStyle/>
                <a:p>
                  <a:pPr algn="ctr" defTabSz="699351" eaLnBrk="1" fontAlgn="auto" hangingPunct="1">
                    <a:lnSpc>
                      <a:spcPct val="90000"/>
                    </a:lnSpc>
                    <a:spcBef>
                      <a:spcPts val="0"/>
                    </a:spcBef>
                    <a:spcAft>
                      <a:spcPts val="0"/>
                    </a:spcAft>
                    <a:defRPr sz="1800" b="0" i="0" u="none" strike="noStrike" kern="0" cap="none" spc="0" baseline="0">
                      <a:solidFill>
                        <a:srgbClr val="000000"/>
                      </a:solidFill>
                      <a:uFillTx/>
                    </a:defRPr>
                  </a:pPr>
                  <a:endParaRPr lang="en-US">
                    <a:solidFill>
                      <a:srgbClr val="000000"/>
                    </a:solidFill>
                    <a:latin typeface="Segoe UI"/>
                    <a:ea typeface="Segoe UI" pitchFamily="34"/>
                    <a:cs typeface="Segoe UI" pitchFamily="34"/>
                  </a:endParaRPr>
                </a:p>
              </p:txBody>
            </p:sp>
            <p:sp>
              <p:nvSpPr>
                <p:cNvPr id="125" name="Oval 50">
                  <a:extLst>
                    <a:ext uri="{FF2B5EF4-FFF2-40B4-BE49-F238E27FC236}">
                      <a16:creationId xmlns:a16="http://schemas.microsoft.com/office/drawing/2014/main" id="{AF42A3B2-2137-4793-A860-7A8153F4D455}"/>
                    </a:ext>
                  </a:extLst>
                </p:cNvPr>
                <p:cNvSpPr/>
                <p:nvPr/>
              </p:nvSpPr>
              <p:spPr>
                <a:xfrm>
                  <a:off x="6234424" y="1146026"/>
                  <a:ext cx="48335" cy="48335"/>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w="19050" cap="flat">
                  <a:solidFill>
                    <a:schemeClr val="accent1"/>
                  </a:solidFill>
                  <a:prstDash val="solid"/>
                </a:ln>
              </p:spPr>
              <p:txBody>
                <a:bodyPr vert="horz" wrap="square" lIns="137160" tIns="109728" rIns="137160" bIns="109728" anchor="t" anchorCtr="1" compatLnSpc="1">
                  <a:noAutofit/>
                </a:bodyPr>
                <a:lstStyle/>
                <a:p>
                  <a:pPr algn="ctr" defTabSz="699351" eaLnBrk="1" fontAlgn="auto" hangingPunct="1">
                    <a:lnSpc>
                      <a:spcPct val="90000"/>
                    </a:lnSpc>
                    <a:spcBef>
                      <a:spcPts val="0"/>
                    </a:spcBef>
                    <a:spcAft>
                      <a:spcPts val="0"/>
                    </a:spcAft>
                    <a:defRPr sz="1800" b="0" i="0" u="none" strike="noStrike" kern="0" cap="none" spc="0" baseline="0">
                      <a:solidFill>
                        <a:srgbClr val="000000"/>
                      </a:solidFill>
                      <a:uFillTx/>
                    </a:defRPr>
                  </a:pPr>
                  <a:endParaRPr lang="en-US">
                    <a:solidFill>
                      <a:srgbClr val="000000"/>
                    </a:solidFill>
                    <a:latin typeface="Segoe UI"/>
                    <a:ea typeface="Segoe UI" pitchFamily="34"/>
                    <a:cs typeface="Segoe UI" pitchFamily="34"/>
                  </a:endParaRPr>
                </a:p>
              </p:txBody>
            </p:sp>
            <p:sp>
              <p:nvSpPr>
                <p:cNvPr id="126" name="Oval 51">
                  <a:extLst>
                    <a:ext uri="{FF2B5EF4-FFF2-40B4-BE49-F238E27FC236}">
                      <a16:creationId xmlns:a16="http://schemas.microsoft.com/office/drawing/2014/main" id="{1814F89D-2BE2-4DC7-BED7-7FE1278DD101}"/>
                    </a:ext>
                  </a:extLst>
                </p:cNvPr>
                <p:cNvSpPr/>
                <p:nvPr/>
              </p:nvSpPr>
              <p:spPr>
                <a:xfrm>
                  <a:off x="6301797" y="1146026"/>
                  <a:ext cx="48335" cy="48335"/>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w="19050" cap="flat">
                  <a:solidFill>
                    <a:schemeClr val="accent1"/>
                  </a:solidFill>
                  <a:prstDash val="solid"/>
                </a:ln>
              </p:spPr>
              <p:txBody>
                <a:bodyPr vert="horz" wrap="square" lIns="137160" tIns="109728" rIns="137160" bIns="109728" anchor="t" anchorCtr="1" compatLnSpc="1">
                  <a:noAutofit/>
                </a:bodyPr>
                <a:lstStyle/>
                <a:p>
                  <a:pPr algn="ctr" defTabSz="699351" eaLnBrk="1" fontAlgn="auto" hangingPunct="1">
                    <a:lnSpc>
                      <a:spcPct val="90000"/>
                    </a:lnSpc>
                    <a:spcBef>
                      <a:spcPts val="0"/>
                    </a:spcBef>
                    <a:spcAft>
                      <a:spcPts val="0"/>
                    </a:spcAft>
                    <a:defRPr sz="1800" b="0" i="0" u="none" strike="noStrike" kern="0" cap="none" spc="0" baseline="0">
                      <a:solidFill>
                        <a:srgbClr val="000000"/>
                      </a:solidFill>
                      <a:uFillTx/>
                    </a:defRPr>
                  </a:pPr>
                  <a:endParaRPr lang="en-US">
                    <a:solidFill>
                      <a:srgbClr val="000000"/>
                    </a:solidFill>
                    <a:latin typeface="Segoe UI"/>
                    <a:ea typeface="Segoe UI" pitchFamily="34"/>
                    <a:cs typeface="Segoe UI" pitchFamily="34"/>
                  </a:endParaRPr>
                </a:p>
              </p:txBody>
            </p:sp>
          </p:grpSp>
        </p:grpSp>
      </p:grpSp>
      <p:grpSp>
        <p:nvGrpSpPr>
          <p:cNvPr id="129" name="Group 264">
            <a:extLst>
              <a:ext uri="{FF2B5EF4-FFF2-40B4-BE49-F238E27FC236}">
                <a16:creationId xmlns:a16="http://schemas.microsoft.com/office/drawing/2014/main" id="{7D1E93EC-EC9B-42DD-8903-67317EB5390A}"/>
              </a:ext>
            </a:extLst>
          </p:cNvPr>
          <p:cNvGrpSpPr/>
          <p:nvPr/>
        </p:nvGrpSpPr>
        <p:grpSpPr>
          <a:xfrm>
            <a:off x="6303926" y="2211619"/>
            <a:ext cx="411480" cy="405582"/>
            <a:chOff x="6560646" y="3221303"/>
            <a:chExt cx="548640" cy="540776"/>
          </a:xfrm>
        </p:grpSpPr>
        <p:sp>
          <p:nvSpPr>
            <p:cNvPr id="130" name="Freeform 44">
              <a:extLst>
                <a:ext uri="{FF2B5EF4-FFF2-40B4-BE49-F238E27FC236}">
                  <a16:creationId xmlns:a16="http://schemas.microsoft.com/office/drawing/2014/main" id="{78F698BD-D087-48B0-85ED-8E11CF2697B3}"/>
                </a:ext>
              </a:extLst>
            </p:cNvPr>
            <p:cNvSpPr/>
            <p:nvPr/>
          </p:nvSpPr>
          <p:spPr>
            <a:xfrm>
              <a:off x="6560646" y="3221303"/>
              <a:ext cx="201643" cy="219977"/>
            </a:xfrm>
            <a:custGeom>
              <a:avLst/>
              <a:gdLst>
                <a:gd name="f0" fmla="val 10800000"/>
                <a:gd name="f1" fmla="val 5400000"/>
                <a:gd name="f2" fmla="val 180"/>
                <a:gd name="f3" fmla="val w"/>
                <a:gd name="f4" fmla="val h"/>
                <a:gd name="f5" fmla="val 0"/>
                <a:gd name="f6" fmla="val 82"/>
                <a:gd name="f7" fmla="val 76"/>
                <a:gd name="f8" fmla="val 79"/>
                <a:gd name="f9" fmla="val 6"/>
                <a:gd name="f10" fmla="val 2"/>
                <a:gd name="f11" fmla="val 5"/>
                <a:gd name="f12" fmla="+- 0 0 -90"/>
                <a:gd name="f13" fmla="*/ f3 1 82"/>
                <a:gd name="f14" fmla="*/ f4 1 82"/>
                <a:gd name="f15" fmla="val f5"/>
                <a:gd name="f16" fmla="val f6"/>
                <a:gd name="f17" fmla="*/ f12 f0 1"/>
                <a:gd name="f18" fmla="+- f16 0 f15"/>
                <a:gd name="f19" fmla="*/ f17 1 f2"/>
                <a:gd name="f20" fmla="*/ f18 1 82"/>
                <a:gd name="f21" fmla="*/ 82 f18 1"/>
                <a:gd name="f22" fmla="*/ 76 f18 1"/>
                <a:gd name="f23" fmla="*/ 6 f18 1"/>
                <a:gd name="f24" fmla="*/ 0 f18 1"/>
                <a:gd name="f25" fmla="*/ 5 f18 1"/>
                <a:gd name="f26" fmla="+- f19 0 f1"/>
                <a:gd name="f27" fmla="*/ f21 1 82"/>
                <a:gd name="f28" fmla="*/ f22 1 82"/>
                <a:gd name="f29" fmla="*/ f23 1 82"/>
                <a:gd name="f30" fmla="*/ f24 1 82"/>
                <a:gd name="f31" fmla="*/ f25 1 82"/>
                <a:gd name="f32" fmla="*/ 0 1 f20"/>
                <a:gd name="f33" fmla="*/ f16 1 f20"/>
                <a:gd name="f34" fmla="*/ f27 1 f20"/>
                <a:gd name="f35" fmla="*/ f28 1 f20"/>
                <a:gd name="f36" fmla="*/ f29 1 f20"/>
                <a:gd name="f37" fmla="*/ f30 1 f20"/>
                <a:gd name="f38" fmla="*/ f31 1 f20"/>
                <a:gd name="f39" fmla="*/ f32 f13 1"/>
                <a:gd name="f40" fmla="*/ f33 f13 1"/>
                <a:gd name="f41" fmla="*/ f33 f14 1"/>
                <a:gd name="f42" fmla="*/ f32 f14 1"/>
                <a:gd name="f43" fmla="*/ f34 f13 1"/>
                <a:gd name="f44" fmla="*/ f35 f14 1"/>
                <a:gd name="f45" fmla="*/ f35 f13 1"/>
                <a:gd name="f46" fmla="*/ f34 f14 1"/>
                <a:gd name="f47" fmla="*/ f36 f13 1"/>
                <a:gd name="f48" fmla="*/ f37 f13 1"/>
                <a:gd name="f49" fmla="*/ f38 f14 1"/>
                <a:gd name="f50" fmla="*/ f37 f14 1"/>
              </a:gdLst>
              <a:ahLst/>
              <a:cxnLst>
                <a:cxn ang="3cd4">
                  <a:pos x="hc" y="t"/>
                </a:cxn>
                <a:cxn ang="0">
                  <a:pos x="r" y="vc"/>
                </a:cxn>
                <a:cxn ang="cd4">
                  <a:pos x="hc" y="b"/>
                </a:cxn>
                <a:cxn ang="cd2">
                  <a:pos x="l" y="vc"/>
                </a:cxn>
                <a:cxn ang="f26">
                  <a:pos x="f43" y="f44"/>
                </a:cxn>
                <a:cxn ang="f26">
                  <a:pos x="f45" y="f46"/>
                </a:cxn>
                <a:cxn ang="f26">
                  <a:pos x="f47" y="f46"/>
                </a:cxn>
                <a:cxn ang="f26">
                  <a:pos x="f48" y="f44"/>
                </a:cxn>
                <a:cxn ang="f26">
                  <a:pos x="f48" y="f49"/>
                </a:cxn>
                <a:cxn ang="f26">
                  <a:pos x="f47" y="f50"/>
                </a:cxn>
                <a:cxn ang="f26">
                  <a:pos x="f45" y="f50"/>
                </a:cxn>
                <a:cxn ang="f26">
                  <a:pos x="f43" y="f49"/>
                </a:cxn>
                <a:cxn ang="f26">
                  <a:pos x="f43" y="f44"/>
                </a:cxn>
              </a:cxnLst>
              <a:rect l="f39" t="f42" r="f40" b="f41"/>
              <a:pathLst>
                <a:path w="82" h="82">
                  <a:moveTo>
                    <a:pt x="f6" y="f7"/>
                  </a:moveTo>
                  <a:cubicBezTo>
                    <a:pt x="f6" y="f8"/>
                    <a:pt x="f8" y="f6"/>
                    <a:pt x="f7" y="f6"/>
                  </a:cubicBezTo>
                  <a:cubicBezTo>
                    <a:pt x="f9" y="f6"/>
                    <a:pt x="f9" y="f6"/>
                    <a:pt x="f9" y="f6"/>
                  </a:cubicBezTo>
                  <a:cubicBezTo>
                    <a:pt x="f10" y="f6"/>
                    <a:pt x="f5" y="f8"/>
                    <a:pt x="f5" y="f7"/>
                  </a:cubicBezTo>
                  <a:cubicBezTo>
                    <a:pt x="f5" y="f11"/>
                    <a:pt x="f5" y="f11"/>
                    <a:pt x="f5" y="f11"/>
                  </a:cubicBezTo>
                  <a:cubicBezTo>
                    <a:pt x="f5" y="f10"/>
                    <a:pt x="f10" y="f5"/>
                    <a:pt x="f9" y="f5"/>
                  </a:cubicBezTo>
                  <a:cubicBezTo>
                    <a:pt x="f7" y="f5"/>
                    <a:pt x="f7" y="f5"/>
                    <a:pt x="f7" y="f5"/>
                  </a:cubicBezTo>
                  <a:cubicBezTo>
                    <a:pt x="f8" y="f5"/>
                    <a:pt x="f6" y="f10"/>
                    <a:pt x="f6" y="f11"/>
                  </a:cubicBezTo>
                  <a:lnTo>
                    <a:pt x="f6" y="f7"/>
                  </a:lnTo>
                  <a:close/>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002050"/>
                </a:solidFill>
                <a:latin typeface="Segoe UI Semilight"/>
              </a:endParaRPr>
            </a:p>
          </p:txBody>
        </p:sp>
        <p:sp>
          <p:nvSpPr>
            <p:cNvPr id="131" name="Freeform 45">
              <a:extLst>
                <a:ext uri="{FF2B5EF4-FFF2-40B4-BE49-F238E27FC236}">
                  <a16:creationId xmlns:a16="http://schemas.microsoft.com/office/drawing/2014/main" id="{55EE6166-3E68-4FB2-9DF9-1EE8FFE4828B}"/>
                </a:ext>
              </a:extLst>
            </p:cNvPr>
            <p:cNvSpPr/>
            <p:nvPr/>
          </p:nvSpPr>
          <p:spPr>
            <a:xfrm>
              <a:off x="6560646" y="3477947"/>
              <a:ext cx="201643" cy="109993"/>
            </a:xfrm>
            <a:custGeom>
              <a:avLst/>
              <a:gdLst>
                <a:gd name="f0" fmla="val 10800000"/>
                <a:gd name="f1" fmla="val 5400000"/>
                <a:gd name="f2" fmla="val 180"/>
                <a:gd name="f3" fmla="val w"/>
                <a:gd name="f4" fmla="val h"/>
                <a:gd name="f5" fmla="val 0"/>
                <a:gd name="f6" fmla="val 82"/>
                <a:gd name="f7" fmla="val 41"/>
                <a:gd name="f8" fmla="val 38"/>
                <a:gd name="f9" fmla="val 39"/>
                <a:gd name="f10" fmla="val 79"/>
                <a:gd name="f11" fmla="val 76"/>
                <a:gd name="f12" fmla="val 6"/>
                <a:gd name="f13" fmla="val 2"/>
                <a:gd name="f14" fmla="val 3"/>
                <a:gd name="f15" fmla="val 1"/>
                <a:gd name="f16" fmla="+- 0 0 -90"/>
                <a:gd name="f17" fmla="*/ f3 1 82"/>
                <a:gd name="f18" fmla="*/ f4 1 41"/>
                <a:gd name="f19" fmla="val f5"/>
                <a:gd name="f20" fmla="val f6"/>
                <a:gd name="f21" fmla="val f7"/>
                <a:gd name="f22" fmla="*/ f16 f0 1"/>
                <a:gd name="f23" fmla="+- f21 0 f19"/>
                <a:gd name="f24" fmla="+- f20 0 f19"/>
                <a:gd name="f25" fmla="*/ f22 1 f2"/>
                <a:gd name="f26" fmla="*/ f24 1 82"/>
                <a:gd name="f27" fmla="*/ f23 1 41"/>
                <a:gd name="f28" fmla="*/ 82 f24 1"/>
                <a:gd name="f29" fmla="*/ 38 f23 1"/>
                <a:gd name="f30" fmla="*/ 76 f24 1"/>
                <a:gd name="f31" fmla="*/ 41 f23 1"/>
                <a:gd name="f32" fmla="*/ 6 f24 1"/>
                <a:gd name="f33" fmla="*/ 0 f24 1"/>
                <a:gd name="f34" fmla="*/ 3 f23 1"/>
                <a:gd name="f35" fmla="*/ 0 f23 1"/>
                <a:gd name="f36" fmla="+- f25 0 f1"/>
                <a:gd name="f37" fmla="*/ f28 1 82"/>
                <a:gd name="f38" fmla="*/ f29 1 41"/>
                <a:gd name="f39" fmla="*/ f30 1 82"/>
                <a:gd name="f40" fmla="*/ f31 1 41"/>
                <a:gd name="f41" fmla="*/ f32 1 82"/>
                <a:gd name="f42" fmla="*/ f33 1 82"/>
                <a:gd name="f43" fmla="*/ f34 1 41"/>
                <a:gd name="f44" fmla="*/ f35 1 41"/>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82" h="41">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002050"/>
                </a:solidFill>
                <a:latin typeface="Segoe UI Semilight"/>
              </a:endParaRPr>
            </a:p>
          </p:txBody>
        </p:sp>
        <p:sp>
          <p:nvSpPr>
            <p:cNvPr id="132" name="Freeform 46">
              <a:extLst>
                <a:ext uri="{FF2B5EF4-FFF2-40B4-BE49-F238E27FC236}">
                  <a16:creationId xmlns:a16="http://schemas.microsoft.com/office/drawing/2014/main" id="{BEA64AF6-0671-4A9A-80C7-6108311D3A26}"/>
                </a:ext>
              </a:extLst>
            </p:cNvPr>
            <p:cNvSpPr/>
            <p:nvPr/>
          </p:nvSpPr>
          <p:spPr>
            <a:xfrm>
              <a:off x="6798957" y="3221303"/>
              <a:ext cx="310329" cy="366628"/>
            </a:xfrm>
            <a:custGeom>
              <a:avLst/>
              <a:gdLst>
                <a:gd name="f0" fmla="val 10800000"/>
                <a:gd name="f1" fmla="val 5400000"/>
                <a:gd name="f2" fmla="val 180"/>
                <a:gd name="f3" fmla="val w"/>
                <a:gd name="f4" fmla="val h"/>
                <a:gd name="f5" fmla="val 0"/>
                <a:gd name="f6" fmla="val 126"/>
                <a:gd name="f7" fmla="val 137"/>
                <a:gd name="f8" fmla="val 127"/>
                <a:gd name="f9" fmla="val 133"/>
                <a:gd name="f10" fmla="val 122"/>
                <a:gd name="f11" fmla="val 117"/>
                <a:gd name="f12" fmla="val 9"/>
                <a:gd name="f13" fmla="val 4"/>
                <a:gd name="f14" fmla="+- 0 0 -90"/>
                <a:gd name="f15" fmla="*/ f3 1 126"/>
                <a:gd name="f16" fmla="*/ f4 1 137"/>
                <a:gd name="f17" fmla="val f5"/>
                <a:gd name="f18" fmla="val f6"/>
                <a:gd name="f19" fmla="val f7"/>
                <a:gd name="f20" fmla="*/ f14 f0 1"/>
                <a:gd name="f21" fmla="+- f19 0 f17"/>
                <a:gd name="f22" fmla="+- f18 0 f17"/>
                <a:gd name="f23" fmla="*/ f20 1 f2"/>
                <a:gd name="f24" fmla="*/ f22 1 126"/>
                <a:gd name="f25" fmla="*/ f21 1 137"/>
                <a:gd name="f26" fmla="*/ 126 f22 1"/>
                <a:gd name="f27" fmla="*/ 127 f21 1"/>
                <a:gd name="f28" fmla="*/ 117 f22 1"/>
                <a:gd name="f29" fmla="*/ 137 f21 1"/>
                <a:gd name="f30" fmla="*/ 9 f22 1"/>
                <a:gd name="f31" fmla="*/ 0 f22 1"/>
                <a:gd name="f32" fmla="*/ 9 f21 1"/>
                <a:gd name="f33" fmla="*/ 0 f21 1"/>
                <a:gd name="f34" fmla="+- f23 0 f1"/>
                <a:gd name="f35" fmla="*/ f26 1 126"/>
                <a:gd name="f36" fmla="*/ f27 1 137"/>
                <a:gd name="f37" fmla="*/ f28 1 126"/>
                <a:gd name="f38" fmla="*/ f29 1 137"/>
                <a:gd name="f39" fmla="*/ f30 1 126"/>
                <a:gd name="f40" fmla="*/ f31 1 126"/>
                <a:gd name="f41" fmla="*/ f32 1 137"/>
                <a:gd name="f42" fmla="*/ f33 1 137"/>
                <a:gd name="f43" fmla="*/ 0 1 f24"/>
                <a:gd name="f44" fmla="*/ f18 1 f24"/>
                <a:gd name="f45" fmla="*/ 0 1 f25"/>
                <a:gd name="f46" fmla="*/ f19 1 f25"/>
                <a:gd name="f47" fmla="*/ f35 1 f24"/>
                <a:gd name="f48" fmla="*/ f36 1 f25"/>
                <a:gd name="f49" fmla="*/ f37 1 f24"/>
                <a:gd name="f50" fmla="*/ f38 1 f25"/>
                <a:gd name="f51" fmla="*/ f39 1 f24"/>
                <a:gd name="f52" fmla="*/ f40 1 f24"/>
                <a:gd name="f53" fmla="*/ f41 1 f25"/>
                <a:gd name="f54" fmla="*/ f42 1 f25"/>
                <a:gd name="f55" fmla="*/ f43 f15 1"/>
                <a:gd name="f56" fmla="*/ f44 f15 1"/>
                <a:gd name="f57" fmla="*/ f46 f16 1"/>
                <a:gd name="f58" fmla="*/ f45 f16 1"/>
                <a:gd name="f59" fmla="*/ f47 f15 1"/>
                <a:gd name="f60" fmla="*/ f48 f16 1"/>
                <a:gd name="f61" fmla="*/ f49 f15 1"/>
                <a:gd name="f62" fmla="*/ f50 f16 1"/>
                <a:gd name="f63" fmla="*/ f51 f15 1"/>
                <a:gd name="f64" fmla="*/ f52 f15 1"/>
                <a:gd name="f65" fmla="*/ f53 f16 1"/>
                <a:gd name="f66" fmla="*/ f54 f16 1"/>
              </a:gdLst>
              <a:ahLst/>
              <a:cxnLst>
                <a:cxn ang="3cd4">
                  <a:pos x="hc" y="t"/>
                </a:cxn>
                <a:cxn ang="0">
                  <a:pos x="r" y="vc"/>
                </a:cxn>
                <a:cxn ang="cd4">
                  <a:pos x="hc" y="b"/>
                </a:cxn>
                <a:cxn ang="cd2">
                  <a:pos x="l" y="vc"/>
                </a:cxn>
                <a:cxn ang="f34">
                  <a:pos x="f59" y="f60"/>
                </a:cxn>
                <a:cxn ang="f34">
                  <a:pos x="f61" y="f62"/>
                </a:cxn>
                <a:cxn ang="f34">
                  <a:pos x="f63" y="f62"/>
                </a:cxn>
                <a:cxn ang="f34">
                  <a:pos x="f64" y="f60"/>
                </a:cxn>
                <a:cxn ang="f34">
                  <a:pos x="f64" y="f65"/>
                </a:cxn>
                <a:cxn ang="f34">
                  <a:pos x="f63" y="f66"/>
                </a:cxn>
                <a:cxn ang="f34">
                  <a:pos x="f61" y="f66"/>
                </a:cxn>
                <a:cxn ang="f34">
                  <a:pos x="f59" y="f65"/>
                </a:cxn>
                <a:cxn ang="f34">
                  <a:pos x="f59" y="f60"/>
                </a:cxn>
              </a:cxnLst>
              <a:rect l="f55" t="f58" r="f56" b="f57"/>
              <a:pathLst>
                <a:path w="126" h="137">
                  <a:moveTo>
                    <a:pt x="f6" y="f8"/>
                  </a:moveTo>
                  <a:cubicBezTo>
                    <a:pt x="f6" y="f9"/>
                    <a:pt x="f10" y="f7"/>
                    <a:pt x="f11" y="f7"/>
                  </a:cubicBezTo>
                  <a:cubicBezTo>
                    <a:pt x="f12" y="f7"/>
                    <a:pt x="f12" y="f7"/>
                    <a:pt x="f12" y="f7"/>
                  </a:cubicBezTo>
                  <a:cubicBezTo>
                    <a:pt x="f13" y="f7"/>
                    <a:pt x="f5" y="f9"/>
                    <a:pt x="f5" y="f8"/>
                  </a:cubicBezTo>
                  <a:cubicBezTo>
                    <a:pt x="f5" y="f12"/>
                    <a:pt x="f5" y="f12"/>
                    <a:pt x="f5" y="f12"/>
                  </a:cubicBezTo>
                  <a:cubicBezTo>
                    <a:pt x="f5" y="f13"/>
                    <a:pt x="f13" y="f5"/>
                    <a:pt x="f12" y="f5"/>
                  </a:cubicBezTo>
                  <a:cubicBezTo>
                    <a:pt x="f11" y="f5"/>
                    <a:pt x="f11" y="f5"/>
                    <a:pt x="f11" y="f5"/>
                  </a:cubicBezTo>
                  <a:cubicBezTo>
                    <a:pt x="f10" y="f5"/>
                    <a:pt x="f6" y="f13"/>
                    <a:pt x="f6" y="f12"/>
                  </a:cubicBezTo>
                  <a:lnTo>
                    <a:pt x="f6" y="f8"/>
                  </a:lnTo>
                  <a:close/>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002050"/>
                </a:solidFill>
                <a:latin typeface="Segoe UI Semilight"/>
              </a:endParaRPr>
            </a:p>
          </p:txBody>
        </p:sp>
        <p:sp>
          <p:nvSpPr>
            <p:cNvPr id="133" name="Freeform 47">
              <a:extLst>
                <a:ext uri="{FF2B5EF4-FFF2-40B4-BE49-F238E27FC236}">
                  <a16:creationId xmlns:a16="http://schemas.microsoft.com/office/drawing/2014/main" id="{F911270C-B19E-4D88-8BF5-922CDA2B8E37}"/>
                </a:ext>
              </a:extLst>
            </p:cNvPr>
            <p:cNvSpPr/>
            <p:nvPr/>
          </p:nvSpPr>
          <p:spPr>
            <a:xfrm>
              <a:off x="6560646" y="3631137"/>
              <a:ext cx="548640" cy="130942"/>
            </a:xfrm>
            <a:custGeom>
              <a:avLst/>
              <a:gdLst>
                <a:gd name="f0" fmla="val 10800000"/>
                <a:gd name="f1" fmla="val 5400000"/>
                <a:gd name="f2" fmla="val 180"/>
                <a:gd name="f3" fmla="val w"/>
                <a:gd name="f4" fmla="val h"/>
                <a:gd name="f5" fmla="val 0"/>
                <a:gd name="f6" fmla="val 223"/>
                <a:gd name="f7" fmla="val 49"/>
                <a:gd name="f8" fmla="val 46"/>
                <a:gd name="f9" fmla="val 48"/>
                <a:gd name="f10" fmla="val 216"/>
                <a:gd name="f11" fmla="val 208"/>
                <a:gd name="f12" fmla="val 15"/>
                <a:gd name="f13" fmla="val 7"/>
                <a:gd name="f14" fmla="val 3"/>
                <a:gd name="f15" fmla="val 1"/>
                <a:gd name="f16" fmla="+- 0 0 -90"/>
                <a:gd name="f17" fmla="*/ f3 1 223"/>
                <a:gd name="f18" fmla="*/ f4 1 49"/>
                <a:gd name="f19" fmla="val f5"/>
                <a:gd name="f20" fmla="val f6"/>
                <a:gd name="f21" fmla="val f7"/>
                <a:gd name="f22" fmla="*/ f16 f0 1"/>
                <a:gd name="f23" fmla="+- f21 0 f19"/>
                <a:gd name="f24" fmla="+- f20 0 f19"/>
                <a:gd name="f25" fmla="*/ f22 1 f2"/>
                <a:gd name="f26" fmla="*/ f24 1 223"/>
                <a:gd name="f27" fmla="*/ f23 1 49"/>
                <a:gd name="f28" fmla="*/ 223 f24 1"/>
                <a:gd name="f29" fmla="*/ 46 f23 1"/>
                <a:gd name="f30" fmla="*/ 208 f24 1"/>
                <a:gd name="f31" fmla="*/ 49 f23 1"/>
                <a:gd name="f32" fmla="*/ 15 f24 1"/>
                <a:gd name="f33" fmla="*/ 0 f24 1"/>
                <a:gd name="f34" fmla="*/ 3 f23 1"/>
                <a:gd name="f35" fmla="*/ 0 f23 1"/>
                <a:gd name="f36" fmla="+- f25 0 f1"/>
                <a:gd name="f37" fmla="*/ f28 1 223"/>
                <a:gd name="f38" fmla="*/ f29 1 49"/>
                <a:gd name="f39" fmla="*/ f30 1 223"/>
                <a:gd name="f40" fmla="*/ f31 1 49"/>
                <a:gd name="f41" fmla="*/ f32 1 223"/>
                <a:gd name="f42" fmla="*/ f33 1 223"/>
                <a:gd name="f43" fmla="*/ f34 1 49"/>
                <a:gd name="f44" fmla="*/ f35 1 49"/>
                <a:gd name="f45" fmla="*/ 0 1 f26"/>
                <a:gd name="f46" fmla="*/ f20 1 f26"/>
                <a:gd name="f47" fmla="*/ 0 1 f27"/>
                <a:gd name="f48" fmla="*/ f21 1 f27"/>
                <a:gd name="f49" fmla="*/ f37 1 f26"/>
                <a:gd name="f50" fmla="*/ f38 1 f27"/>
                <a:gd name="f51" fmla="*/ f39 1 f26"/>
                <a:gd name="f52" fmla="*/ f40 1 f27"/>
                <a:gd name="f53" fmla="*/ f41 1 f26"/>
                <a:gd name="f54" fmla="*/ f42 1 f26"/>
                <a:gd name="f55" fmla="*/ f43 1 f27"/>
                <a:gd name="f56" fmla="*/ f44 1 f27"/>
                <a:gd name="f57" fmla="*/ f45 f17 1"/>
                <a:gd name="f58" fmla="*/ f46 f17 1"/>
                <a:gd name="f59" fmla="*/ f48 f18 1"/>
                <a:gd name="f60" fmla="*/ f47 f18 1"/>
                <a:gd name="f61" fmla="*/ f49 f17 1"/>
                <a:gd name="f62" fmla="*/ f50 f18 1"/>
                <a:gd name="f63" fmla="*/ f51 f17 1"/>
                <a:gd name="f64" fmla="*/ f52 f18 1"/>
                <a:gd name="f65" fmla="*/ f53 f17 1"/>
                <a:gd name="f66" fmla="*/ f54 f17 1"/>
                <a:gd name="f67" fmla="*/ f55 f18 1"/>
                <a:gd name="f68" fmla="*/ f56 f18 1"/>
              </a:gdLst>
              <a:ahLst/>
              <a:cxnLst>
                <a:cxn ang="3cd4">
                  <a:pos x="hc" y="t"/>
                </a:cxn>
                <a:cxn ang="0">
                  <a:pos x="r" y="vc"/>
                </a:cxn>
                <a:cxn ang="cd4">
                  <a:pos x="hc" y="b"/>
                </a:cxn>
                <a:cxn ang="cd2">
                  <a:pos x="l" y="vc"/>
                </a:cxn>
                <a:cxn ang="f36">
                  <a:pos x="f61" y="f62"/>
                </a:cxn>
                <a:cxn ang="f36">
                  <a:pos x="f63" y="f64"/>
                </a:cxn>
                <a:cxn ang="f36">
                  <a:pos x="f65" y="f64"/>
                </a:cxn>
                <a:cxn ang="f36">
                  <a:pos x="f66" y="f62"/>
                </a:cxn>
                <a:cxn ang="f36">
                  <a:pos x="f66" y="f67"/>
                </a:cxn>
                <a:cxn ang="f36">
                  <a:pos x="f65" y="f68"/>
                </a:cxn>
                <a:cxn ang="f36">
                  <a:pos x="f63" y="f68"/>
                </a:cxn>
                <a:cxn ang="f36">
                  <a:pos x="f61" y="f67"/>
                </a:cxn>
                <a:cxn ang="f36">
                  <a:pos x="f61" y="f62"/>
                </a:cxn>
              </a:cxnLst>
              <a:rect l="f57" t="f60" r="f58" b="f59"/>
              <a:pathLst>
                <a:path w="223" h="49">
                  <a:moveTo>
                    <a:pt x="f6" y="f8"/>
                  </a:moveTo>
                  <a:cubicBezTo>
                    <a:pt x="f6" y="f9"/>
                    <a:pt x="f10" y="f7"/>
                    <a:pt x="f11" y="f7"/>
                  </a:cubicBezTo>
                  <a:cubicBezTo>
                    <a:pt x="f12" y="f7"/>
                    <a:pt x="f12" y="f7"/>
                    <a:pt x="f12" y="f7"/>
                  </a:cubicBezTo>
                  <a:cubicBezTo>
                    <a:pt x="f13" y="f7"/>
                    <a:pt x="f5" y="f9"/>
                    <a:pt x="f5" y="f8"/>
                  </a:cubicBezTo>
                  <a:cubicBezTo>
                    <a:pt x="f5" y="f14"/>
                    <a:pt x="f5" y="f14"/>
                    <a:pt x="f5" y="f14"/>
                  </a:cubicBezTo>
                  <a:cubicBezTo>
                    <a:pt x="f5" y="f15"/>
                    <a:pt x="f13" y="f5"/>
                    <a:pt x="f12" y="f5"/>
                  </a:cubicBezTo>
                  <a:cubicBezTo>
                    <a:pt x="f11" y="f5"/>
                    <a:pt x="f11" y="f5"/>
                    <a:pt x="f11" y="f5"/>
                  </a:cubicBezTo>
                  <a:cubicBezTo>
                    <a:pt x="f10" y="f5"/>
                    <a:pt x="f6" y="f15"/>
                    <a:pt x="f6" y="f14"/>
                  </a:cubicBezTo>
                  <a:lnTo>
                    <a:pt x="f6" y="f8"/>
                  </a:lnTo>
                  <a:close/>
                </a:path>
              </a:pathLst>
            </a:custGeom>
            <a:noFill/>
            <a:ln w="28575" cap="flat">
              <a:solidFill>
                <a:schemeClr val="accent1"/>
              </a:solidFill>
              <a:prstDash val="solid"/>
              <a:miter/>
            </a:ln>
          </p:spPr>
          <p:txBody>
            <a:bodyPr vert="horz" wrap="square" lIns="69944" tIns="34976" rIns="69944" bIns="34976"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77">
                <a:solidFill>
                  <a:srgbClr val="002050"/>
                </a:solidFill>
                <a:latin typeface="Segoe UI Semilight"/>
              </a:endParaRPr>
            </a:p>
          </p:txBody>
        </p:sp>
      </p:grpSp>
      <p:sp>
        <p:nvSpPr>
          <p:cNvPr id="134" name="TextBox 133">
            <a:extLst>
              <a:ext uri="{FF2B5EF4-FFF2-40B4-BE49-F238E27FC236}">
                <a16:creationId xmlns:a16="http://schemas.microsoft.com/office/drawing/2014/main" id="{04FAFCF0-F5B0-4429-830F-5A23F3560C8A}"/>
              </a:ext>
            </a:extLst>
          </p:cNvPr>
          <p:cNvSpPr txBox="1"/>
          <p:nvPr/>
        </p:nvSpPr>
        <p:spPr>
          <a:xfrm>
            <a:off x="1001365" y="1047750"/>
            <a:ext cx="2637551" cy="461665"/>
          </a:xfrm>
          <a:prstGeom prst="rect">
            <a:avLst/>
          </a:prstGeom>
          <a:noFill/>
        </p:spPr>
        <p:txBody>
          <a:bodyPr wrap="square" lIns="0" tIns="0" rIns="0" bIns="0" rtlCol="0">
            <a:spAutoFit/>
          </a:bodyPr>
          <a:lstStyle/>
          <a:p>
            <a:pPr defTabSz="685775" eaLnBrk="1" fontAlgn="auto" hangingPunct="1">
              <a:spcBef>
                <a:spcPts val="0"/>
              </a:spcBef>
              <a:spcAft>
                <a:spcPts val="0"/>
              </a:spcAft>
              <a:defRPr/>
            </a:pPr>
            <a:r>
              <a:rPr lang="en-AU" sz="3000">
                <a:gradFill>
                  <a:gsLst>
                    <a:gs pos="2917">
                      <a:srgbClr val="000000"/>
                    </a:gs>
                    <a:gs pos="30000">
                      <a:srgbClr val="000000"/>
                    </a:gs>
                  </a:gsLst>
                  <a:lin ang="5400000" scaled="0"/>
                </a:gradFill>
                <a:latin typeface="Segoe UI Semibold"/>
              </a:rPr>
              <a:t>Authentication</a:t>
            </a:r>
          </a:p>
        </p:txBody>
      </p:sp>
      <p:sp>
        <p:nvSpPr>
          <p:cNvPr id="135" name="TextBox 134">
            <a:extLst>
              <a:ext uri="{FF2B5EF4-FFF2-40B4-BE49-F238E27FC236}">
                <a16:creationId xmlns:a16="http://schemas.microsoft.com/office/drawing/2014/main" id="{0AC35802-C0B6-455B-99DC-668F90A88B65}"/>
              </a:ext>
            </a:extLst>
          </p:cNvPr>
          <p:cNvSpPr txBox="1"/>
          <p:nvPr/>
        </p:nvSpPr>
        <p:spPr>
          <a:xfrm>
            <a:off x="5497171" y="1050232"/>
            <a:ext cx="2637551" cy="461665"/>
          </a:xfrm>
          <a:prstGeom prst="rect">
            <a:avLst/>
          </a:prstGeom>
          <a:noFill/>
        </p:spPr>
        <p:txBody>
          <a:bodyPr wrap="square" lIns="0" tIns="0" rIns="0" bIns="0" rtlCol="0">
            <a:spAutoFit/>
          </a:bodyPr>
          <a:lstStyle/>
          <a:p>
            <a:pPr defTabSz="685775" eaLnBrk="1" fontAlgn="auto" hangingPunct="1">
              <a:spcBef>
                <a:spcPts val="0"/>
              </a:spcBef>
              <a:spcAft>
                <a:spcPts val="0"/>
              </a:spcAft>
              <a:defRPr/>
            </a:pPr>
            <a:r>
              <a:rPr lang="en-AU" sz="3000">
                <a:gradFill>
                  <a:gsLst>
                    <a:gs pos="2917">
                      <a:srgbClr val="000000"/>
                    </a:gs>
                    <a:gs pos="30000">
                      <a:srgbClr val="000000"/>
                    </a:gs>
                  </a:gsLst>
                  <a:lin ang="5400000" scaled="0"/>
                </a:gradFill>
                <a:latin typeface="Segoe UI Semibold"/>
              </a:rPr>
              <a:t>Authorization</a:t>
            </a:r>
          </a:p>
        </p:txBody>
      </p:sp>
      <p:sp>
        <p:nvSpPr>
          <p:cNvPr id="136" name="TextBox 135">
            <a:extLst>
              <a:ext uri="{FF2B5EF4-FFF2-40B4-BE49-F238E27FC236}">
                <a16:creationId xmlns:a16="http://schemas.microsoft.com/office/drawing/2014/main" id="{3E2D610C-AF93-4987-AF9C-1EEC6B6CFEE9}"/>
              </a:ext>
            </a:extLst>
          </p:cNvPr>
          <p:cNvSpPr txBox="1"/>
          <p:nvPr/>
        </p:nvSpPr>
        <p:spPr>
          <a:xfrm>
            <a:off x="2467041" y="2151360"/>
            <a:ext cx="1958434" cy="230832"/>
          </a:xfrm>
          <a:prstGeom prst="rect">
            <a:avLst/>
          </a:prstGeom>
          <a:noFill/>
        </p:spPr>
        <p:txBody>
          <a:bodyPr wrap="square" lIns="0" tIns="0" rIns="0" bIns="0" rtlCol="0">
            <a:spAutoFit/>
          </a:bodyPr>
          <a:lstStyle/>
          <a:p>
            <a:pPr defTabSz="685775" eaLnBrk="1" fontAlgn="auto" hangingPunct="1">
              <a:spcBef>
                <a:spcPts val="0"/>
              </a:spcBef>
              <a:spcAft>
                <a:spcPts val="0"/>
              </a:spcAft>
              <a:defRPr/>
            </a:pPr>
            <a:r>
              <a:rPr lang="en-AU" sz="1500">
                <a:gradFill>
                  <a:gsLst>
                    <a:gs pos="2917">
                      <a:srgbClr val="000000"/>
                    </a:gs>
                    <a:gs pos="30000">
                      <a:srgbClr val="000000"/>
                    </a:gs>
                  </a:gsLst>
                  <a:lin ang="5400000" scaled="0"/>
                </a:gradFill>
                <a:latin typeface="Segoe UI"/>
              </a:rPr>
              <a:t>Something you know</a:t>
            </a:r>
          </a:p>
        </p:txBody>
      </p:sp>
      <p:grpSp>
        <p:nvGrpSpPr>
          <p:cNvPr id="137" name="Group 94">
            <a:extLst>
              <a:ext uri="{FF2B5EF4-FFF2-40B4-BE49-F238E27FC236}">
                <a16:creationId xmlns:a16="http://schemas.microsoft.com/office/drawing/2014/main" id="{318E669E-4959-4959-A026-A4A4A132C770}"/>
              </a:ext>
            </a:extLst>
          </p:cNvPr>
          <p:cNvGrpSpPr/>
          <p:nvPr/>
        </p:nvGrpSpPr>
        <p:grpSpPr>
          <a:xfrm>
            <a:off x="1798133" y="3765293"/>
            <a:ext cx="351099" cy="424842"/>
            <a:chOff x="6143890" y="3148580"/>
            <a:chExt cx="560170" cy="677827"/>
          </a:xfrm>
        </p:grpSpPr>
        <p:sp>
          <p:nvSpPr>
            <p:cNvPr id="138" name="Freeform 2117">
              <a:extLst>
                <a:ext uri="{FF2B5EF4-FFF2-40B4-BE49-F238E27FC236}">
                  <a16:creationId xmlns:a16="http://schemas.microsoft.com/office/drawing/2014/main" id="{1CFD8A30-AC1F-45A8-99EA-9A1A574756F0}"/>
                </a:ext>
              </a:extLst>
            </p:cNvPr>
            <p:cNvSpPr/>
            <p:nvPr/>
          </p:nvSpPr>
          <p:spPr>
            <a:xfrm>
              <a:off x="6220626" y="3529702"/>
              <a:ext cx="217416" cy="253224"/>
            </a:xfrm>
            <a:custGeom>
              <a:avLst/>
              <a:gdLst>
                <a:gd name="f0" fmla="val 10800000"/>
                <a:gd name="f1" fmla="val 5400000"/>
                <a:gd name="f2" fmla="val 180"/>
                <a:gd name="f3" fmla="val w"/>
                <a:gd name="f4" fmla="val h"/>
                <a:gd name="f5" fmla="val 0"/>
                <a:gd name="f6" fmla="val 36"/>
                <a:gd name="f7" fmla="val 42"/>
                <a:gd name="f8" fmla="val 4"/>
                <a:gd name="f9" fmla="val 3"/>
                <a:gd name="f10" fmla="val 1"/>
                <a:gd name="f11" fmla="val 41"/>
                <a:gd name="f12" fmla="val 39"/>
                <a:gd name="f13" fmla="val 37"/>
                <a:gd name="f14" fmla="val 35"/>
                <a:gd name="f15" fmla="val 34"/>
                <a:gd name="f16" fmla="val 17"/>
                <a:gd name="f17" fmla="val 29"/>
                <a:gd name="f18" fmla="val 25"/>
                <a:gd name="f19" fmla="val 11"/>
                <a:gd name="f20" fmla="val 27"/>
                <a:gd name="f21" fmla="val 28"/>
                <a:gd name="f22" fmla="val 2"/>
                <a:gd name="f23" fmla="val 30"/>
                <a:gd name="f24" fmla="val 32"/>
                <a:gd name="f25" fmla="val 6"/>
                <a:gd name="f26" fmla="val 33"/>
                <a:gd name="f27" fmla="val 13"/>
                <a:gd name="f28" fmla="val 24"/>
                <a:gd name="f29" fmla="val 5"/>
                <a:gd name="f30" fmla="+- 0 0 -90"/>
                <a:gd name="f31" fmla="*/ f3 1 36"/>
                <a:gd name="f32" fmla="*/ f4 1 42"/>
                <a:gd name="f33" fmla="val f5"/>
                <a:gd name="f34" fmla="val f6"/>
                <a:gd name="f35" fmla="val f7"/>
                <a:gd name="f36" fmla="*/ f30 f0 1"/>
                <a:gd name="f37" fmla="+- f35 0 f33"/>
                <a:gd name="f38" fmla="+- f34 0 f33"/>
                <a:gd name="f39" fmla="*/ f36 1 f2"/>
                <a:gd name="f40" fmla="*/ f38 1 36"/>
                <a:gd name="f41" fmla="*/ f37 1 42"/>
                <a:gd name="f42" fmla="*/ 4 f38 1"/>
                <a:gd name="f43" fmla="*/ 42 f37 1"/>
                <a:gd name="f44" fmla="*/ 1 f38 1"/>
                <a:gd name="f45" fmla="*/ 39 f37 1"/>
                <a:gd name="f46" fmla="*/ 3 f38 1"/>
                <a:gd name="f47" fmla="*/ 34 f37 1"/>
                <a:gd name="f48" fmla="*/ 27 f38 1"/>
                <a:gd name="f49" fmla="*/ 4 f37 1"/>
                <a:gd name="f50" fmla="*/ 32 f38 1"/>
                <a:gd name="f51" fmla="*/ 1 f37 1"/>
                <a:gd name="f52" fmla="*/ 35 f38 1"/>
                <a:gd name="f53" fmla="*/ 6 f37 1"/>
                <a:gd name="f54" fmla="*/ 6 f38 1"/>
                <a:gd name="f55" fmla="*/ 41 f37 1"/>
                <a:gd name="f56" fmla="+- f39 0 f1"/>
                <a:gd name="f57" fmla="*/ f42 1 36"/>
                <a:gd name="f58" fmla="*/ f43 1 42"/>
                <a:gd name="f59" fmla="*/ f44 1 36"/>
                <a:gd name="f60" fmla="*/ f45 1 42"/>
                <a:gd name="f61" fmla="*/ f46 1 36"/>
                <a:gd name="f62" fmla="*/ f47 1 42"/>
                <a:gd name="f63" fmla="*/ f48 1 36"/>
                <a:gd name="f64" fmla="*/ f49 1 42"/>
                <a:gd name="f65" fmla="*/ f50 1 36"/>
                <a:gd name="f66" fmla="*/ f51 1 42"/>
                <a:gd name="f67" fmla="*/ f52 1 36"/>
                <a:gd name="f68" fmla="*/ f53 1 42"/>
                <a:gd name="f69" fmla="*/ f54 1 36"/>
                <a:gd name="f70" fmla="*/ f55 1 42"/>
                <a:gd name="f71" fmla="*/ 0 1 f40"/>
                <a:gd name="f72" fmla="*/ f34 1 f40"/>
                <a:gd name="f73" fmla="*/ 0 1 f41"/>
                <a:gd name="f74" fmla="*/ f35 1 f41"/>
                <a:gd name="f75" fmla="*/ f57 1 f40"/>
                <a:gd name="f76" fmla="*/ f58 1 f41"/>
                <a:gd name="f77" fmla="*/ f59 1 f40"/>
                <a:gd name="f78" fmla="*/ f60 1 f41"/>
                <a:gd name="f79" fmla="*/ f61 1 f40"/>
                <a:gd name="f80" fmla="*/ f62 1 f41"/>
                <a:gd name="f81" fmla="*/ f63 1 f40"/>
                <a:gd name="f82" fmla="*/ f64 1 f41"/>
                <a:gd name="f83" fmla="*/ f65 1 f40"/>
                <a:gd name="f84" fmla="*/ f66 1 f41"/>
                <a:gd name="f85" fmla="*/ f67 1 f40"/>
                <a:gd name="f86" fmla="*/ f68 1 f41"/>
                <a:gd name="f87" fmla="*/ f69 1 f40"/>
                <a:gd name="f88" fmla="*/ f70 1 f41"/>
                <a:gd name="f89" fmla="*/ f71 f31 1"/>
                <a:gd name="f90" fmla="*/ f72 f31 1"/>
                <a:gd name="f91" fmla="*/ f74 f32 1"/>
                <a:gd name="f92" fmla="*/ f73 f32 1"/>
                <a:gd name="f93" fmla="*/ f75 f31 1"/>
                <a:gd name="f94" fmla="*/ f76 f32 1"/>
                <a:gd name="f95" fmla="*/ f77 f31 1"/>
                <a:gd name="f96" fmla="*/ f78 f32 1"/>
                <a:gd name="f97" fmla="*/ f79 f31 1"/>
                <a:gd name="f98" fmla="*/ f80 f32 1"/>
                <a:gd name="f99" fmla="*/ f81 f31 1"/>
                <a:gd name="f100" fmla="*/ f82 f32 1"/>
                <a:gd name="f101" fmla="*/ f83 f31 1"/>
                <a:gd name="f102" fmla="*/ f84 f32 1"/>
                <a:gd name="f103" fmla="*/ f85 f31 1"/>
                <a:gd name="f104" fmla="*/ f86 f32 1"/>
                <a:gd name="f105" fmla="*/ f87 f31 1"/>
                <a:gd name="f106" fmla="*/ f88 f32 1"/>
              </a:gdLst>
              <a:ahLst/>
              <a:cxnLst>
                <a:cxn ang="3cd4">
                  <a:pos x="hc" y="t"/>
                </a:cxn>
                <a:cxn ang="0">
                  <a:pos x="r" y="vc"/>
                </a:cxn>
                <a:cxn ang="cd4">
                  <a:pos x="hc" y="b"/>
                </a:cxn>
                <a:cxn ang="cd2">
                  <a:pos x="l" y="vc"/>
                </a:cxn>
                <a:cxn ang="f56">
                  <a:pos x="f93" y="f94"/>
                </a:cxn>
                <a:cxn ang="f56">
                  <a:pos x="f95" y="f96"/>
                </a:cxn>
                <a:cxn ang="f56">
                  <a:pos x="f97" y="f98"/>
                </a:cxn>
                <a:cxn ang="f56">
                  <a:pos x="f99" y="f100"/>
                </a:cxn>
                <a:cxn ang="f56">
                  <a:pos x="f101" y="f102"/>
                </a:cxn>
                <a:cxn ang="f56">
                  <a:pos x="f103" y="f104"/>
                </a:cxn>
                <a:cxn ang="f56">
                  <a:pos x="f105" y="f106"/>
                </a:cxn>
                <a:cxn ang="f56">
                  <a:pos x="f93" y="f94"/>
                </a:cxn>
              </a:cxnLst>
              <a:rect l="f89" t="f92" r="f90" b="f91"/>
              <a:pathLst>
                <a:path w="36" h="42">
                  <a:moveTo>
                    <a:pt x="f8" y="f7"/>
                  </a:moveTo>
                  <a:cubicBezTo>
                    <a:pt x="f9" y="f7"/>
                    <a:pt x="f10" y="f11"/>
                    <a:pt x="f10" y="f12"/>
                  </a:cubicBezTo>
                  <a:cubicBezTo>
                    <a:pt x="f5" y="f13"/>
                    <a:pt x="f10" y="f14"/>
                    <a:pt x="f9" y="f15"/>
                  </a:cubicBezTo>
                  <a:cubicBezTo>
                    <a:pt x="f16" y="f17"/>
                    <a:pt x="f18" y="f19"/>
                    <a:pt x="f20" y="f8"/>
                  </a:cubicBezTo>
                  <a:cubicBezTo>
                    <a:pt x="f21" y="f22"/>
                    <a:pt x="f23" y="f5"/>
                    <a:pt x="f24" y="f10"/>
                  </a:cubicBezTo>
                  <a:cubicBezTo>
                    <a:pt x="f15" y="f10"/>
                    <a:pt x="f6" y="f8"/>
                    <a:pt x="f14" y="f25"/>
                  </a:cubicBezTo>
                  <a:cubicBezTo>
                    <a:pt x="f26" y="f27"/>
                    <a:pt x="f28" y="f14"/>
                    <a:pt x="f25" y="f11"/>
                  </a:cubicBezTo>
                  <a:cubicBezTo>
                    <a:pt x="f29" y="f7"/>
                    <a:pt x="f29" y="f7"/>
                    <a:pt x="f8" y="f7"/>
                  </a:cubicBezTo>
                  <a:close/>
                </a:path>
              </a:pathLst>
            </a:custGeom>
            <a:solidFill>
              <a:srgbClr val="0078D7"/>
            </a:solidFill>
            <a:ln cap="flat">
              <a:solidFill>
                <a:schemeClr val="accent1"/>
              </a:solid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sp>
          <p:nvSpPr>
            <p:cNvPr id="139" name="Freeform 2118">
              <a:extLst>
                <a:ext uri="{FF2B5EF4-FFF2-40B4-BE49-F238E27FC236}">
                  <a16:creationId xmlns:a16="http://schemas.microsoft.com/office/drawing/2014/main" id="{3B79A247-0349-4A8E-8396-C326D703F433}"/>
                </a:ext>
              </a:extLst>
            </p:cNvPr>
            <p:cNvSpPr/>
            <p:nvPr/>
          </p:nvSpPr>
          <p:spPr>
            <a:xfrm>
              <a:off x="6189930" y="3437613"/>
              <a:ext cx="340193" cy="388793"/>
            </a:xfrm>
            <a:custGeom>
              <a:avLst/>
              <a:gdLst>
                <a:gd name="f0" fmla="val 10800000"/>
                <a:gd name="f1" fmla="val 5400000"/>
                <a:gd name="f2" fmla="val 180"/>
                <a:gd name="f3" fmla="val w"/>
                <a:gd name="f4" fmla="val h"/>
                <a:gd name="f5" fmla="val 0"/>
                <a:gd name="f6" fmla="val 56"/>
                <a:gd name="f7" fmla="val 64"/>
                <a:gd name="f8" fmla="val 28"/>
                <a:gd name="f9" fmla="val 27"/>
                <a:gd name="f10" fmla="val 26"/>
                <a:gd name="f11" fmla="val 63"/>
                <a:gd name="f12" fmla="val 25"/>
                <a:gd name="f13" fmla="val 62"/>
                <a:gd name="f14" fmla="val 24"/>
                <a:gd name="f15" fmla="val 60"/>
                <a:gd name="f16" fmla="val 58"/>
                <a:gd name="f17" fmla="val 37"/>
                <a:gd name="f18" fmla="val 49"/>
                <a:gd name="f19" fmla="val 48"/>
                <a:gd name="f20" fmla="val 29"/>
                <a:gd name="f21" fmla="val 20"/>
                <a:gd name="f22" fmla="val 13"/>
                <a:gd name="f23" fmla="val 8"/>
                <a:gd name="f24" fmla="val 36"/>
                <a:gd name="f25" fmla="val 30"/>
                <a:gd name="f26" fmla="val 12"/>
                <a:gd name="f27" fmla="val 23"/>
                <a:gd name="f28" fmla="val 22"/>
                <a:gd name="f29" fmla="val 21"/>
                <a:gd name="f30" fmla="val 15"/>
                <a:gd name="f31" fmla="val 6"/>
                <a:gd name="f32" fmla="val 39"/>
                <a:gd name="f33" fmla="val 4"/>
                <a:gd name="f34" fmla="val 40"/>
                <a:gd name="f35" fmla="val 1"/>
                <a:gd name="f36" fmla="val 35"/>
                <a:gd name="f37" fmla="val 33"/>
                <a:gd name="f38" fmla="val 3"/>
                <a:gd name="f39" fmla="val 32"/>
                <a:gd name="f40" fmla="val 16"/>
                <a:gd name="f41" fmla="val 19"/>
                <a:gd name="f42" fmla="val 17"/>
                <a:gd name="f43" fmla="val 9"/>
                <a:gd name="f44" fmla="val 43"/>
                <a:gd name="f45" fmla="val 55"/>
                <a:gd name="f46" fmla="+- 0 0 -90"/>
                <a:gd name="f47" fmla="*/ f3 1 56"/>
                <a:gd name="f48" fmla="*/ f4 1 64"/>
                <a:gd name="f49" fmla="val f5"/>
                <a:gd name="f50" fmla="val f6"/>
                <a:gd name="f51" fmla="val f7"/>
                <a:gd name="f52" fmla="*/ f46 f0 1"/>
                <a:gd name="f53" fmla="+- f51 0 f49"/>
                <a:gd name="f54" fmla="+- f50 0 f49"/>
                <a:gd name="f55" fmla="*/ f52 1 f2"/>
                <a:gd name="f56" fmla="*/ f54 1 56"/>
                <a:gd name="f57" fmla="*/ f53 1 64"/>
                <a:gd name="f58" fmla="*/ 28 f54 1"/>
                <a:gd name="f59" fmla="*/ 64 f53 1"/>
                <a:gd name="f60" fmla="*/ 25 f54 1"/>
                <a:gd name="f61" fmla="*/ 62 f53 1"/>
                <a:gd name="f62" fmla="*/ 26 f54 1"/>
                <a:gd name="f63" fmla="*/ 56 f53 1"/>
                <a:gd name="f64" fmla="*/ 48 f54 1"/>
                <a:gd name="f65" fmla="*/ 20 f53 1"/>
                <a:gd name="f66" fmla="*/ 36 f54 1"/>
                <a:gd name="f67" fmla="*/ 8 f53 1"/>
                <a:gd name="f68" fmla="*/ 24 f54 1"/>
                <a:gd name="f69" fmla="*/ 23 f54 1"/>
                <a:gd name="f70" fmla="*/ 22 f53 1"/>
                <a:gd name="f71" fmla="*/ 6 f54 1"/>
                <a:gd name="f72" fmla="*/ 39 f53 1"/>
                <a:gd name="f73" fmla="*/ 1 f54 1"/>
                <a:gd name="f74" fmla="*/ 37 f53 1"/>
                <a:gd name="f75" fmla="*/ 3 f54 1"/>
                <a:gd name="f76" fmla="*/ 32 f53 1"/>
                <a:gd name="f77" fmla="*/ 16 f54 1"/>
                <a:gd name="f78" fmla="*/ 19 f53 1"/>
                <a:gd name="f79" fmla="*/ 17 f54 1"/>
                <a:gd name="f80" fmla="*/ 17 f53 1"/>
                <a:gd name="f81" fmla="*/ 0 f53 1"/>
                <a:gd name="f82" fmla="*/ 56 f54 1"/>
                <a:gd name="f83" fmla="*/ 30 f54 1"/>
                <a:gd name="f84" fmla="*/ 63 f53 1"/>
                <a:gd name="f85" fmla="+- f55 0 f1"/>
                <a:gd name="f86" fmla="*/ f58 1 56"/>
                <a:gd name="f87" fmla="*/ f59 1 64"/>
                <a:gd name="f88" fmla="*/ f60 1 56"/>
                <a:gd name="f89" fmla="*/ f61 1 64"/>
                <a:gd name="f90" fmla="*/ f62 1 56"/>
                <a:gd name="f91" fmla="*/ f63 1 64"/>
                <a:gd name="f92" fmla="*/ f64 1 56"/>
                <a:gd name="f93" fmla="*/ f65 1 64"/>
                <a:gd name="f94" fmla="*/ f66 1 56"/>
                <a:gd name="f95" fmla="*/ f67 1 64"/>
                <a:gd name="f96" fmla="*/ f68 1 56"/>
                <a:gd name="f97" fmla="*/ f69 1 56"/>
                <a:gd name="f98" fmla="*/ f70 1 64"/>
                <a:gd name="f99" fmla="*/ f71 1 56"/>
                <a:gd name="f100" fmla="*/ f72 1 64"/>
                <a:gd name="f101" fmla="*/ f73 1 56"/>
                <a:gd name="f102" fmla="*/ f74 1 64"/>
                <a:gd name="f103" fmla="*/ f75 1 56"/>
                <a:gd name="f104" fmla="*/ f76 1 64"/>
                <a:gd name="f105" fmla="*/ f77 1 56"/>
                <a:gd name="f106" fmla="*/ f78 1 64"/>
                <a:gd name="f107" fmla="*/ f79 1 56"/>
                <a:gd name="f108" fmla="*/ f80 1 64"/>
                <a:gd name="f109" fmla="*/ f81 1 64"/>
                <a:gd name="f110" fmla="*/ f82 1 56"/>
                <a:gd name="f111" fmla="*/ f83 1 56"/>
                <a:gd name="f112" fmla="*/ f84 1 64"/>
                <a:gd name="f113" fmla="*/ 0 1 f56"/>
                <a:gd name="f114" fmla="*/ f50 1 f56"/>
                <a:gd name="f115" fmla="*/ 0 1 f57"/>
                <a:gd name="f116" fmla="*/ f51 1 f57"/>
                <a:gd name="f117" fmla="*/ f86 1 f56"/>
                <a:gd name="f118" fmla="*/ f87 1 f57"/>
                <a:gd name="f119" fmla="*/ f88 1 f56"/>
                <a:gd name="f120" fmla="*/ f89 1 f57"/>
                <a:gd name="f121" fmla="*/ f90 1 f56"/>
                <a:gd name="f122" fmla="*/ f91 1 f57"/>
                <a:gd name="f123" fmla="*/ f92 1 f56"/>
                <a:gd name="f124" fmla="*/ f93 1 f57"/>
                <a:gd name="f125" fmla="*/ f94 1 f56"/>
                <a:gd name="f126" fmla="*/ f95 1 f57"/>
                <a:gd name="f127" fmla="*/ f96 1 f56"/>
                <a:gd name="f128" fmla="*/ f97 1 f56"/>
                <a:gd name="f129" fmla="*/ f98 1 f57"/>
                <a:gd name="f130" fmla="*/ f99 1 f56"/>
                <a:gd name="f131" fmla="*/ f100 1 f57"/>
                <a:gd name="f132" fmla="*/ f101 1 f56"/>
                <a:gd name="f133" fmla="*/ f102 1 f57"/>
                <a:gd name="f134" fmla="*/ f103 1 f56"/>
                <a:gd name="f135" fmla="*/ f104 1 f57"/>
                <a:gd name="f136" fmla="*/ f105 1 f56"/>
                <a:gd name="f137" fmla="*/ f106 1 f57"/>
                <a:gd name="f138" fmla="*/ f107 1 f56"/>
                <a:gd name="f139" fmla="*/ f108 1 f57"/>
                <a:gd name="f140" fmla="*/ f109 1 f57"/>
                <a:gd name="f141" fmla="*/ f110 1 f56"/>
                <a:gd name="f142" fmla="*/ f111 1 f56"/>
                <a:gd name="f143" fmla="*/ f112 1 f57"/>
                <a:gd name="f144" fmla="*/ f113 f47 1"/>
                <a:gd name="f145" fmla="*/ f114 f47 1"/>
                <a:gd name="f146" fmla="*/ f116 f48 1"/>
                <a:gd name="f147" fmla="*/ f115 f48 1"/>
                <a:gd name="f148" fmla="*/ f117 f47 1"/>
                <a:gd name="f149" fmla="*/ f118 f48 1"/>
                <a:gd name="f150" fmla="*/ f119 f47 1"/>
                <a:gd name="f151" fmla="*/ f120 f48 1"/>
                <a:gd name="f152" fmla="*/ f121 f47 1"/>
                <a:gd name="f153" fmla="*/ f122 f48 1"/>
                <a:gd name="f154" fmla="*/ f123 f47 1"/>
                <a:gd name="f155" fmla="*/ f124 f48 1"/>
                <a:gd name="f156" fmla="*/ f125 f47 1"/>
                <a:gd name="f157" fmla="*/ f126 f48 1"/>
                <a:gd name="f158" fmla="*/ f127 f47 1"/>
                <a:gd name="f159" fmla="*/ f128 f47 1"/>
                <a:gd name="f160" fmla="*/ f129 f48 1"/>
                <a:gd name="f161" fmla="*/ f130 f47 1"/>
                <a:gd name="f162" fmla="*/ f131 f48 1"/>
                <a:gd name="f163" fmla="*/ f132 f47 1"/>
                <a:gd name="f164" fmla="*/ f133 f48 1"/>
                <a:gd name="f165" fmla="*/ f134 f47 1"/>
                <a:gd name="f166" fmla="*/ f135 f48 1"/>
                <a:gd name="f167" fmla="*/ f136 f47 1"/>
                <a:gd name="f168" fmla="*/ f137 f48 1"/>
                <a:gd name="f169" fmla="*/ f138 f47 1"/>
                <a:gd name="f170" fmla="*/ f139 f48 1"/>
                <a:gd name="f171" fmla="*/ f140 f48 1"/>
                <a:gd name="f172" fmla="*/ f141 f47 1"/>
                <a:gd name="f173" fmla="*/ f142 f47 1"/>
                <a:gd name="f174" fmla="*/ f143 f48 1"/>
              </a:gdLst>
              <a:ahLst/>
              <a:cxnLst>
                <a:cxn ang="3cd4">
                  <a:pos x="hc" y="t"/>
                </a:cxn>
                <a:cxn ang="0">
                  <a:pos x="r" y="vc"/>
                </a:cxn>
                <a:cxn ang="cd4">
                  <a:pos x="hc" y="b"/>
                </a:cxn>
                <a:cxn ang="cd2">
                  <a:pos x="l" y="vc"/>
                </a:cxn>
                <a:cxn ang="f85">
                  <a:pos x="f148" y="f149"/>
                </a:cxn>
                <a:cxn ang="f85">
                  <a:pos x="f150" y="f151"/>
                </a:cxn>
                <a:cxn ang="f85">
                  <a:pos x="f152" y="f153"/>
                </a:cxn>
                <a:cxn ang="f85">
                  <a:pos x="f154" y="f155"/>
                </a:cxn>
                <a:cxn ang="f85">
                  <a:pos x="f156" y="f157"/>
                </a:cxn>
                <a:cxn ang="f85">
                  <a:pos x="f158" y="f155"/>
                </a:cxn>
                <a:cxn ang="f85">
                  <a:pos x="f159" y="f160"/>
                </a:cxn>
                <a:cxn ang="f85">
                  <a:pos x="f161" y="f162"/>
                </a:cxn>
                <a:cxn ang="f85">
                  <a:pos x="f163" y="f164"/>
                </a:cxn>
                <a:cxn ang="f85">
                  <a:pos x="f165" y="f166"/>
                </a:cxn>
                <a:cxn ang="f85">
                  <a:pos x="f167" y="f168"/>
                </a:cxn>
                <a:cxn ang="f85">
                  <a:pos x="f169" y="f170"/>
                </a:cxn>
                <a:cxn ang="f85">
                  <a:pos x="f156" y="f171"/>
                </a:cxn>
                <a:cxn ang="f85">
                  <a:pos x="f172" y="f155"/>
                </a:cxn>
                <a:cxn ang="f85">
                  <a:pos x="f173" y="f174"/>
                </a:cxn>
                <a:cxn ang="f85">
                  <a:pos x="f148" y="f149"/>
                </a:cxn>
              </a:cxnLst>
              <a:rect l="f144" t="f147" r="f145" b="f146"/>
              <a:pathLst>
                <a:path w="56" h="64">
                  <a:moveTo>
                    <a:pt x="f8" y="f7"/>
                  </a:moveTo>
                  <a:cubicBezTo>
                    <a:pt x="f9" y="f7"/>
                    <a:pt x="f10" y="f11"/>
                    <a:pt x="f12" y="f13"/>
                  </a:cubicBezTo>
                  <a:cubicBezTo>
                    <a:pt x="f14" y="f15"/>
                    <a:pt x="f14" y="f16"/>
                    <a:pt x="f10" y="f6"/>
                  </a:cubicBezTo>
                  <a:cubicBezTo>
                    <a:pt x="f17" y="f18"/>
                    <a:pt x="f19" y="f20"/>
                    <a:pt x="f19" y="f21"/>
                  </a:cubicBezTo>
                  <a:cubicBezTo>
                    <a:pt x="f19" y="f22"/>
                    <a:pt x="f19" y="f23"/>
                    <a:pt x="f24" y="f23"/>
                  </a:cubicBezTo>
                  <a:cubicBezTo>
                    <a:pt x="f25" y="f23"/>
                    <a:pt x="f8" y="f26"/>
                    <a:pt x="f14" y="f21"/>
                  </a:cubicBezTo>
                  <a:cubicBezTo>
                    <a:pt x="f27" y="f28"/>
                    <a:pt x="f27" y="f28"/>
                    <a:pt x="f27" y="f28"/>
                  </a:cubicBezTo>
                  <a:cubicBezTo>
                    <a:pt x="f29" y="f8"/>
                    <a:pt x="f30" y="f24"/>
                    <a:pt x="f31" y="f32"/>
                  </a:cubicBezTo>
                  <a:cubicBezTo>
                    <a:pt x="f33" y="f34"/>
                    <a:pt x="f35" y="f32"/>
                    <a:pt x="f35" y="f17"/>
                  </a:cubicBezTo>
                  <a:cubicBezTo>
                    <a:pt x="f5" y="f36"/>
                    <a:pt x="f35" y="f37"/>
                    <a:pt x="f38" y="f39"/>
                  </a:cubicBezTo>
                  <a:cubicBezTo>
                    <a:pt x="f23" y="f25"/>
                    <a:pt x="f22" y="f12"/>
                    <a:pt x="f40" y="f41"/>
                  </a:cubicBezTo>
                  <a:cubicBezTo>
                    <a:pt x="f42" y="f42"/>
                    <a:pt x="f42" y="f42"/>
                    <a:pt x="f42" y="f42"/>
                  </a:cubicBezTo>
                  <a:cubicBezTo>
                    <a:pt x="f21" y="f43"/>
                    <a:pt x="f14" y="f5"/>
                    <a:pt x="f24" y="f5"/>
                  </a:cubicBezTo>
                  <a:cubicBezTo>
                    <a:pt x="f6" y="f5"/>
                    <a:pt x="f6" y="f30"/>
                    <a:pt x="f6" y="f21"/>
                  </a:cubicBezTo>
                  <a:cubicBezTo>
                    <a:pt x="f6" y="f39"/>
                    <a:pt x="f44" y="f45"/>
                    <a:pt x="f25" y="f11"/>
                  </a:cubicBezTo>
                  <a:cubicBezTo>
                    <a:pt x="f25" y="f11"/>
                    <a:pt x="f20" y="f7"/>
                    <a:pt x="f8" y="f7"/>
                  </a:cubicBezTo>
                  <a:close/>
                </a:path>
              </a:pathLst>
            </a:custGeom>
            <a:solidFill>
              <a:srgbClr val="0078D7"/>
            </a:solidFill>
            <a:ln cap="flat">
              <a:solidFill>
                <a:schemeClr val="accent1"/>
              </a:solid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sp>
          <p:nvSpPr>
            <p:cNvPr id="140" name="Freeform 2119">
              <a:extLst>
                <a:ext uri="{FF2B5EF4-FFF2-40B4-BE49-F238E27FC236}">
                  <a16:creationId xmlns:a16="http://schemas.microsoft.com/office/drawing/2014/main" id="{1DBD9BF6-939A-4157-9854-1838042BA42E}"/>
                </a:ext>
              </a:extLst>
            </p:cNvPr>
            <p:cNvSpPr/>
            <p:nvPr/>
          </p:nvSpPr>
          <p:spPr>
            <a:xfrm>
              <a:off x="6143890" y="3342973"/>
              <a:ext cx="493666" cy="483434"/>
            </a:xfrm>
            <a:custGeom>
              <a:avLst/>
              <a:gdLst>
                <a:gd name="f0" fmla="val 10800000"/>
                <a:gd name="f1" fmla="val 5400000"/>
                <a:gd name="f2" fmla="val 180"/>
                <a:gd name="f3" fmla="val w"/>
                <a:gd name="f4" fmla="val h"/>
                <a:gd name="f5" fmla="val 0"/>
                <a:gd name="f6" fmla="val 82"/>
                <a:gd name="f7" fmla="val 80"/>
                <a:gd name="f8" fmla="val 60"/>
                <a:gd name="f9" fmla="val 59"/>
                <a:gd name="f10" fmla="val 58"/>
                <a:gd name="f11" fmla="val 79"/>
                <a:gd name="f12" fmla="val 57"/>
                <a:gd name="f13" fmla="val 78"/>
                <a:gd name="f14" fmla="val 56"/>
                <a:gd name="f15" fmla="val 76"/>
                <a:gd name="f16" fmla="val 74"/>
                <a:gd name="f17" fmla="val 73"/>
                <a:gd name="f18" fmla="val 61"/>
                <a:gd name="f19" fmla="val 70"/>
                <a:gd name="f20" fmla="val 65"/>
                <a:gd name="f21" fmla="val 64"/>
                <a:gd name="f22" fmla="val 69"/>
                <a:gd name="f23" fmla="val 71"/>
                <a:gd name="f24" fmla="val 51"/>
                <a:gd name="f25" fmla="val 42"/>
                <a:gd name="f26" fmla="val 36"/>
                <a:gd name="f27" fmla="val 28"/>
                <a:gd name="f28" fmla="val 21"/>
                <a:gd name="f29" fmla="val 66"/>
                <a:gd name="f30" fmla="val 15"/>
                <a:gd name="f31" fmla="val 10"/>
                <a:gd name="f32" fmla="val 55"/>
                <a:gd name="f33" fmla="val 8"/>
                <a:gd name="f34" fmla="val 48"/>
                <a:gd name="f35" fmla="val 38"/>
                <a:gd name="f36" fmla="val 30"/>
                <a:gd name="f37" fmla="val 9"/>
                <a:gd name="f38" fmla="val 24"/>
                <a:gd name="f39" fmla="val 23"/>
                <a:gd name="f40" fmla="val 37"/>
                <a:gd name="f41" fmla="val 5"/>
                <a:gd name="f42" fmla="val 40"/>
                <a:gd name="f43" fmla="val 3"/>
                <a:gd name="f44" fmla="val 1"/>
                <a:gd name="f45" fmla="val 39"/>
                <a:gd name="f46" fmla="val 35"/>
                <a:gd name="f47" fmla="val 32"/>
                <a:gd name="f48" fmla="val 22"/>
                <a:gd name="f49" fmla="val 17"/>
                <a:gd name="f50" fmla="val 18"/>
                <a:gd name="f51" fmla="val 25"/>
                <a:gd name="f52" fmla="val 26"/>
                <a:gd name="f53" fmla="val 43"/>
                <a:gd name="f54" fmla="val 53"/>
                <a:gd name="f55" fmla="val 63"/>
                <a:gd name="f56" fmla="val 62"/>
                <a:gd name="f57" fmla="+- 0 0 -90"/>
                <a:gd name="f58" fmla="*/ f3 1 82"/>
                <a:gd name="f59" fmla="*/ f4 1 80"/>
                <a:gd name="f60" fmla="val f5"/>
                <a:gd name="f61" fmla="val f6"/>
                <a:gd name="f62" fmla="val f7"/>
                <a:gd name="f63" fmla="*/ f57 f0 1"/>
                <a:gd name="f64" fmla="+- f62 0 f60"/>
                <a:gd name="f65" fmla="+- f61 0 f60"/>
                <a:gd name="f66" fmla="*/ f63 1 f2"/>
                <a:gd name="f67" fmla="*/ f65 1 82"/>
                <a:gd name="f68" fmla="*/ f64 1 80"/>
                <a:gd name="f69" fmla="*/ 60 f65 1"/>
                <a:gd name="f70" fmla="*/ 80 f64 1"/>
                <a:gd name="f71" fmla="*/ 57 f65 1"/>
                <a:gd name="f72" fmla="*/ 78 f64 1"/>
                <a:gd name="f73" fmla="*/ 58 f65 1"/>
                <a:gd name="f74" fmla="*/ 73 f64 1"/>
                <a:gd name="f75" fmla="*/ 69 f65 1"/>
                <a:gd name="f76" fmla="*/ 57 f64 1"/>
                <a:gd name="f77" fmla="*/ 74 f65 1"/>
                <a:gd name="f78" fmla="*/ 36 f64 1"/>
                <a:gd name="f79" fmla="*/ 66 f65 1"/>
                <a:gd name="f80" fmla="*/ 15 f64 1"/>
                <a:gd name="f81" fmla="*/ 48 f65 1"/>
                <a:gd name="f82" fmla="*/ 8 f64 1"/>
                <a:gd name="f83" fmla="*/ 24 f65 1"/>
                <a:gd name="f84" fmla="*/ 21 f64 1"/>
                <a:gd name="f85" fmla="*/ 5 f65 1"/>
                <a:gd name="f86" fmla="*/ 40 f64 1"/>
                <a:gd name="f87" fmla="*/ 0 f65 1"/>
                <a:gd name="f88" fmla="*/ 37 f64 1"/>
                <a:gd name="f89" fmla="*/ 3 f65 1"/>
                <a:gd name="f90" fmla="*/ 32 f64 1"/>
                <a:gd name="f91" fmla="*/ 17 f65 1"/>
                <a:gd name="f92" fmla="*/ 18 f64 1"/>
                <a:gd name="f93" fmla="*/ 0 f64 1"/>
                <a:gd name="f94" fmla="*/ 71 f65 1"/>
                <a:gd name="f95" fmla="*/ 10 f64 1"/>
                <a:gd name="f96" fmla="*/ 82 f65 1"/>
                <a:gd name="f97" fmla="*/ 76 f65 1"/>
                <a:gd name="f98" fmla="*/ 60 f64 1"/>
                <a:gd name="f99" fmla="*/ 63 f65 1"/>
                <a:gd name="f100" fmla="*/ 79 f64 1"/>
                <a:gd name="f101" fmla="+- f66 0 f1"/>
                <a:gd name="f102" fmla="*/ f69 1 82"/>
                <a:gd name="f103" fmla="*/ f70 1 80"/>
                <a:gd name="f104" fmla="*/ f71 1 82"/>
                <a:gd name="f105" fmla="*/ f72 1 80"/>
                <a:gd name="f106" fmla="*/ f73 1 82"/>
                <a:gd name="f107" fmla="*/ f74 1 80"/>
                <a:gd name="f108" fmla="*/ f75 1 82"/>
                <a:gd name="f109" fmla="*/ f76 1 80"/>
                <a:gd name="f110" fmla="*/ f77 1 82"/>
                <a:gd name="f111" fmla="*/ f78 1 80"/>
                <a:gd name="f112" fmla="*/ f79 1 82"/>
                <a:gd name="f113" fmla="*/ f80 1 80"/>
                <a:gd name="f114" fmla="*/ f81 1 82"/>
                <a:gd name="f115" fmla="*/ f82 1 80"/>
                <a:gd name="f116" fmla="*/ f83 1 82"/>
                <a:gd name="f117" fmla="*/ f84 1 80"/>
                <a:gd name="f118" fmla="*/ f85 1 82"/>
                <a:gd name="f119" fmla="*/ f86 1 80"/>
                <a:gd name="f120" fmla="*/ f87 1 82"/>
                <a:gd name="f121" fmla="*/ f88 1 80"/>
                <a:gd name="f122" fmla="*/ f89 1 82"/>
                <a:gd name="f123" fmla="*/ f90 1 80"/>
                <a:gd name="f124" fmla="*/ f91 1 82"/>
                <a:gd name="f125" fmla="*/ f92 1 80"/>
                <a:gd name="f126" fmla="*/ f93 1 80"/>
                <a:gd name="f127" fmla="*/ f94 1 82"/>
                <a:gd name="f128" fmla="*/ f95 1 80"/>
                <a:gd name="f129" fmla="*/ f96 1 82"/>
                <a:gd name="f130" fmla="*/ f97 1 82"/>
                <a:gd name="f131" fmla="*/ f98 1 80"/>
                <a:gd name="f132" fmla="*/ f99 1 82"/>
                <a:gd name="f133" fmla="*/ f100 1 80"/>
                <a:gd name="f134" fmla="*/ 0 1 f67"/>
                <a:gd name="f135" fmla="*/ f61 1 f67"/>
                <a:gd name="f136" fmla="*/ 0 1 f68"/>
                <a:gd name="f137" fmla="*/ f62 1 f68"/>
                <a:gd name="f138" fmla="*/ f102 1 f67"/>
                <a:gd name="f139" fmla="*/ f103 1 f68"/>
                <a:gd name="f140" fmla="*/ f104 1 f67"/>
                <a:gd name="f141" fmla="*/ f105 1 f68"/>
                <a:gd name="f142" fmla="*/ f106 1 f67"/>
                <a:gd name="f143" fmla="*/ f107 1 f68"/>
                <a:gd name="f144" fmla="*/ f108 1 f67"/>
                <a:gd name="f145" fmla="*/ f109 1 f68"/>
                <a:gd name="f146" fmla="*/ f110 1 f67"/>
                <a:gd name="f147" fmla="*/ f111 1 f68"/>
                <a:gd name="f148" fmla="*/ f112 1 f67"/>
                <a:gd name="f149" fmla="*/ f113 1 f68"/>
                <a:gd name="f150" fmla="*/ f114 1 f67"/>
                <a:gd name="f151" fmla="*/ f115 1 f68"/>
                <a:gd name="f152" fmla="*/ f116 1 f67"/>
                <a:gd name="f153" fmla="*/ f117 1 f68"/>
                <a:gd name="f154" fmla="*/ f118 1 f67"/>
                <a:gd name="f155" fmla="*/ f119 1 f68"/>
                <a:gd name="f156" fmla="*/ f120 1 f67"/>
                <a:gd name="f157" fmla="*/ f121 1 f68"/>
                <a:gd name="f158" fmla="*/ f122 1 f67"/>
                <a:gd name="f159" fmla="*/ f123 1 f68"/>
                <a:gd name="f160" fmla="*/ f124 1 f67"/>
                <a:gd name="f161" fmla="*/ f125 1 f68"/>
                <a:gd name="f162" fmla="*/ f126 1 f68"/>
                <a:gd name="f163" fmla="*/ f127 1 f67"/>
                <a:gd name="f164" fmla="*/ f128 1 f68"/>
                <a:gd name="f165" fmla="*/ f129 1 f67"/>
                <a:gd name="f166" fmla="*/ f130 1 f67"/>
                <a:gd name="f167" fmla="*/ f131 1 f68"/>
                <a:gd name="f168" fmla="*/ f132 1 f67"/>
                <a:gd name="f169" fmla="*/ f133 1 f68"/>
                <a:gd name="f170" fmla="*/ f134 f58 1"/>
                <a:gd name="f171" fmla="*/ f135 f58 1"/>
                <a:gd name="f172" fmla="*/ f137 f59 1"/>
                <a:gd name="f173" fmla="*/ f136 f59 1"/>
                <a:gd name="f174" fmla="*/ f138 f58 1"/>
                <a:gd name="f175" fmla="*/ f139 f59 1"/>
                <a:gd name="f176" fmla="*/ f140 f58 1"/>
                <a:gd name="f177" fmla="*/ f141 f59 1"/>
                <a:gd name="f178" fmla="*/ f142 f58 1"/>
                <a:gd name="f179" fmla="*/ f143 f59 1"/>
                <a:gd name="f180" fmla="*/ f144 f58 1"/>
                <a:gd name="f181" fmla="*/ f145 f59 1"/>
                <a:gd name="f182" fmla="*/ f146 f58 1"/>
                <a:gd name="f183" fmla="*/ f147 f59 1"/>
                <a:gd name="f184" fmla="*/ f148 f58 1"/>
                <a:gd name="f185" fmla="*/ f149 f59 1"/>
                <a:gd name="f186" fmla="*/ f150 f58 1"/>
                <a:gd name="f187" fmla="*/ f151 f59 1"/>
                <a:gd name="f188" fmla="*/ f152 f58 1"/>
                <a:gd name="f189" fmla="*/ f153 f59 1"/>
                <a:gd name="f190" fmla="*/ f154 f58 1"/>
                <a:gd name="f191" fmla="*/ f155 f59 1"/>
                <a:gd name="f192" fmla="*/ f156 f58 1"/>
                <a:gd name="f193" fmla="*/ f157 f59 1"/>
                <a:gd name="f194" fmla="*/ f158 f58 1"/>
                <a:gd name="f195" fmla="*/ f159 f59 1"/>
                <a:gd name="f196" fmla="*/ f160 f58 1"/>
                <a:gd name="f197" fmla="*/ f161 f59 1"/>
                <a:gd name="f198" fmla="*/ f162 f59 1"/>
                <a:gd name="f199" fmla="*/ f163 f58 1"/>
                <a:gd name="f200" fmla="*/ f164 f59 1"/>
                <a:gd name="f201" fmla="*/ f165 f58 1"/>
                <a:gd name="f202" fmla="*/ f166 f58 1"/>
                <a:gd name="f203" fmla="*/ f167 f59 1"/>
                <a:gd name="f204" fmla="*/ f168 f58 1"/>
                <a:gd name="f205" fmla="*/ f169 f59 1"/>
              </a:gdLst>
              <a:ahLst/>
              <a:cxnLst>
                <a:cxn ang="3cd4">
                  <a:pos x="hc" y="t"/>
                </a:cxn>
                <a:cxn ang="0">
                  <a:pos x="r" y="vc"/>
                </a:cxn>
                <a:cxn ang="cd4">
                  <a:pos x="hc" y="b"/>
                </a:cxn>
                <a:cxn ang="cd2">
                  <a:pos x="l" y="vc"/>
                </a:cxn>
                <a:cxn ang="f101">
                  <a:pos x="f174" y="f175"/>
                </a:cxn>
                <a:cxn ang="f101">
                  <a:pos x="f176" y="f177"/>
                </a:cxn>
                <a:cxn ang="f101">
                  <a:pos x="f178" y="f179"/>
                </a:cxn>
                <a:cxn ang="f101">
                  <a:pos x="f180" y="f181"/>
                </a:cxn>
                <a:cxn ang="f101">
                  <a:pos x="f182" y="f183"/>
                </a:cxn>
                <a:cxn ang="f101">
                  <a:pos x="f184" y="f185"/>
                </a:cxn>
                <a:cxn ang="f101">
                  <a:pos x="f186" y="f187"/>
                </a:cxn>
                <a:cxn ang="f101">
                  <a:pos x="f188" y="f189"/>
                </a:cxn>
                <a:cxn ang="f101">
                  <a:pos x="f190" y="f191"/>
                </a:cxn>
                <a:cxn ang="f101">
                  <a:pos x="f192" y="f193"/>
                </a:cxn>
                <a:cxn ang="f101">
                  <a:pos x="f194" y="f195"/>
                </a:cxn>
                <a:cxn ang="f101">
                  <a:pos x="f196" y="f197"/>
                </a:cxn>
                <a:cxn ang="f101">
                  <a:pos x="f186" y="f198"/>
                </a:cxn>
                <a:cxn ang="f101">
                  <a:pos x="f199" y="f200"/>
                </a:cxn>
                <a:cxn ang="f101">
                  <a:pos x="f201" y="f183"/>
                </a:cxn>
                <a:cxn ang="f101">
                  <a:pos x="f202" y="f203"/>
                </a:cxn>
                <a:cxn ang="f101">
                  <a:pos x="f204" y="f205"/>
                </a:cxn>
                <a:cxn ang="f101">
                  <a:pos x="f174" y="f175"/>
                </a:cxn>
              </a:cxnLst>
              <a:rect l="f170" t="f173" r="f171" b="f172"/>
              <a:pathLst>
                <a:path w="82" h="80">
                  <a:moveTo>
                    <a:pt x="f8" y="f7"/>
                  </a:moveTo>
                  <a:cubicBezTo>
                    <a:pt x="f9" y="f7"/>
                    <a:pt x="f10" y="f11"/>
                    <a:pt x="f12" y="f13"/>
                  </a:cubicBezTo>
                  <a:cubicBezTo>
                    <a:pt x="f14" y="f15"/>
                    <a:pt x="f14" y="f16"/>
                    <a:pt x="f10" y="f17"/>
                  </a:cubicBezTo>
                  <a:cubicBezTo>
                    <a:pt x="f18" y="f19"/>
                    <a:pt x="f20" y="f21"/>
                    <a:pt x="f22" y="f12"/>
                  </a:cubicBezTo>
                  <a:cubicBezTo>
                    <a:pt x="f23" y="f24"/>
                    <a:pt x="f16" y="f25"/>
                    <a:pt x="f16" y="f26"/>
                  </a:cubicBezTo>
                  <a:cubicBezTo>
                    <a:pt x="f16" y="f27"/>
                    <a:pt x="f23" y="f28"/>
                    <a:pt x="f29" y="f30"/>
                  </a:cubicBezTo>
                  <a:cubicBezTo>
                    <a:pt x="f18" y="f31"/>
                    <a:pt x="f32" y="f33"/>
                    <a:pt x="f34" y="f33"/>
                  </a:cubicBezTo>
                  <a:cubicBezTo>
                    <a:pt x="f35" y="f33"/>
                    <a:pt x="f36" y="f37"/>
                    <a:pt x="f38" y="f28"/>
                  </a:cubicBezTo>
                  <a:cubicBezTo>
                    <a:pt x="f39" y="f38"/>
                    <a:pt x="f30" y="f40"/>
                    <a:pt x="f41" y="f42"/>
                  </a:cubicBezTo>
                  <a:cubicBezTo>
                    <a:pt x="f43" y="f42"/>
                    <a:pt x="f44" y="f45"/>
                    <a:pt x="f5" y="f40"/>
                  </a:cubicBezTo>
                  <a:cubicBezTo>
                    <a:pt x="f5" y="f46"/>
                    <a:pt x="f44" y="f47"/>
                    <a:pt x="f43" y="f47"/>
                  </a:cubicBezTo>
                  <a:cubicBezTo>
                    <a:pt x="f33" y="f36"/>
                    <a:pt x="f30" y="f48"/>
                    <a:pt x="f49" y="f50"/>
                  </a:cubicBezTo>
                  <a:cubicBezTo>
                    <a:pt x="f51" y="f44"/>
                    <a:pt x="f26" y="f5"/>
                    <a:pt x="f34" y="f5"/>
                  </a:cubicBezTo>
                  <a:cubicBezTo>
                    <a:pt x="f12" y="f5"/>
                    <a:pt x="f20" y="f43"/>
                    <a:pt x="f23" y="f31"/>
                  </a:cubicBezTo>
                  <a:cubicBezTo>
                    <a:pt x="f13" y="f49"/>
                    <a:pt x="f6" y="f52"/>
                    <a:pt x="f6" y="f26"/>
                  </a:cubicBezTo>
                  <a:cubicBezTo>
                    <a:pt x="f6" y="f53"/>
                    <a:pt x="f11" y="f54"/>
                    <a:pt x="f15" y="f8"/>
                  </a:cubicBezTo>
                  <a:cubicBezTo>
                    <a:pt x="f16" y="f55"/>
                    <a:pt x="f22" y="f16"/>
                    <a:pt x="f55" y="f11"/>
                  </a:cubicBezTo>
                  <a:cubicBezTo>
                    <a:pt x="f56" y="f11"/>
                    <a:pt x="f18" y="f7"/>
                    <a:pt x="f8" y="f7"/>
                  </a:cubicBezTo>
                  <a:close/>
                </a:path>
              </a:pathLst>
            </a:custGeom>
            <a:solidFill>
              <a:srgbClr val="0078D7"/>
            </a:solidFill>
            <a:ln cap="flat">
              <a:solidFill>
                <a:schemeClr val="accent1"/>
              </a:solid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sp>
          <p:nvSpPr>
            <p:cNvPr id="141" name="Freeform 2120">
              <a:extLst>
                <a:ext uri="{FF2B5EF4-FFF2-40B4-BE49-F238E27FC236}">
                  <a16:creationId xmlns:a16="http://schemas.microsoft.com/office/drawing/2014/main" id="{A619001B-E45C-4D45-8BDA-2063147CC26C}"/>
                </a:ext>
              </a:extLst>
            </p:cNvPr>
            <p:cNvSpPr/>
            <p:nvPr/>
          </p:nvSpPr>
          <p:spPr>
            <a:xfrm>
              <a:off x="6189930" y="3245781"/>
              <a:ext cx="514130" cy="191841"/>
            </a:xfrm>
            <a:custGeom>
              <a:avLst/>
              <a:gdLst>
                <a:gd name="f0" fmla="val 10800000"/>
                <a:gd name="f1" fmla="val 5400000"/>
                <a:gd name="f2" fmla="val 180"/>
                <a:gd name="f3" fmla="val w"/>
                <a:gd name="f4" fmla="val h"/>
                <a:gd name="f5" fmla="val 0"/>
                <a:gd name="f6" fmla="val 85"/>
                <a:gd name="f7" fmla="val 32"/>
                <a:gd name="f8" fmla="val 80"/>
                <a:gd name="f9" fmla="val 79"/>
                <a:gd name="f10" fmla="val 77"/>
                <a:gd name="f11" fmla="val 31"/>
                <a:gd name="f12" fmla="val 29"/>
                <a:gd name="f13" fmla="val 70"/>
                <a:gd name="f14" fmla="val 16"/>
                <a:gd name="f15" fmla="val 57"/>
                <a:gd name="f16" fmla="val 8"/>
                <a:gd name="f17" fmla="val 40"/>
                <a:gd name="f18" fmla="val 24"/>
                <a:gd name="f19" fmla="val 13"/>
                <a:gd name="f20" fmla="val 12"/>
                <a:gd name="f21" fmla="val 22"/>
                <a:gd name="f22" fmla="val 7"/>
                <a:gd name="f23" fmla="val 4"/>
                <a:gd name="f24" fmla="val 2"/>
                <a:gd name="f25" fmla="val 23"/>
                <a:gd name="f26" fmla="val 20"/>
                <a:gd name="f27" fmla="val 1"/>
                <a:gd name="f28" fmla="val 18"/>
                <a:gd name="f29" fmla="val 6"/>
                <a:gd name="f30" fmla="val 21"/>
                <a:gd name="f31" fmla="val 60"/>
                <a:gd name="f32" fmla="val 76"/>
                <a:gd name="f33" fmla="val 10"/>
                <a:gd name="f34" fmla="val 84"/>
                <a:gd name="f35" fmla="val 26"/>
                <a:gd name="f36" fmla="val 28"/>
                <a:gd name="f37" fmla="val 30"/>
                <a:gd name="f38" fmla="val 82"/>
                <a:gd name="f39" fmla="val 81"/>
                <a:gd name="f40" fmla="+- 0 0 -90"/>
                <a:gd name="f41" fmla="*/ f3 1 85"/>
                <a:gd name="f42" fmla="*/ f4 1 32"/>
                <a:gd name="f43" fmla="val f5"/>
                <a:gd name="f44" fmla="val f6"/>
                <a:gd name="f45" fmla="val f7"/>
                <a:gd name="f46" fmla="*/ f40 f0 1"/>
                <a:gd name="f47" fmla="+- f45 0 f43"/>
                <a:gd name="f48" fmla="+- f44 0 f43"/>
                <a:gd name="f49" fmla="*/ f46 1 f2"/>
                <a:gd name="f50" fmla="*/ f48 1 85"/>
                <a:gd name="f51" fmla="*/ f47 1 32"/>
                <a:gd name="f52" fmla="*/ 80 f48 1"/>
                <a:gd name="f53" fmla="*/ 32 f47 1"/>
                <a:gd name="f54" fmla="*/ 77 f48 1"/>
                <a:gd name="f55" fmla="*/ 29 f47 1"/>
                <a:gd name="f56" fmla="*/ 40 f48 1"/>
                <a:gd name="f57" fmla="*/ 8 f47 1"/>
                <a:gd name="f58" fmla="*/ 8 f48 1"/>
                <a:gd name="f59" fmla="*/ 22 f47 1"/>
                <a:gd name="f60" fmla="*/ 2 f48 1"/>
                <a:gd name="f61" fmla="*/ 23 f47 1"/>
                <a:gd name="f62" fmla="*/ 1 f48 1"/>
                <a:gd name="f63" fmla="*/ 18 f47 1"/>
                <a:gd name="f64" fmla="*/ 0 f47 1"/>
                <a:gd name="f65" fmla="*/ 84 f48 1"/>
                <a:gd name="f66" fmla="*/ 26 f47 1"/>
                <a:gd name="f67" fmla="*/ 82 f48 1"/>
                <a:gd name="f68" fmla="*/ 31 f47 1"/>
                <a:gd name="f69" fmla="+- f49 0 f1"/>
                <a:gd name="f70" fmla="*/ f52 1 85"/>
                <a:gd name="f71" fmla="*/ f53 1 32"/>
                <a:gd name="f72" fmla="*/ f54 1 85"/>
                <a:gd name="f73" fmla="*/ f55 1 32"/>
                <a:gd name="f74" fmla="*/ f56 1 85"/>
                <a:gd name="f75" fmla="*/ f57 1 32"/>
                <a:gd name="f76" fmla="*/ f58 1 85"/>
                <a:gd name="f77" fmla="*/ f59 1 32"/>
                <a:gd name="f78" fmla="*/ f60 1 85"/>
                <a:gd name="f79" fmla="*/ f61 1 32"/>
                <a:gd name="f80" fmla="*/ f62 1 85"/>
                <a:gd name="f81" fmla="*/ f63 1 32"/>
                <a:gd name="f82" fmla="*/ f64 1 32"/>
                <a:gd name="f83" fmla="*/ f65 1 85"/>
                <a:gd name="f84" fmla="*/ f66 1 32"/>
                <a:gd name="f85" fmla="*/ f67 1 85"/>
                <a:gd name="f86" fmla="*/ f68 1 32"/>
                <a:gd name="f87" fmla="*/ 0 1 f50"/>
                <a:gd name="f88" fmla="*/ f44 1 f50"/>
                <a:gd name="f89" fmla="*/ 0 1 f51"/>
                <a:gd name="f90" fmla="*/ f45 1 f51"/>
                <a:gd name="f91" fmla="*/ f70 1 f50"/>
                <a:gd name="f92" fmla="*/ f71 1 f51"/>
                <a:gd name="f93" fmla="*/ f72 1 f50"/>
                <a:gd name="f94" fmla="*/ f73 1 f51"/>
                <a:gd name="f95" fmla="*/ f74 1 f50"/>
                <a:gd name="f96" fmla="*/ f75 1 f51"/>
                <a:gd name="f97" fmla="*/ f76 1 f50"/>
                <a:gd name="f98" fmla="*/ f77 1 f51"/>
                <a:gd name="f99" fmla="*/ f78 1 f50"/>
                <a:gd name="f100" fmla="*/ f79 1 f51"/>
                <a:gd name="f101" fmla="*/ f80 1 f50"/>
                <a:gd name="f102" fmla="*/ f81 1 f51"/>
                <a:gd name="f103" fmla="*/ f82 1 f51"/>
                <a:gd name="f104" fmla="*/ f83 1 f50"/>
                <a:gd name="f105" fmla="*/ f84 1 f51"/>
                <a:gd name="f106" fmla="*/ f85 1 f50"/>
                <a:gd name="f107" fmla="*/ f86 1 f51"/>
                <a:gd name="f108" fmla="*/ f87 f41 1"/>
                <a:gd name="f109" fmla="*/ f88 f41 1"/>
                <a:gd name="f110" fmla="*/ f90 f42 1"/>
                <a:gd name="f111" fmla="*/ f89 f42 1"/>
                <a:gd name="f112" fmla="*/ f91 f41 1"/>
                <a:gd name="f113" fmla="*/ f92 f42 1"/>
                <a:gd name="f114" fmla="*/ f93 f41 1"/>
                <a:gd name="f115" fmla="*/ f94 f42 1"/>
                <a:gd name="f116" fmla="*/ f95 f41 1"/>
                <a:gd name="f117" fmla="*/ f96 f42 1"/>
                <a:gd name="f118" fmla="*/ f97 f41 1"/>
                <a:gd name="f119" fmla="*/ f98 f42 1"/>
                <a:gd name="f120" fmla="*/ f99 f41 1"/>
                <a:gd name="f121" fmla="*/ f100 f42 1"/>
                <a:gd name="f122" fmla="*/ f101 f41 1"/>
                <a:gd name="f123" fmla="*/ f102 f42 1"/>
                <a:gd name="f124" fmla="*/ f103 f42 1"/>
                <a:gd name="f125" fmla="*/ f104 f41 1"/>
                <a:gd name="f126" fmla="*/ f105 f42 1"/>
                <a:gd name="f127" fmla="*/ f106 f41 1"/>
                <a:gd name="f128" fmla="*/ f107 f42 1"/>
              </a:gdLst>
              <a:ahLst/>
              <a:cxnLst>
                <a:cxn ang="3cd4">
                  <a:pos x="hc" y="t"/>
                </a:cxn>
                <a:cxn ang="0">
                  <a:pos x="r" y="vc"/>
                </a:cxn>
                <a:cxn ang="cd4">
                  <a:pos x="hc" y="b"/>
                </a:cxn>
                <a:cxn ang="cd2">
                  <a:pos x="l" y="vc"/>
                </a:cxn>
                <a:cxn ang="f69">
                  <a:pos x="f112" y="f113"/>
                </a:cxn>
                <a:cxn ang="f69">
                  <a:pos x="f114" y="f115"/>
                </a:cxn>
                <a:cxn ang="f69">
                  <a:pos x="f116" y="f117"/>
                </a:cxn>
                <a:cxn ang="f69">
                  <a:pos x="f118" y="f119"/>
                </a:cxn>
                <a:cxn ang="f69">
                  <a:pos x="f120" y="f121"/>
                </a:cxn>
                <a:cxn ang="f69">
                  <a:pos x="f122" y="f123"/>
                </a:cxn>
                <a:cxn ang="f69">
                  <a:pos x="f116" y="f124"/>
                </a:cxn>
                <a:cxn ang="f69">
                  <a:pos x="f125" y="f126"/>
                </a:cxn>
                <a:cxn ang="f69">
                  <a:pos x="f127" y="f128"/>
                </a:cxn>
                <a:cxn ang="f69">
                  <a:pos x="f112" y="f113"/>
                </a:cxn>
              </a:cxnLst>
              <a:rect l="f108" t="f111" r="f109" b="f110"/>
              <a:pathLst>
                <a:path w="85" h="32">
                  <a:moveTo>
                    <a:pt x="f8" y="f7"/>
                  </a:moveTo>
                  <a:cubicBezTo>
                    <a:pt x="f9" y="f7"/>
                    <a:pt x="f10" y="f11"/>
                    <a:pt x="f10" y="f12"/>
                  </a:cubicBezTo>
                  <a:cubicBezTo>
                    <a:pt x="f13" y="f14"/>
                    <a:pt x="f15" y="f16"/>
                    <a:pt x="f17" y="f16"/>
                  </a:cubicBezTo>
                  <a:cubicBezTo>
                    <a:pt x="f18" y="f16"/>
                    <a:pt x="f19" y="f20"/>
                    <a:pt x="f16" y="f21"/>
                  </a:cubicBezTo>
                  <a:cubicBezTo>
                    <a:pt x="f22" y="f18"/>
                    <a:pt x="f23" y="f18"/>
                    <a:pt x="f24" y="f25"/>
                  </a:cubicBezTo>
                  <a:cubicBezTo>
                    <a:pt x="f5" y="f21"/>
                    <a:pt x="f5" y="f26"/>
                    <a:pt x="f27" y="f28"/>
                  </a:cubicBezTo>
                  <a:cubicBezTo>
                    <a:pt x="f22" y="f29"/>
                    <a:pt x="f30" y="f5"/>
                    <a:pt x="f17" y="f5"/>
                  </a:cubicBezTo>
                  <a:cubicBezTo>
                    <a:pt x="f31" y="f5"/>
                    <a:pt x="f32" y="f33"/>
                    <a:pt x="f34" y="f35"/>
                  </a:cubicBezTo>
                  <a:cubicBezTo>
                    <a:pt x="f6" y="f36"/>
                    <a:pt x="f34" y="f37"/>
                    <a:pt x="f38" y="f11"/>
                  </a:cubicBezTo>
                  <a:cubicBezTo>
                    <a:pt x="f39" y="f7"/>
                    <a:pt x="f39" y="f7"/>
                    <a:pt x="f8" y="f7"/>
                  </a:cubicBezTo>
                  <a:close/>
                </a:path>
              </a:pathLst>
            </a:custGeom>
            <a:solidFill>
              <a:srgbClr val="0078D7"/>
            </a:solidFill>
            <a:ln cap="flat">
              <a:solidFill>
                <a:schemeClr val="accent1"/>
              </a:solid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sp>
          <p:nvSpPr>
            <p:cNvPr id="142" name="Freeform 2121">
              <a:extLst>
                <a:ext uri="{FF2B5EF4-FFF2-40B4-BE49-F238E27FC236}">
                  <a16:creationId xmlns:a16="http://schemas.microsoft.com/office/drawing/2014/main" id="{4CC8BA70-9172-47DA-9C0F-702B18BAA292}"/>
                </a:ext>
              </a:extLst>
            </p:cNvPr>
            <p:cNvSpPr/>
            <p:nvPr/>
          </p:nvSpPr>
          <p:spPr>
            <a:xfrm>
              <a:off x="6238530" y="3148580"/>
              <a:ext cx="416929" cy="97200"/>
            </a:xfrm>
            <a:custGeom>
              <a:avLst/>
              <a:gdLst>
                <a:gd name="f0" fmla="val 10800000"/>
                <a:gd name="f1" fmla="val 5400000"/>
                <a:gd name="f2" fmla="val 180"/>
                <a:gd name="f3" fmla="val w"/>
                <a:gd name="f4" fmla="val h"/>
                <a:gd name="f5" fmla="val 0"/>
                <a:gd name="f6" fmla="val 69"/>
                <a:gd name="f7" fmla="val 16"/>
                <a:gd name="f8" fmla="val 64"/>
                <a:gd name="f9" fmla="val 63"/>
                <a:gd name="f10" fmla="val 62"/>
                <a:gd name="f11" fmla="val 15"/>
                <a:gd name="f12" fmla="val 53"/>
                <a:gd name="f13" fmla="val 10"/>
                <a:gd name="f14" fmla="val 43"/>
                <a:gd name="f15" fmla="val 8"/>
                <a:gd name="f16" fmla="val 32"/>
                <a:gd name="f17" fmla="val 23"/>
                <a:gd name="f18" fmla="val 14"/>
                <a:gd name="f19" fmla="val 6"/>
                <a:gd name="f20" fmla="val 4"/>
                <a:gd name="f21" fmla="val 2"/>
                <a:gd name="f22" fmla="val 1"/>
                <a:gd name="f23" fmla="val 12"/>
                <a:gd name="f24" fmla="val 7"/>
                <a:gd name="f25" fmla="val 3"/>
                <a:gd name="f26" fmla="val 22"/>
                <a:gd name="f27" fmla="val 44"/>
                <a:gd name="f28" fmla="val 56"/>
                <a:gd name="f29" fmla="val 66"/>
                <a:gd name="f30" fmla="val 68"/>
                <a:gd name="f31" fmla="val 9"/>
                <a:gd name="f32" fmla="val 67"/>
                <a:gd name="f33" fmla="+- 0 0 -90"/>
                <a:gd name="f34" fmla="*/ f3 1 69"/>
                <a:gd name="f35" fmla="*/ f4 1 16"/>
                <a:gd name="f36" fmla="val f5"/>
                <a:gd name="f37" fmla="val f6"/>
                <a:gd name="f38" fmla="val f7"/>
                <a:gd name="f39" fmla="*/ f33 f0 1"/>
                <a:gd name="f40" fmla="+- f38 0 f36"/>
                <a:gd name="f41" fmla="+- f37 0 f36"/>
                <a:gd name="f42" fmla="*/ f39 1 f2"/>
                <a:gd name="f43" fmla="*/ f41 1 69"/>
                <a:gd name="f44" fmla="*/ f40 1 16"/>
                <a:gd name="f45" fmla="*/ 64 f41 1"/>
                <a:gd name="f46" fmla="*/ 16 f40 1"/>
                <a:gd name="f47" fmla="*/ 62 f41 1"/>
                <a:gd name="f48" fmla="*/ 15 f40 1"/>
                <a:gd name="f49" fmla="*/ 32 f41 1"/>
                <a:gd name="f50" fmla="*/ 8 f40 1"/>
                <a:gd name="f51" fmla="*/ 6 f41 1"/>
                <a:gd name="f52" fmla="*/ 14 f40 1"/>
                <a:gd name="f53" fmla="*/ 1 f41 1"/>
                <a:gd name="f54" fmla="*/ 12 f40 1"/>
                <a:gd name="f55" fmla="*/ 3 f41 1"/>
                <a:gd name="f56" fmla="*/ 6 f40 1"/>
                <a:gd name="f57" fmla="*/ 0 f40 1"/>
                <a:gd name="f58" fmla="*/ 66 f41 1"/>
                <a:gd name="f59" fmla="*/ 68 f41 1"/>
                <a:gd name="f60" fmla="+- f42 0 f1"/>
                <a:gd name="f61" fmla="*/ f45 1 69"/>
                <a:gd name="f62" fmla="*/ f46 1 16"/>
                <a:gd name="f63" fmla="*/ f47 1 69"/>
                <a:gd name="f64" fmla="*/ f48 1 16"/>
                <a:gd name="f65" fmla="*/ f49 1 69"/>
                <a:gd name="f66" fmla="*/ f50 1 16"/>
                <a:gd name="f67" fmla="*/ f51 1 69"/>
                <a:gd name="f68" fmla="*/ f52 1 16"/>
                <a:gd name="f69" fmla="*/ f53 1 69"/>
                <a:gd name="f70" fmla="*/ f54 1 16"/>
                <a:gd name="f71" fmla="*/ f55 1 69"/>
                <a:gd name="f72" fmla="*/ f56 1 16"/>
                <a:gd name="f73" fmla="*/ f57 1 16"/>
                <a:gd name="f74" fmla="*/ f58 1 69"/>
                <a:gd name="f75" fmla="*/ f59 1 69"/>
                <a:gd name="f76" fmla="*/ 0 1 f43"/>
                <a:gd name="f77" fmla="*/ f37 1 f43"/>
                <a:gd name="f78" fmla="*/ 0 1 f44"/>
                <a:gd name="f79" fmla="*/ f38 1 f44"/>
                <a:gd name="f80" fmla="*/ f61 1 f43"/>
                <a:gd name="f81" fmla="*/ f62 1 f44"/>
                <a:gd name="f82" fmla="*/ f63 1 f43"/>
                <a:gd name="f83" fmla="*/ f64 1 f44"/>
                <a:gd name="f84" fmla="*/ f65 1 f43"/>
                <a:gd name="f85" fmla="*/ f66 1 f44"/>
                <a:gd name="f86" fmla="*/ f67 1 f43"/>
                <a:gd name="f87" fmla="*/ f68 1 f44"/>
                <a:gd name="f88" fmla="*/ f69 1 f43"/>
                <a:gd name="f89" fmla="*/ f70 1 f44"/>
                <a:gd name="f90" fmla="*/ f71 1 f43"/>
                <a:gd name="f91" fmla="*/ f72 1 f44"/>
                <a:gd name="f92" fmla="*/ f73 1 f44"/>
                <a:gd name="f93" fmla="*/ f74 1 f43"/>
                <a:gd name="f94" fmla="*/ f75 1 f43"/>
                <a:gd name="f95" fmla="*/ f76 f34 1"/>
                <a:gd name="f96" fmla="*/ f77 f34 1"/>
                <a:gd name="f97" fmla="*/ f79 f35 1"/>
                <a:gd name="f98" fmla="*/ f78 f35 1"/>
                <a:gd name="f99" fmla="*/ f80 f34 1"/>
                <a:gd name="f100" fmla="*/ f81 f35 1"/>
                <a:gd name="f101" fmla="*/ f82 f34 1"/>
                <a:gd name="f102" fmla="*/ f83 f35 1"/>
                <a:gd name="f103" fmla="*/ f84 f34 1"/>
                <a:gd name="f104" fmla="*/ f85 f35 1"/>
                <a:gd name="f105" fmla="*/ f86 f34 1"/>
                <a:gd name="f106" fmla="*/ f87 f35 1"/>
                <a:gd name="f107" fmla="*/ f88 f34 1"/>
                <a:gd name="f108" fmla="*/ f89 f35 1"/>
                <a:gd name="f109" fmla="*/ f90 f34 1"/>
                <a:gd name="f110" fmla="*/ f91 f35 1"/>
                <a:gd name="f111" fmla="*/ f92 f35 1"/>
                <a:gd name="f112" fmla="*/ f93 f34 1"/>
                <a:gd name="f113" fmla="*/ f94 f34 1"/>
              </a:gdLst>
              <a:ahLst/>
              <a:cxnLst>
                <a:cxn ang="3cd4">
                  <a:pos x="hc" y="t"/>
                </a:cxn>
                <a:cxn ang="0">
                  <a:pos x="r" y="vc"/>
                </a:cxn>
                <a:cxn ang="cd4">
                  <a:pos x="hc" y="b"/>
                </a:cxn>
                <a:cxn ang="cd2">
                  <a:pos x="l" y="vc"/>
                </a:cxn>
                <a:cxn ang="f60">
                  <a:pos x="f99" y="f100"/>
                </a:cxn>
                <a:cxn ang="f60">
                  <a:pos x="f101" y="f102"/>
                </a:cxn>
                <a:cxn ang="f60">
                  <a:pos x="f103" y="f104"/>
                </a:cxn>
                <a:cxn ang="f60">
                  <a:pos x="f105" y="f106"/>
                </a:cxn>
                <a:cxn ang="f60">
                  <a:pos x="f107" y="f108"/>
                </a:cxn>
                <a:cxn ang="f60">
                  <a:pos x="f109" y="f110"/>
                </a:cxn>
                <a:cxn ang="f60">
                  <a:pos x="f103" y="f111"/>
                </a:cxn>
                <a:cxn ang="f60">
                  <a:pos x="f112" y="f104"/>
                </a:cxn>
                <a:cxn ang="f60">
                  <a:pos x="f113" y="f106"/>
                </a:cxn>
                <a:cxn ang="f60">
                  <a:pos x="f99" y="f100"/>
                </a:cxn>
              </a:cxnLst>
              <a:rect l="f95" t="f98" r="f96" b="f97"/>
              <a:pathLst>
                <a:path w="69" h="16">
                  <a:moveTo>
                    <a:pt x="f8" y="f7"/>
                  </a:moveTo>
                  <a:cubicBezTo>
                    <a:pt x="f8" y="f7"/>
                    <a:pt x="f9" y="f7"/>
                    <a:pt x="f10" y="f11"/>
                  </a:cubicBezTo>
                  <a:cubicBezTo>
                    <a:pt x="f12" y="f13"/>
                    <a:pt x="f14" y="f15"/>
                    <a:pt x="f16" y="f15"/>
                  </a:cubicBezTo>
                  <a:cubicBezTo>
                    <a:pt x="f17" y="f15"/>
                    <a:pt x="f18" y="f13"/>
                    <a:pt x="f19" y="f18"/>
                  </a:cubicBezTo>
                  <a:cubicBezTo>
                    <a:pt x="f20" y="f18"/>
                    <a:pt x="f21" y="f18"/>
                    <a:pt x="f22" y="f23"/>
                  </a:cubicBezTo>
                  <a:cubicBezTo>
                    <a:pt x="f5" y="f13"/>
                    <a:pt x="f22" y="f24"/>
                    <a:pt x="f25" y="f19"/>
                  </a:cubicBezTo>
                  <a:cubicBezTo>
                    <a:pt x="f23" y="f21"/>
                    <a:pt x="f26" y="f5"/>
                    <a:pt x="f16" y="f5"/>
                  </a:cubicBezTo>
                  <a:cubicBezTo>
                    <a:pt x="f27" y="f5"/>
                    <a:pt x="f28" y="f25"/>
                    <a:pt x="f29" y="f15"/>
                  </a:cubicBezTo>
                  <a:cubicBezTo>
                    <a:pt x="f30" y="f31"/>
                    <a:pt x="f6" y="f23"/>
                    <a:pt x="f30" y="f18"/>
                  </a:cubicBezTo>
                  <a:cubicBezTo>
                    <a:pt x="f32" y="f11"/>
                    <a:pt x="f29" y="f7"/>
                    <a:pt x="f8" y="f7"/>
                  </a:cubicBezTo>
                  <a:close/>
                </a:path>
              </a:pathLst>
            </a:custGeom>
            <a:solidFill>
              <a:srgbClr val="0078D7"/>
            </a:solidFill>
            <a:ln cap="flat">
              <a:solidFill>
                <a:schemeClr val="accent1"/>
              </a:solidFill>
              <a:prstDash val="solid"/>
            </a:ln>
          </p:spPr>
          <p:txBody>
            <a:bodyPr vert="horz" wrap="square" lIns="68580" tIns="34290" rIns="68580" bIns="34290" anchor="t" anchorCtr="0" compatLnSpc="1">
              <a:noAutofit/>
            </a:bodyPr>
            <a:lstStyle/>
            <a:p>
              <a:pPr defTabSz="699557" eaLnBrk="1" fontAlgn="auto" hangingPunct="1">
                <a:spcBef>
                  <a:spcPts val="0"/>
                </a:spcBef>
                <a:spcAft>
                  <a:spcPts val="0"/>
                </a:spcAft>
                <a:defRPr sz="1800" b="0" i="0" u="none" strike="noStrike" kern="0" cap="none" spc="0" baseline="0">
                  <a:solidFill>
                    <a:srgbClr val="000000"/>
                  </a:solidFill>
                  <a:uFillTx/>
                </a:defRPr>
              </a:pPr>
              <a:endParaRPr lang="en-US" sz="1350">
                <a:solidFill>
                  <a:srgbClr val="505050"/>
                </a:solidFill>
                <a:latin typeface="Segoe UI"/>
              </a:endParaRPr>
            </a:p>
          </p:txBody>
        </p:sp>
      </p:grpSp>
      <p:sp>
        <p:nvSpPr>
          <p:cNvPr id="143" name="TextBox 142">
            <a:extLst>
              <a:ext uri="{FF2B5EF4-FFF2-40B4-BE49-F238E27FC236}">
                <a16:creationId xmlns:a16="http://schemas.microsoft.com/office/drawing/2014/main" id="{C913E627-209A-4C6F-B017-BE5DF1632141}"/>
              </a:ext>
            </a:extLst>
          </p:cNvPr>
          <p:cNvSpPr txBox="1"/>
          <p:nvPr/>
        </p:nvSpPr>
        <p:spPr>
          <a:xfrm>
            <a:off x="3019457" y="3047595"/>
            <a:ext cx="1958434" cy="230832"/>
          </a:xfrm>
          <a:prstGeom prst="rect">
            <a:avLst/>
          </a:prstGeom>
          <a:noFill/>
        </p:spPr>
        <p:txBody>
          <a:bodyPr wrap="square" lIns="0" tIns="0" rIns="0" bIns="0" rtlCol="0">
            <a:spAutoFit/>
          </a:bodyPr>
          <a:lstStyle/>
          <a:p>
            <a:pPr defTabSz="685775" eaLnBrk="1" fontAlgn="auto" hangingPunct="1">
              <a:spcBef>
                <a:spcPts val="0"/>
              </a:spcBef>
              <a:spcAft>
                <a:spcPts val="0"/>
              </a:spcAft>
              <a:defRPr/>
            </a:pPr>
            <a:r>
              <a:rPr lang="en-AU" sz="1500">
                <a:gradFill>
                  <a:gsLst>
                    <a:gs pos="2917">
                      <a:srgbClr val="000000"/>
                    </a:gs>
                    <a:gs pos="30000">
                      <a:srgbClr val="000000"/>
                    </a:gs>
                  </a:gsLst>
                  <a:lin ang="5400000" scaled="0"/>
                </a:gradFill>
                <a:latin typeface="Segoe UI"/>
              </a:rPr>
              <a:t>Something you have</a:t>
            </a:r>
          </a:p>
        </p:txBody>
      </p:sp>
      <p:sp>
        <p:nvSpPr>
          <p:cNvPr id="144" name="TextBox 143">
            <a:extLst>
              <a:ext uri="{FF2B5EF4-FFF2-40B4-BE49-F238E27FC236}">
                <a16:creationId xmlns:a16="http://schemas.microsoft.com/office/drawing/2014/main" id="{BAC3A6AC-CEAB-4796-A385-5360F05551A4}"/>
              </a:ext>
            </a:extLst>
          </p:cNvPr>
          <p:cNvSpPr txBox="1"/>
          <p:nvPr/>
        </p:nvSpPr>
        <p:spPr>
          <a:xfrm>
            <a:off x="2467041" y="3959302"/>
            <a:ext cx="1958434" cy="230832"/>
          </a:xfrm>
          <a:prstGeom prst="rect">
            <a:avLst/>
          </a:prstGeom>
          <a:noFill/>
        </p:spPr>
        <p:txBody>
          <a:bodyPr wrap="square" lIns="0" tIns="0" rIns="0" bIns="0" rtlCol="0">
            <a:spAutoFit/>
          </a:bodyPr>
          <a:lstStyle/>
          <a:p>
            <a:pPr defTabSz="685775" eaLnBrk="1" fontAlgn="auto" hangingPunct="1">
              <a:spcBef>
                <a:spcPts val="0"/>
              </a:spcBef>
              <a:spcAft>
                <a:spcPts val="0"/>
              </a:spcAft>
              <a:defRPr/>
            </a:pPr>
            <a:r>
              <a:rPr lang="en-AU" sz="1500">
                <a:gradFill>
                  <a:gsLst>
                    <a:gs pos="2917">
                      <a:srgbClr val="000000"/>
                    </a:gs>
                    <a:gs pos="30000">
                      <a:srgbClr val="000000"/>
                    </a:gs>
                  </a:gsLst>
                  <a:lin ang="5400000" scaled="0"/>
                </a:gradFill>
                <a:latin typeface="Segoe UI"/>
              </a:rPr>
              <a:t>Something you are</a:t>
            </a:r>
          </a:p>
        </p:txBody>
      </p:sp>
      <p:sp>
        <p:nvSpPr>
          <p:cNvPr id="145" name="TextBox 144">
            <a:extLst>
              <a:ext uri="{FF2B5EF4-FFF2-40B4-BE49-F238E27FC236}">
                <a16:creationId xmlns:a16="http://schemas.microsoft.com/office/drawing/2014/main" id="{F7456303-0F88-42C6-8236-B6418BEAF1AD}"/>
              </a:ext>
            </a:extLst>
          </p:cNvPr>
          <p:cNvSpPr txBox="1"/>
          <p:nvPr/>
        </p:nvSpPr>
        <p:spPr>
          <a:xfrm>
            <a:off x="7046365" y="2259381"/>
            <a:ext cx="1607384" cy="230832"/>
          </a:xfrm>
          <a:prstGeom prst="rect">
            <a:avLst/>
          </a:prstGeom>
          <a:noFill/>
        </p:spPr>
        <p:txBody>
          <a:bodyPr wrap="square" lIns="0" tIns="0" rIns="0" bIns="0" rtlCol="0">
            <a:spAutoFit/>
          </a:bodyPr>
          <a:lstStyle/>
          <a:p>
            <a:pPr defTabSz="685775" eaLnBrk="1" fontAlgn="auto" hangingPunct="1">
              <a:spcBef>
                <a:spcPts val="0"/>
              </a:spcBef>
              <a:spcAft>
                <a:spcPts val="0"/>
              </a:spcAft>
              <a:defRPr/>
            </a:pPr>
            <a:r>
              <a:rPr lang="en-AU" sz="1500">
                <a:gradFill>
                  <a:gsLst>
                    <a:gs pos="2917">
                      <a:srgbClr val="000000"/>
                    </a:gs>
                    <a:gs pos="30000">
                      <a:srgbClr val="000000"/>
                    </a:gs>
                  </a:gsLst>
                  <a:lin ang="5400000" scaled="0"/>
                </a:gradFill>
                <a:latin typeface="Segoe UI"/>
              </a:rPr>
              <a:t>Apps &amp; resources</a:t>
            </a:r>
          </a:p>
        </p:txBody>
      </p:sp>
      <p:sp>
        <p:nvSpPr>
          <p:cNvPr id="146" name="TextBox 145">
            <a:extLst>
              <a:ext uri="{FF2B5EF4-FFF2-40B4-BE49-F238E27FC236}">
                <a16:creationId xmlns:a16="http://schemas.microsoft.com/office/drawing/2014/main" id="{F349310E-428D-4C8E-95FE-AECE9B99BC70}"/>
              </a:ext>
            </a:extLst>
          </p:cNvPr>
          <p:cNvSpPr txBox="1"/>
          <p:nvPr/>
        </p:nvSpPr>
        <p:spPr>
          <a:xfrm>
            <a:off x="7653048" y="3178007"/>
            <a:ext cx="978161" cy="230832"/>
          </a:xfrm>
          <a:prstGeom prst="rect">
            <a:avLst/>
          </a:prstGeom>
          <a:noFill/>
        </p:spPr>
        <p:txBody>
          <a:bodyPr wrap="square" lIns="0" tIns="0" rIns="0" bIns="0" rtlCol="0">
            <a:spAutoFit/>
          </a:bodyPr>
          <a:lstStyle/>
          <a:p>
            <a:pPr defTabSz="685775" eaLnBrk="1" fontAlgn="auto" hangingPunct="1">
              <a:spcBef>
                <a:spcPts val="0"/>
              </a:spcBef>
              <a:spcAft>
                <a:spcPts val="0"/>
              </a:spcAft>
              <a:defRPr/>
            </a:pPr>
            <a:r>
              <a:rPr lang="en-AU" sz="1500">
                <a:gradFill>
                  <a:gsLst>
                    <a:gs pos="2917">
                      <a:srgbClr val="000000"/>
                    </a:gs>
                    <a:gs pos="30000">
                      <a:srgbClr val="000000"/>
                    </a:gs>
                  </a:gsLst>
                  <a:lin ang="5400000" scaled="0"/>
                </a:gradFill>
                <a:latin typeface="Segoe UI"/>
              </a:rPr>
              <a:t>Data</a:t>
            </a:r>
          </a:p>
        </p:txBody>
      </p:sp>
      <p:sp>
        <p:nvSpPr>
          <p:cNvPr id="147" name="TextBox 146">
            <a:extLst>
              <a:ext uri="{FF2B5EF4-FFF2-40B4-BE49-F238E27FC236}">
                <a16:creationId xmlns:a16="http://schemas.microsoft.com/office/drawing/2014/main" id="{95C80811-9961-4DA9-BC43-849FD40919DC}"/>
              </a:ext>
            </a:extLst>
          </p:cNvPr>
          <p:cNvSpPr txBox="1"/>
          <p:nvPr/>
        </p:nvSpPr>
        <p:spPr>
          <a:xfrm>
            <a:off x="7002548" y="4074718"/>
            <a:ext cx="1343630" cy="230832"/>
          </a:xfrm>
          <a:prstGeom prst="rect">
            <a:avLst/>
          </a:prstGeom>
          <a:noFill/>
        </p:spPr>
        <p:txBody>
          <a:bodyPr wrap="square" lIns="0" tIns="0" rIns="0" bIns="0" rtlCol="0">
            <a:spAutoFit/>
          </a:bodyPr>
          <a:lstStyle/>
          <a:p>
            <a:pPr defTabSz="685775" eaLnBrk="1" fontAlgn="auto" hangingPunct="1">
              <a:spcBef>
                <a:spcPts val="0"/>
              </a:spcBef>
              <a:spcAft>
                <a:spcPts val="0"/>
              </a:spcAft>
              <a:defRPr/>
            </a:pPr>
            <a:r>
              <a:rPr lang="en-AU" sz="1500">
                <a:gradFill>
                  <a:gsLst>
                    <a:gs pos="2917">
                      <a:srgbClr val="000000"/>
                    </a:gs>
                    <a:gs pos="30000">
                      <a:srgbClr val="000000"/>
                    </a:gs>
                  </a:gsLst>
                  <a:lin ang="5400000" scaled="0"/>
                </a:gradFill>
                <a:latin typeface="Segoe UI"/>
              </a:rPr>
              <a:t>Access level</a:t>
            </a:r>
          </a:p>
        </p:txBody>
      </p:sp>
    </p:spTree>
    <p:extLst>
      <p:ext uri="{BB962C8B-B14F-4D97-AF65-F5344CB8AC3E}">
        <p14:creationId xmlns:p14="http://schemas.microsoft.com/office/powerpoint/2010/main" val="4142777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anim calcmode="lin" valueType="num">
                                      <p:cBhvr additive="base">
                                        <p:cTn id="7" dur="500" fill="hold"/>
                                        <p:tgtEl>
                                          <p:spTgt spid="89"/>
                                        </p:tgtEl>
                                        <p:attrNameLst>
                                          <p:attrName>ppt_x</p:attrName>
                                        </p:attrNameLst>
                                      </p:cBhvr>
                                      <p:tavLst>
                                        <p:tav tm="0">
                                          <p:val>
                                            <p:strVal val="1+#ppt_w/2"/>
                                          </p:val>
                                        </p:tav>
                                        <p:tav tm="100000">
                                          <p:val>
                                            <p:strVal val="#ppt_x"/>
                                          </p:val>
                                        </p:tav>
                                      </p:tavLst>
                                    </p:anim>
                                    <p:anim calcmode="lin" valueType="num">
                                      <p:cBhvr additive="base">
                                        <p:cTn id="8" dur="500" fill="hold"/>
                                        <p:tgtEl>
                                          <p:spTgt spid="89"/>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36"/>
                                        </p:tgtEl>
                                        <p:attrNameLst>
                                          <p:attrName>style.visibility</p:attrName>
                                        </p:attrNameLst>
                                      </p:cBhvr>
                                      <p:to>
                                        <p:strVal val="visible"/>
                                      </p:to>
                                    </p:set>
                                    <p:anim calcmode="lin" valueType="num">
                                      <p:cBhvr additive="base">
                                        <p:cTn id="11" dur="500" fill="hold"/>
                                        <p:tgtEl>
                                          <p:spTgt spid="136"/>
                                        </p:tgtEl>
                                        <p:attrNameLst>
                                          <p:attrName>ppt_x</p:attrName>
                                        </p:attrNameLst>
                                      </p:cBhvr>
                                      <p:tavLst>
                                        <p:tav tm="0">
                                          <p:val>
                                            <p:strVal val="1+#ppt_w/2"/>
                                          </p:val>
                                        </p:tav>
                                        <p:tav tm="100000">
                                          <p:val>
                                            <p:strVal val="#ppt_x"/>
                                          </p:val>
                                        </p:tav>
                                      </p:tavLst>
                                    </p:anim>
                                    <p:anim calcmode="lin" valueType="num">
                                      <p:cBhvr additive="base">
                                        <p:cTn id="12" dur="500" fill="hold"/>
                                        <p:tgtEl>
                                          <p:spTgt spid="136"/>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116"/>
                                        </p:tgtEl>
                                        <p:attrNameLst>
                                          <p:attrName>style.visibility</p:attrName>
                                        </p:attrNameLst>
                                      </p:cBhvr>
                                      <p:to>
                                        <p:strVal val="visible"/>
                                      </p:to>
                                    </p:set>
                                    <p:anim calcmode="lin" valueType="num">
                                      <p:cBhvr additive="base">
                                        <p:cTn id="15" dur="500" fill="hold"/>
                                        <p:tgtEl>
                                          <p:spTgt spid="116"/>
                                        </p:tgtEl>
                                        <p:attrNameLst>
                                          <p:attrName>ppt_x</p:attrName>
                                        </p:attrNameLst>
                                      </p:cBhvr>
                                      <p:tavLst>
                                        <p:tav tm="0">
                                          <p:val>
                                            <p:strVal val="1+#ppt_w/2"/>
                                          </p:val>
                                        </p:tav>
                                        <p:tav tm="100000">
                                          <p:val>
                                            <p:strVal val="#ppt_x"/>
                                          </p:val>
                                        </p:tav>
                                      </p:tavLst>
                                    </p:anim>
                                    <p:anim calcmode="lin" valueType="num">
                                      <p:cBhvr additive="base">
                                        <p:cTn id="16" dur="500" fill="hold"/>
                                        <p:tgtEl>
                                          <p:spTgt spid="116"/>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nodeType="clickEffect">
                                  <p:stCondLst>
                                    <p:cond delay="0"/>
                                  </p:stCondLst>
                                  <p:childTnLst>
                                    <p:set>
                                      <p:cBhvr>
                                        <p:cTn id="20" dur="1" fill="hold">
                                          <p:stCondLst>
                                            <p:cond delay="0"/>
                                          </p:stCondLst>
                                        </p:cTn>
                                        <p:tgtEl>
                                          <p:spTgt spid="95"/>
                                        </p:tgtEl>
                                        <p:attrNameLst>
                                          <p:attrName>style.visibility</p:attrName>
                                        </p:attrNameLst>
                                      </p:cBhvr>
                                      <p:to>
                                        <p:strVal val="visible"/>
                                      </p:to>
                                    </p:set>
                                    <p:anim calcmode="lin" valueType="num">
                                      <p:cBhvr additive="base">
                                        <p:cTn id="21" dur="500" fill="hold"/>
                                        <p:tgtEl>
                                          <p:spTgt spid="95"/>
                                        </p:tgtEl>
                                        <p:attrNameLst>
                                          <p:attrName>ppt_x</p:attrName>
                                        </p:attrNameLst>
                                      </p:cBhvr>
                                      <p:tavLst>
                                        <p:tav tm="0">
                                          <p:val>
                                            <p:strVal val="1+#ppt_w/2"/>
                                          </p:val>
                                        </p:tav>
                                        <p:tav tm="100000">
                                          <p:val>
                                            <p:strVal val="#ppt_x"/>
                                          </p:val>
                                        </p:tav>
                                      </p:tavLst>
                                    </p:anim>
                                    <p:anim calcmode="lin" valueType="num">
                                      <p:cBhvr additive="base">
                                        <p:cTn id="22" dur="500" fill="hold"/>
                                        <p:tgtEl>
                                          <p:spTgt spid="95"/>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0"/>
                                  </p:stCondLst>
                                  <p:childTnLst>
                                    <p:set>
                                      <p:cBhvr>
                                        <p:cTn id="24" dur="1" fill="hold">
                                          <p:stCondLst>
                                            <p:cond delay="0"/>
                                          </p:stCondLst>
                                        </p:cTn>
                                        <p:tgtEl>
                                          <p:spTgt spid="93"/>
                                        </p:tgtEl>
                                        <p:attrNameLst>
                                          <p:attrName>style.visibility</p:attrName>
                                        </p:attrNameLst>
                                      </p:cBhvr>
                                      <p:to>
                                        <p:strVal val="visible"/>
                                      </p:to>
                                    </p:set>
                                    <p:anim calcmode="lin" valueType="num">
                                      <p:cBhvr additive="base">
                                        <p:cTn id="25" dur="500" fill="hold"/>
                                        <p:tgtEl>
                                          <p:spTgt spid="93"/>
                                        </p:tgtEl>
                                        <p:attrNameLst>
                                          <p:attrName>ppt_x</p:attrName>
                                        </p:attrNameLst>
                                      </p:cBhvr>
                                      <p:tavLst>
                                        <p:tav tm="0">
                                          <p:val>
                                            <p:strVal val="1+#ppt_w/2"/>
                                          </p:val>
                                        </p:tav>
                                        <p:tav tm="100000">
                                          <p:val>
                                            <p:strVal val="#ppt_x"/>
                                          </p:val>
                                        </p:tav>
                                      </p:tavLst>
                                    </p:anim>
                                    <p:anim calcmode="lin" valueType="num">
                                      <p:cBhvr additive="base">
                                        <p:cTn id="26" dur="500" fill="hold"/>
                                        <p:tgtEl>
                                          <p:spTgt spid="93"/>
                                        </p:tgtEl>
                                        <p:attrNameLst>
                                          <p:attrName>ppt_y</p:attrName>
                                        </p:attrNameLst>
                                      </p:cBhvr>
                                      <p:tavLst>
                                        <p:tav tm="0">
                                          <p:val>
                                            <p:strVal val="#ppt_y"/>
                                          </p:val>
                                        </p:tav>
                                        <p:tav tm="100000">
                                          <p:val>
                                            <p:strVal val="#ppt_y"/>
                                          </p:val>
                                        </p:tav>
                                      </p:tavLst>
                                    </p:anim>
                                  </p:childTnLst>
                                </p:cTn>
                              </p:par>
                              <p:par>
                                <p:cTn id="27" presetID="2" presetClass="entr" presetSubtype="2" fill="hold" grpId="0" nodeType="withEffect">
                                  <p:stCondLst>
                                    <p:cond delay="0"/>
                                  </p:stCondLst>
                                  <p:childTnLst>
                                    <p:set>
                                      <p:cBhvr>
                                        <p:cTn id="28" dur="1" fill="hold">
                                          <p:stCondLst>
                                            <p:cond delay="0"/>
                                          </p:stCondLst>
                                        </p:cTn>
                                        <p:tgtEl>
                                          <p:spTgt spid="143"/>
                                        </p:tgtEl>
                                        <p:attrNameLst>
                                          <p:attrName>style.visibility</p:attrName>
                                        </p:attrNameLst>
                                      </p:cBhvr>
                                      <p:to>
                                        <p:strVal val="visible"/>
                                      </p:to>
                                    </p:set>
                                    <p:anim calcmode="lin" valueType="num">
                                      <p:cBhvr additive="base">
                                        <p:cTn id="29" dur="500" fill="hold"/>
                                        <p:tgtEl>
                                          <p:spTgt spid="143"/>
                                        </p:tgtEl>
                                        <p:attrNameLst>
                                          <p:attrName>ppt_x</p:attrName>
                                        </p:attrNameLst>
                                      </p:cBhvr>
                                      <p:tavLst>
                                        <p:tav tm="0">
                                          <p:val>
                                            <p:strVal val="1+#ppt_w/2"/>
                                          </p:val>
                                        </p:tav>
                                        <p:tav tm="100000">
                                          <p:val>
                                            <p:strVal val="#ppt_x"/>
                                          </p:val>
                                        </p:tav>
                                      </p:tavLst>
                                    </p:anim>
                                    <p:anim calcmode="lin" valueType="num">
                                      <p:cBhvr additive="base">
                                        <p:cTn id="30" dur="500" fill="hold"/>
                                        <p:tgtEl>
                                          <p:spTgt spid="143"/>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2" fill="hold" nodeType="clickEffect">
                                  <p:stCondLst>
                                    <p:cond delay="0"/>
                                  </p:stCondLst>
                                  <p:childTnLst>
                                    <p:set>
                                      <p:cBhvr>
                                        <p:cTn id="34" dur="1" fill="hold">
                                          <p:stCondLst>
                                            <p:cond delay="0"/>
                                          </p:stCondLst>
                                        </p:cTn>
                                        <p:tgtEl>
                                          <p:spTgt spid="137"/>
                                        </p:tgtEl>
                                        <p:attrNameLst>
                                          <p:attrName>style.visibility</p:attrName>
                                        </p:attrNameLst>
                                      </p:cBhvr>
                                      <p:to>
                                        <p:strVal val="visible"/>
                                      </p:to>
                                    </p:set>
                                    <p:anim calcmode="lin" valueType="num">
                                      <p:cBhvr additive="base">
                                        <p:cTn id="35" dur="500" fill="hold"/>
                                        <p:tgtEl>
                                          <p:spTgt spid="137"/>
                                        </p:tgtEl>
                                        <p:attrNameLst>
                                          <p:attrName>ppt_x</p:attrName>
                                        </p:attrNameLst>
                                      </p:cBhvr>
                                      <p:tavLst>
                                        <p:tav tm="0">
                                          <p:val>
                                            <p:strVal val="1+#ppt_w/2"/>
                                          </p:val>
                                        </p:tav>
                                        <p:tav tm="100000">
                                          <p:val>
                                            <p:strVal val="#ppt_x"/>
                                          </p:val>
                                        </p:tav>
                                      </p:tavLst>
                                    </p:anim>
                                    <p:anim calcmode="lin" valueType="num">
                                      <p:cBhvr additive="base">
                                        <p:cTn id="36" dur="500" fill="hold"/>
                                        <p:tgtEl>
                                          <p:spTgt spid="137"/>
                                        </p:tgtEl>
                                        <p:attrNameLst>
                                          <p:attrName>ppt_y</p:attrName>
                                        </p:attrNameLst>
                                      </p:cBhvr>
                                      <p:tavLst>
                                        <p:tav tm="0">
                                          <p:val>
                                            <p:strVal val="#ppt_y"/>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94"/>
                                        </p:tgtEl>
                                        <p:attrNameLst>
                                          <p:attrName>style.visibility</p:attrName>
                                        </p:attrNameLst>
                                      </p:cBhvr>
                                      <p:to>
                                        <p:strVal val="visible"/>
                                      </p:to>
                                    </p:set>
                                    <p:anim calcmode="lin" valueType="num">
                                      <p:cBhvr additive="base">
                                        <p:cTn id="39" dur="500" fill="hold"/>
                                        <p:tgtEl>
                                          <p:spTgt spid="94"/>
                                        </p:tgtEl>
                                        <p:attrNameLst>
                                          <p:attrName>ppt_x</p:attrName>
                                        </p:attrNameLst>
                                      </p:cBhvr>
                                      <p:tavLst>
                                        <p:tav tm="0">
                                          <p:val>
                                            <p:strVal val="1+#ppt_w/2"/>
                                          </p:val>
                                        </p:tav>
                                        <p:tav tm="100000">
                                          <p:val>
                                            <p:strVal val="#ppt_x"/>
                                          </p:val>
                                        </p:tav>
                                      </p:tavLst>
                                    </p:anim>
                                    <p:anim calcmode="lin" valueType="num">
                                      <p:cBhvr additive="base">
                                        <p:cTn id="40" dur="500" fill="hold"/>
                                        <p:tgtEl>
                                          <p:spTgt spid="94"/>
                                        </p:tgtEl>
                                        <p:attrNameLst>
                                          <p:attrName>ppt_y</p:attrName>
                                        </p:attrNameLst>
                                      </p:cBhvr>
                                      <p:tavLst>
                                        <p:tav tm="0">
                                          <p:val>
                                            <p:strVal val="#ppt_y"/>
                                          </p:val>
                                        </p:tav>
                                        <p:tav tm="100000">
                                          <p:val>
                                            <p:strVal val="#ppt_y"/>
                                          </p:val>
                                        </p:tav>
                                      </p:tavLst>
                                    </p:anim>
                                  </p:childTnLst>
                                </p:cTn>
                              </p:par>
                              <p:par>
                                <p:cTn id="41" presetID="2" presetClass="entr" presetSubtype="2" fill="hold" grpId="0" nodeType="withEffect">
                                  <p:stCondLst>
                                    <p:cond delay="0"/>
                                  </p:stCondLst>
                                  <p:childTnLst>
                                    <p:set>
                                      <p:cBhvr>
                                        <p:cTn id="42" dur="1" fill="hold">
                                          <p:stCondLst>
                                            <p:cond delay="0"/>
                                          </p:stCondLst>
                                        </p:cTn>
                                        <p:tgtEl>
                                          <p:spTgt spid="144"/>
                                        </p:tgtEl>
                                        <p:attrNameLst>
                                          <p:attrName>style.visibility</p:attrName>
                                        </p:attrNameLst>
                                      </p:cBhvr>
                                      <p:to>
                                        <p:strVal val="visible"/>
                                      </p:to>
                                    </p:set>
                                    <p:anim calcmode="lin" valueType="num">
                                      <p:cBhvr additive="base">
                                        <p:cTn id="43" dur="500" fill="hold"/>
                                        <p:tgtEl>
                                          <p:spTgt spid="144"/>
                                        </p:tgtEl>
                                        <p:attrNameLst>
                                          <p:attrName>ppt_x</p:attrName>
                                        </p:attrNameLst>
                                      </p:cBhvr>
                                      <p:tavLst>
                                        <p:tav tm="0">
                                          <p:val>
                                            <p:strVal val="1+#ppt_w/2"/>
                                          </p:val>
                                        </p:tav>
                                        <p:tav tm="100000">
                                          <p:val>
                                            <p:strVal val="#ppt_x"/>
                                          </p:val>
                                        </p:tav>
                                      </p:tavLst>
                                    </p:anim>
                                    <p:anim calcmode="lin" valueType="num">
                                      <p:cBhvr additive="base">
                                        <p:cTn id="44" dur="500" fill="hold"/>
                                        <p:tgtEl>
                                          <p:spTgt spid="144"/>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3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2" presetClass="entr" presetSubtype="2" fill="hold" nodeType="clickEffect">
                                  <p:stCondLst>
                                    <p:cond delay="0"/>
                                  </p:stCondLst>
                                  <p:childTnLst>
                                    <p:set>
                                      <p:cBhvr>
                                        <p:cTn id="54" dur="1" fill="hold">
                                          <p:stCondLst>
                                            <p:cond delay="0"/>
                                          </p:stCondLst>
                                        </p:cTn>
                                        <p:tgtEl>
                                          <p:spTgt spid="129"/>
                                        </p:tgtEl>
                                        <p:attrNameLst>
                                          <p:attrName>style.visibility</p:attrName>
                                        </p:attrNameLst>
                                      </p:cBhvr>
                                      <p:to>
                                        <p:strVal val="visible"/>
                                      </p:to>
                                    </p:set>
                                    <p:anim calcmode="lin" valueType="num">
                                      <p:cBhvr additive="base">
                                        <p:cTn id="55" dur="500" fill="hold"/>
                                        <p:tgtEl>
                                          <p:spTgt spid="129"/>
                                        </p:tgtEl>
                                        <p:attrNameLst>
                                          <p:attrName>ppt_x</p:attrName>
                                        </p:attrNameLst>
                                      </p:cBhvr>
                                      <p:tavLst>
                                        <p:tav tm="0">
                                          <p:val>
                                            <p:strVal val="1+#ppt_w/2"/>
                                          </p:val>
                                        </p:tav>
                                        <p:tav tm="100000">
                                          <p:val>
                                            <p:strVal val="#ppt_x"/>
                                          </p:val>
                                        </p:tav>
                                      </p:tavLst>
                                    </p:anim>
                                    <p:anim calcmode="lin" valueType="num">
                                      <p:cBhvr additive="base">
                                        <p:cTn id="56" dur="500" fill="hold"/>
                                        <p:tgtEl>
                                          <p:spTgt spid="129"/>
                                        </p:tgtEl>
                                        <p:attrNameLst>
                                          <p:attrName>ppt_y</p:attrName>
                                        </p:attrNameLst>
                                      </p:cBhvr>
                                      <p:tavLst>
                                        <p:tav tm="0">
                                          <p:val>
                                            <p:strVal val="#ppt_y"/>
                                          </p:val>
                                        </p:tav>
                                        <p:tav tm="100000">
                                          <p:val>
                                            <p:strVal val="#ppt_y"/>
                                          </p:val>
                                        </p:tav>
                                      </p:tavLst>
                                    </p:anim>
                                  </p:childTnLst>
                                </p:cTn>
                              </p:par>
                              <p:par>
                                <p:cTn id="57" presetID="2" presetClass="entr" presetSubtype="2" fill="hold" grpId="0" nodeType="withEffect">
                                  <p:stCondLst>
                                    <p:cond delay="0"/>
                                  </p:stCondLst>
                                  <p:childTnLst>
                                    <p:set>
                                      <p:cBhvr>
                                        <p:cTn id="58" dur="1" fill="hold">
                                          <p:stCondLst>
                                            <p:cond delay="0"/>
                                          </p:stCondLst>
                                        </p:cTn>
                                        <p:tgtEl>
                                          <p:spTgt spid="91"/>
                                        </p:tgtEl>
                                        <p:attrNameLst>
                                          <p:attrName>style.visibility</p:attrName>
                                        </p:attrNameLst>
                                      </p:cBhvr>
                                      <p:to>
                                        <p:strVal val="visible"/>
                                      </p:to>
                                    </p:set>
                                    <p:anim calcmode="lin" valueType="num">
                                      <p:cBhvr additive="base">
                                        <p:cTn id="59" dur="500" fill="hold"/>
                                        <p:tgtEl>
                                          <p:spTgt spid="91"/>
                                        </p:tgtEl>
                                        <p:attrNameLst>
                                          <p:attrName>ppt_x</p:attrName>
                                        </p:attrNameLst>
                                      </p:cBhvr>
                                      <p:tavLst>
                                        <p:tav tm="0">
                                          <p:val>
                                            <p:strVal val="1+#ppt_w/2"/>
                                          </p:val>
                                        </p:tav>
                                        <p:tav tm="100000">
                                          <p:val>
                                            <p:strVal val="#ppt_x"/>
                                          </p:val>
                                        </p:tav>
                                      </p:tavLst>
                                    </p:anim>
                                    <p:anim calcmode="lin" valueType="num">
                                      <p:cBhvr additive="base">
                                        <p:cTn id="60" dur="500" fill="hold"/>
                                        <p:tgtEl>
                                          <p:spTgt spid="91"/>
                                        </p:tgtEl>
                                        <p:attrNameLst>
                                          <p:attrName>ppt_y</p:attrName>
                                        </p:attrNameLst>
                                      </p:cBhvr>
                                      <p:tavLst>
                                        <p:tav tm="0">
                                          <p:val>
                                            <p:strVal val="#ppt_y"/>
                                          </p:val>
                                        </p:tav>
                                        <p:tav tm="100000">
                                          <p:val>
                                            <p:strVal val="#ppt_y"/>
                                          </p:val>
                                        </p:tav>
                                      </p:tavLst>
                                    </p:anim>
                                  </p:childTnLst>
                                </p:cTn>
                              </p:par>
                              <p:par>
                                <p:cTn id="61" presetID="2" presetClass="entr" presetSubtype="2" fill="hold" grpId="0" nodeType="withEffect">
                                  <p:stCondLst>
                                    <p:cond delay="0"/>
                                  </p:stCondLst>
                                  <p:childTnLst>
                                    <p:set>
                                      <p:cBhvr>
                                        <p:cTn id="62" dur="1" fill="hold">
                                          <p:stCondLst>
                                            <p:cond delay="0"/>
                                          </p:stCondLst>
                                        </p:cTn>
                                        <p:tgtEl>
                                          <p:spTgt spid="145"/>
                                        </p:tgtEl>
                                        <p:attrNameLst>
                                          <p:attrName>style.visibility</p:attrName>
                                        </p:attrNameLst>
                                      </p:cBhvr>
                                      <p:to>
                                        <p:strVal val="visible"/>
                                      </p:to>
                                    </p:set>
                                    <p:anim calcmode="lin" valueType="num">
                                      <p:cBhvr additive="base">
                                        <p:cTn id="63" dur="500" fill="hold"/>
                                        <p:tgtEl>
                                          <p:spTgt spid="145"/>
                                        </p:tgtEl>
                                        <p:attrNameLst>
                                          <p:attrName>ppt_x</p:attrName>
                                        </p:attrNameLst>
                                      </p:cBhvr>
                                      <p:tavLst>
                                        <p:tav tm="0">
                                          <p:val>
                                            <p:strVal val="1+#ppt_w/2"/>
                                          </p:val>
                                        </p:tav>
                                        <p:tav tm="100000">
                                          <p:val>
                                            <p:strVal val="#ppt_x"/>
                                          </p:val>
                                        </p:tav>
                                      </p:tavLst>
                                    </p:anim>
                                    <p:anim calcmode="lin" valueType="num">
                                      <p:cBhvr additive="base">
                                        <p:cTn id="64" dur="500" fill="hold"/>
                                        <p:tgtEl>
                                          <p:spTgt spid="145"/>
                                        </p:tgtEl>
                                        <p:attrNameLst>
                                          <p:attrName>ppt_y</p:attrName>
                                        </p:attrNameLst>
                                      </p:cBhvr>
                                      <p:tavLst>
                                        <p:tav tm="0">
                                          <p:val>
                                            <p:strVal val="#ppt_y"/>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2" fill="hold" nodeType="clickEffect">
                                  <p:stCondLst>
                                    <p:cond delay="0"/>
                                  </p:stCondLst>
                                  <p:childTnLst>
                                    <p:set>
                                      <p:cBhvr>
                                        <p:cTn id="68" dur="1" fill="hold">
                                          <p:stCondLst>
                                            <p:cond delay="0"/>
                                          </p:stCondLst>
                                        </p:cTn>
                                        <p:tgtEl>
                                          <p:spTgt spid="102"/>
                                        </p:tgtEl>
                                        <p:attrNameLst>
                                          <p:attrName>style.visibility</p:attrName>
                                        </p:attrNameLst>
                                      </p:cBhvr>
                                      <p:to>
                                        <p:strVal val="visible"/>
                                      </p:to>
                                    </p:set>
                                    <p:anim calcmode="lin" valueType="num">
                                      <p:cBhvr additive="base">
                                        <p:cTn id="69" dur="500" fill="hold"/>
                                        <p:tgtEl>
                                          <p:spTgt spid="102"/>
                                        </p:tgtEl>
                                        <p:attrNameLst>
                                          <p:attrName>ppt_x</p:attrName>
                                        </p:attrNameLst>
                                      </p:cBhvr>
                                      <p:tavLst>
                                        <p:tav tm="0">
                                          <p:val>
                                            <p:strVal val="1+#ppt_w/2"/>
                                          </p:val>
                                        </p:tav>
                                        <p:tav tm="100000">
                                          <p:val>
                                            <p:strVal val="#ppt_x"/>
                                          </p:val>
                                        </p:tav>
                                      </p:tavLst>
                                    </p:anim>
                                    <p:anim calcmode="lin" valueType="num">
                                      <p:cBhvr additive="base">
                                        <p:cTn id="70" dur="500" fill="hold"/>
                                        <p:tgtEl>
                                          <p:spTgt spid="102"/>
                                        </p:tgtEl>
                                        <p:attrNameLst>
                                          <p:attrName>ppt_y</p:attrName>
                                        </p:attrNameLst>
                                      </p:cBhvr>
                                      <p:tavLst>
                                        <p:tav tm="0">
                                          <p:val>
                                            <p:strVal val="#ppt_y"/>
                                          </p:val>
                                        </p:tav>
                                        <p:tav tm="100000">
                                          <p:val>
                                            <p:strVal val="#ppt_y"/>
                                          </p:val>
                                        </p:tav>
                                      </p:tavLst>
                                    </p:anim>
                                  </p:childTnLst>
                                </p:cTn>
                              </p:par>
                              <p:par>
                                <p:cTn id="71" presetID="2" presetClass="entr" presetSubtype="2" fill="hold" grpId="0" nodeType="withEffect">
                                  <p:stCondLst>
                                    <p:cond delay="0"/>
                                  </p:stCondLst>
                                  <p:childTnLst>
                                    <p:set>
                                      <p:cBhvr>
                                        <p:cTn id="72" dur="1" fill="hold">
                                          <p:stCondLst>
                                            <p:cond delay="0"/>
                                          </p:stCondLst>
                                        </p:cTn>
                                        <p:tgtEl>
                                          <p:spTgt spid="90"/>
                                        </p:tgtEl>
                                        <p:attrNameLst>
                                          <p:attrName>style.visibility</p:attrName>
                                        </p:attrNameLst>
                                      </p:cBhvr>
                                      <p:to>
                                        <p:strVal val="visible"/>
                                      </p:to>
                                    </p:set>
                                    <p:anim calcmode="lin" valueType="num">
                                      <p:cBhvr additive="base">
                                        <p:cTn id="73" dur="500" fill="hold"/>
                                        <p:tgtEl>
                                          <p:spTgt spid="90"/>
                                        </p:tgtEl>
                                        <p:attrNameLst>
                                          <p:attrName>ppt_x</p:attrName>
                                        </p:attrNameLst>
                                      </p:cBhvr>
                                      <p:tavLst>
                                        <p:tav tm="0">
                                          <p:val>
                                            <p:strVal val="1+#ppt_w/2"/>
                                          </p:val>
                                        </p:tav>
                                        <p:tav tm="100000">
                                          <p:val>
                                            <p:strVal val="#ppt_x"/>
                                          </p:val>
                                        </p:tav>
                                      </p:tavLst>
                                    </p:anim>
                                    <p:anim calcmode="lin" valueType="num">
                                      <p:cBhvr additive="base">
                                        <p:cTn id="74" dur="500" fill="hold"/>
                                        <p:tgtEl>
                                          <p:spTgt spid="90"/>
                                        </p:tgtEl>
                                        <p:attrNameLst>
                                          <p:attrName>ppt_y</p:attrName>
                                        </p:attrNameLst>
                                      </p:cBhvr>
                                      <p:tavLst>
                                        <p:tav tm="0">
                                          <p:val>
                                            <p:strVal val="#ppt_y"/>
                                          </p:val>
                                        </p:tav>
                                        <p:tav tm="100000">
                                          <p:val>
                                            <p:strVal val="#ppt_y"/>
                                          </p:val>
                                        </p:tav>
                                      </p:tavLst>
                                    </p:anim>
                                  </p:childTnLst>
                                </p:cTn>
                              </p:par>
                              <p:par>
                                <p:cTn id="75" presetID="2" presetClass="entr" presetSubtype="2" fill="hold" grpId="0" nodeType="withEffect">
                                  <p:stCondLst>
                                    <p:cond delay="0"/>
                                  </p:stCondLst>
                                  <p:childTnLst>
                                    <p:set>
                                      <p:cBhvr>
                                        <p:cTn id="76" dur="1" fill="hold">
                                          <p:stCondLst>
                                            <p:cond delay="0"/>
                                          </p:stCondLst>
                                        </p:cTn>
                                        <p:tgtEl>
                                          <p:spTgt spid="146"/>
                                        </p:tgtEl>
                                        <p:attrNameLst>
                                          <p:attrName>style.visibility</p:attrName>
                                        </p:attrNameLst>
                                      </p:cBhvr>
                                      <p:to>
                                        <p:strVal val="visible"/>
                                      </p:to>
                                    </p:set>
                                    <p:anim calcmode="lin" valueType="num">
                                      <p:cBhvr additive="base">
                                        <p:cTn id="77" dur="500" fill="hold"/>
                                        <p:tgtEl>
                                          <p:spTgt spid="146"/>
                                        </p:tgtEl>
                                        <p:attrNameLst>
                                          <p:attrName>ppt_x</p:attrName>
                                        </p:attrNameLst>
                                      </p:cBhvr>
                                      <p:tavLst>
                                        <p:tav tm="0">
                                          <p:val>
                                            <p:strVal val="1+#ppt_w/2"/>
                                          </p:val>
                                        </p:tav>
                                        <p:tav tm="100000">
                                          <p:val>
                                            <p:strVal val="#ppt_x"/>
                                          </p:val>
                                        </p:tav>
                                      </p:tavLst>
                                    </p:anim>
                                    <p:anim calcmode="lin" valueType="num">
                                      <p:cBhvr additive="base">
                                        <p:cTn id="78" dur="500" fill="hold"/>
                                        <p:tgtEl>
                                          <p:spTgt spid="146"/>
                                        </p:tgtEl>
                                        <p:attrNameLst>
                                          <p:attrName>ppt_y</p:attrName>
                                        </p:attrNameLst>
                                      </p:cBhvr>
                                      <p:tavLst>
                                        <p:tav tm="0">
                                          <p:val>
                                            <p:strVal val="#ppt_y"/>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2" fill="hold" grpId="0" nodeType="clickEffect">
                                  <p:stCondLst>
                                    <p:cond delay="0"/>
                                  </p:stCondLst>
                                  <p:childTnLst>
                                    <p:set>
                                      <p:cBhvr>
                                        <p:cTn id="82" dur="1" fill="hold">
                                          <p:stCondLst>
                                            <p:cond delay="0"/>
                                          </p:stCondLst>
                                        </p:cTn>
                                        <p:tgtEl>
                                          <p:spTgt spid="115"/>
                                        </p:tgtEl>
                                        <p:attrNameLst>
                                          <p:attrName>style.visibility</p:attrName>
                                        </p:attrNameLst>
                                      </p:cBhvr>
                                      <p:to>
                                        <p:strVal val="visible"/>
                                      </p:to>
                                    </p:set>
                                    <p:anim calcmode="lin" valueType="num">
                                      <p:cBhvr additive="base">
                                        <p:cTn id="83" dur="500" fill="hold"/>
                                        <p:tgtEl>
                                          <p:spTgt spid="115"/>
                                        </p:tgtEl>
                                        <p:attrNameLst>
                                          <p:attrName>ppt_x</p:attrName>
                                        </p:attrNameLst>
                                      </p:cBhvr>
                                      <p:tavLst>
                                        <p:tav tm="0">
                                          <p:val>
                                            <p:strVal val="1+#ppt_w/2"/>
                                          </p:val>
                                        </p:tav>
                                        <p:tav tm="100000">
                                          <p:val>
                                            <p:strVal val="#ppt_x"/>
                                          </p:val>
                                        </p:tav>
                                      </p:tavLst>
                                    </p:anim>
                                    <p:anim calcmode="lin" valueType="num">
                                      <p:cBhvr additive="base">
                                        <p:cTn id="84" dur="500" fill="hold"/>
                                        <p:tgtEl>
                                          <p:spTgt spid="115"/>
                                        </p:tgtEl>
                                        <p:attrNameLst>
                                          <p:attrName>ppt_y</p:attrName>
                                        </p:attrNameLst>
                                      </p:cBhvr>
                                      <p:tavLst>
                                        <p:tav tm="0">
                                          <p:val>
                                            <p:strVal val="#ppt_y"/>
                                          </p:val>
                                        </p:tav>
                                        <p:tav tm="100000">
                                          <p:val>
                                            <p:strVal val="#ppt_y"/>
                                          </p:val>
                                        </p:tav>
                                      </p:tavLst>
                                    </p:anim>
                                  </p:childTnLst>
                                </p:cTn>
                              </p:par>
                              <p:par>
                                <p:cTn id="85" presetID="2" presetClass="entr" presetSubtype="2" fill="hold" grpId="0" nodeType="withEffect">
                                  <p:stCondLst>
                                    <p:cond delay="0"/>
                                  </p:stCondLst>
                                  <p:childTnLst>
                                    <p:set>
                                      <p:cBhvr>
                                        <p:cTn id="86" dur="1" fill="hold">
                                          <p:stCondLst>
                                            <p:cond delay="0"/>
                                          </p:stCondLst>
                                        </p:cTn>
                                        <p:tgtEl>
                                          <p:spTgt spid="92"/>
                                        </p:tgtEl>
                                        <p:attrNameLst>
                                          <p:attrName>style.visibility</p:attrName>
                                        </p:attrNameLst>
                                      </p:cBhvr>
                                      <p:to>
                                        <p:strVal val="visible"/>
                                      </p:to>
                                    </p:set>
                                    <p:anim calcmode="lin" valueType="num">
                                      <p:cBhvr additive="base">
                                        <p:cTn id="87" dur="500" fill="hold"/>
                                        <p:tgtEl>
                                          <p:spTgt spid="92"/>
                                        </p:tgtEl>
                                        <p:attrNameLst>
                                          <p:attrName>ppt_x</p:attrName>
                                        </p:attrNameLst>
                                      </p:cBhvr>
                                      <p:tavLst>
                                        <p:tav tm="0">
                                          <p:val>
                                            <p:strVal val="1+#ppt_w/2"/>
                                          </p:val>
                                        </p:tav>
                                        <p:tav tm="100000">
                                          <p:val>
                                            <p:strVal val="#ppt_x"/>
                                          </p:val>
                                        </p:tav>
                                      </p:tavLst>
                                    </p:anim>
                                    <p:anim calcmode="lin" valueType="num">
                                      <p:cBhvr additive="base">
                                        <p:cTn id="88" dur="500" fill="hold"/>
                                        <p:tgtEl>
                                          <p:spTgt spid="92"/>
                                        </p:tgtEl>
                                        <p:attrNameLst>
                                          <p:attrName>ppt_y</p:attrName>
                                        </p:attrNameLst>
                                      </p:cBhvr>
                                      <p:tavLst>
                                        <p:tav tm="0">
                                          <p:val>
                                            <p:strVal val="#ppt_y"/>
                                          </p:val>
                                        </p:tav>
                                        <p:tav tm="100000">
                                          <p:val>
                                            <p:strVal val="#ppt_y"/>
                                          </p:val>
                                        </p:tav>
                                      </p:tavLst>
                                    </p:anim>
                                  </p:childTnLst>
                                </p:cTn>
                              </p:par>
                              <p:par>
                                <p:cTn id="89" presetID="2" presetClass="entr" presetSubtype="2" fill="hold" grpId="0" nodeType="withEffect">
                                  <p:stCondLst>
                                    <p:cond delay="0"/>
                                  </p:stCondLst>
                                  <p:childTnLst>
                                    <p:set>
                                      <p:cBhvr>
                                        <p:cTn id="90" dur="1" fill="hold">
                                          <p:stCondLst>
                                            <p:cond delay="0"/>
                                          </p:stCondLst>
                                        </p:cTn>
                                        <p:tgtEl>
                                          <p:spTgt spid="147"/>
                                        </p:tgtEl>
                                        <p:attrNameLst>
                                          <p:attrName>style.visibility</p:attrName>
                                        </p:attrNameLst>
                                      </p:cBhvr>
                                      <p:to>
                                        <p:strVal val="visible"/>
                                      </p:to>
                                    </p:set>
                                    <p:anim calcmode="lin" valueType="num">
                                      <p:cBhvr additive="base">
                                        <p:cTn id="91" dur="500" fill="hold"/>
                                        <p:tgtEl>
                                          <p:spTgt spid="147"/>
                                        </p:tgtEl>
                                        <p:attrNameLst>
                                          <p:attrName>ppt_x</p:attrName>
                                        </p:attrNameLst>
                                      </p:cBhvr>
                                      <p:tavLst>
                                        <p:tav tm="0">
                                          <p:val>
                                            <p:strVal val="1+#ppt_w/2"/>
                                          </p:val>
                                        </p:tav>
                                        <p:tav tm="100000">
                                          <p:val>
                                            <p:strVal val="#ppt_x"/>
                                          </p:val>
                                        </p:tav>
                                      </p:tavLst>
                                    </p:anim>
                                    <p:anim calcmode="lin" valueType="num">
                                      <p:cBhvr additive="base">
                                        <p:cTn id="92" dur="500" fill="hold"/>
                                        <p:tgtEl>
                                          <p:spTgt spid="14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animBg="1"/>
      <p:bldP spid="93" grpId="0" animBg="1"/>
      <p:bldP spid="94" grpId="0" animBg="1"/>
      <p:bldP spid="115" grpId="0" animBg="1"/>
      <p:bldP spid="135" grpId="0"/>
      <p:bldP spid="136" grpId="0"/>
      <p:bldP spid="143" grpId="0"/>
      <p:bldP spid="144" grpId="0"/>
      <p:bldP spid="145" grpId="0"/>
      <p:bldP spid="146" grpId="0"/>
      <p:bldP spid="14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SQLintersection">
  <a:themeElements>
    <a:clrScheme name="Azure + AI Conf">
      <a:dk1>
        <a:srgbClr val="000000"/>
      </a:dk1>
      <a:lt1>
        <a:srgbClr val="FFFFFF"/>
      </a:lt1>
      <a:dk2>
        <a:srgbClr val="335B74"/>
      </a:dk2>
      <a:lt2>
        <a:srgbClr val="DFE3E5"/>
      </a:lt2>
      <a:accent1>
        <a:srgbClr val="273573"/>
      </a:accent1>
      <a:accent2>
        <a:srgbClr val="2683C6"/>
      </a:accent2>
      <a:accent3>
        <a:srgbClr val="5586B0"/>
      </a:accent3>
      <a:accent4>
        <a:srgbClr val="77B342"/>
      </a:accent4>
      <a:accent5>
        <a:srgbClr val="3E8853"/>
      </a:accent5>
      <a:accent6>
        <a:srgbClr val="62A39F"/>
      </a:accent6>
      <a:hlink>
        <a:srgbClr val="6EAC1C"/>
      </a:hlink>
      <a:folHlink>
        <a:srgbClr val="B26B02"/>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3.xml><?xml version="1.0" encoding="utf-8"?>
<a:theme xmlns:a="http://schemas.openxmlformats.org/drawingml/2006/main" name="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Illustration_2018_Cloud_011.potx" id="{762B47AA-A827-4F63-8EDD-1F6B4767BB62}" vid="{53DB83EF-4F78-4F48-A301-01610C79C1EF}"/>
    </a:ext>
  </a:extLst>
</a:theme>
</file>

<file path=ppt/theme/theme4.xml><?xml version="1.0" encoding="utf-8"?>
<a:theme xmlns:a="http://schemas.openxmlformats.org/drawingml/2006/main" name="2_Azure PPT Template - 2018">
  <a:themeElements>
    <a:clrScheme name="Azure">
      <a:dk1>
        <a:srgbClr val="000000"/>
      </a:dk1>
      <a:lt1>
        <a:srgbClr val="FFFFFF"/>
      </a:lt1>
      <a:dk2>
        <a:srgbClr val="0078D7"/>
      </a:dk2>
      <a:lt2>
        <a:srgbClr val="FFFFFF"/>
      </a:lt2>
      <a:accent1>
        <a:srgbClr val="E6E6E6"/>
      </a:accent1>
      <a:accent2>
        <a:srgbClr val="D2D2D2"/>
      </a:accent2>
      <a:accent3>
        <a:srgbClr val="737373"/>
      </a:accent3>
      <a:accent4>
        <a:srgbClr val="505050"/>
      </a:accent4>
      <a:accent5>
        <a:srgbClr val="BAD80A"/>
      </a:accent5>
      <a:accent6>
        <a:srgbClr val="00BCF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PPT Template 2018 presentation_v3" id="{1968021E-D85B-4A85-BB07-6BF24CCBC27F}" vid="{6E53F19A-D2E9-48F2-9B61-183D930FD7CB}"/>
    </a:ext>
  </a:extLst>
</a:theme>
</file>

<file path=ppt/theme/theme5.xml><?xml version="1.0" encoding="utf-8"?>
<a:theme xmlns:a="http://schemas.openxmlformats.org/drawingml/2006/main" name="1_SQLintersection">
  <a:themeElements>
    <a:clrScheme name="Azure + AI Conf">
      <a:dk1>
        <a:srgbClr val="000000"/>
      </a:dk1>
      <a:lt1>
        <a:srgbClr val="FFFFFF"/>
      </a:lt1>
      <a:dk2>
        <a:srgbClr val="335B74"/>
      </a:dk2>
      <a:lt2>
        <a:srgbClr val="DFE3E5"/>
      </a:lt2>
      <a:accent1>
        <a:srgbClr val="273573"/>
      </a:accent1>
      <a:accent2>
        <a:srgbClr val="2683C6"/>
      </a:accent2>
      <a:accent3>
        <a:srgbClr val="5586B0"/>
      </a:accent3>
      <a:accent4>
        <a:srgbClr val="77B342"/>
      </a:accent4>
      <a:accent5>
        <a:srgbClr val="3E8853"/>
      </a:accent5>
      <a:accent6>
        <a:srgbClr val="62A39F"/>
      </a:accent6>
      <a:hlink>
        <a:srgbClr val="6EAC1C"/>
      </a:hlink>
      <a:folHlink>
        <a:srgbClr val="B26B02"/>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4E284496-52C1-405F-ADD9-D60704CD916A}"/>
    </a:ext>
  </a:extLst>
</a:theme>
</file>

<file path=ppt/theme/theme7.xml><?xml version="1.0" encoding="utf-8"?>
<a:theme xmlns:a="http://schemas.openxmlformats.org/drawingml/2006/main" name="3_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FAB5B661-A239-4DE4-B4CB-E975B1976AB0}"/>
    </a:ext>
  </a:extLst>
</a:theme>
</file>

<file path=ppt/theme/theme8.xml><?xml version="1.0" encoding="utf-8"?>
<a:theme xmlns:a="http://schemas.openxmlformats.org/drawingml/2006/main" name="2_SQLintersection">
  <a:themeElements>
    <a:clrScheme name="Azure + AI Conf">
      <a:dk1>
        <a:srgbClr val="000000"/>
      </a:dk1>
      <a:lt1>
        <a:srgbClr val="FFFFFF"/>
      </a:lt1>
      <a:dk2>
        <a:srgbClr val="335B74"/>
      </a:dk2>
      <a:lt2>
        <a:srgbClr val="DFE3E5"/>
      </a:lt2>
      <a:accent1>
        <a:srgbClr val="273573"/>
      </a:accent1>
      <a:accent2>
        <a:srgbClr val="2683C6"/>
      </a:accent2>
      <a:accent3>
        <a:srgbClr val="5586B0"/>
      </a:accent3>
      <a:accent4>
        <a:srgbClr val="77B342"/>
      </a:accent4>
      <a:accent5>
        <a:srgbClr val="3E8853"/>
      </a:accent5>
      <a:accent6>
        <a:srgbClr val="62A39F"/>
      </a:accent6>
      <a:hlink>
        <a:srgbClr val="6EAC1C"/>
      </a:hlink>
      <a:folHlink>
        <a:srgbClr val="B26B02"/>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SQLintersection">
  <a:themeElements>
    <a:clrScheme name="Azure_AI">
      <a:dk1>
        <a:srgbClr val="000000"/>
      </a:dk1>
      <a:lt1>
        <a:srgbClr val="FEFFFE"/>
      </a:lt1>
      <a:dk2>
        <a:srgbClr val="002E56"/>
      </a:dk2>
      <a:lt2>
        <a:srgbClr val="FEFFFE"/>
      </a:lt2>
      <a:accent1>
        <a:srgbClr val="00ECFF"/>
      </a:accent1>
      <a:accent2>
        <a:srgbClr val="008FD1"/>
      </a:accent2>
      <a:accent3>
        <a:srgbClr val="333432"/>
      </a:accent3>
      <a:accent4>
        <a:srgbClr val="000000"/>
      </a:accent4>
      <a:accent5>
        <a:srgbClr val="0095A8"/>
      </a:accent5>
      <a:accent6>
        <a:srgbClr val="2752B5"/>
      </a:accent6>
      <a:hlink>
        <a:srgbClr val="6BC6FF"/>
      </a:hlink>
      <a:folHlink>
        <a:srgbClr val="3978FF"/>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gradFill rotWithShape="1">
          <a:gsLst>
            <a:gs pos="0">
              <a:srgbClr val="A4D289"/>
            </a:gs>
            <a:gs pos="100000">
              <a:schemeClr val="bg1"/>
            </a:gs>
          </a:gsLst>
          <a:lin ang="5400000" scaled="1"/>
        </a:gradFill>
        <a:ln w="9525" algn="ctr">
          <a:solidFill>
            <a:schemeClr val="tx1"/>
          </a:solidFill>
          <a:miter lim="800000"/>
          <a:headEnd/>
          <a:tailEnd/>
        </a:ln>
        <a:effectLst>
          <a:outerShdw blurRad="50800" dist="38100" dir="2700000" algn="tl" rotWithShape="0">
            <a:prstClr val="black">
              <a:alpha val="40000"/>
            </a:prstClr>
          </a:outerShdw>
        </a:effectLst>
      </a:spPr>
      <a:bodyPr wrap="none" anchor="ctr"/>
      <a:lstStyle>
        <a:defPPr>
          <a:defRPr sz="2000" dirty="0">
            <a:latin typeface="Tekton Pro" pitchFamily="34" charset="0"/>
          </a:defRPr>
        </a:defPPr>
      </a:lstStyle>
    </a:spDef>
    <a:lnDef>
      <a:spPr bwMode="auto">
        <a:xfrm>
          <a:off x="0" y="0"/>
          <a:ext cx="1" cy="1"/>
        </a:xfrm>
        <a:custGeom>
          <a:avLst/>
          <a:gdLst/>
          <a:ahLst/>
          <a:cxnLst/>
          <a:rect l="0" t="0" r="0" b="0"/>
          <a:pathLst/>
        </a:custGeom>
        <a:gradFill rotWithShape="1">
          <a:gsLst>
            <a:gs pos="0">
              <a:srgbClr val="A4D289"/>
            </a:gs>
            <a:gs pos="100000">
              <a:schemeClr val="bg1"/>
            </a:gs>
          </a:gsLst>
          <a:lin ang="5400000" scaled="1"/>
        </a:gradFill>
        <a:ln w="9525" cap="flat" cmpd="sng" algn="ctr">
          <a:solidFill>
            <a:schemeClr val="tx1"/>
          </a:solidFill>
          <a:prstDash val="solid"/>
          <a:round/>
          <a:headEnd type="none" w="med" len="med"/>
          <a:tailEnd type="none" w="med" len="med"/>
        </a:ln>
        <a:effectLst/>
      </a:spPr>
      <a:bodyPr vert="horz" wrap="none" lIns="91440" tIns="45720" rIns="91440" bIns="45720" anchor="ctr" compatLnSpc="1"/>
      <a:lstStyle>
        <a:defPPr marL="0" marR="0" indent="0" algn="ctr" defTabSz="914400" rtl="0" eaLnBrk="0" fontAlgn="base" latinLnBrk="0" hangingPunct="0">
          <a:lnSpc>
            <a:spcPct val="100000"/>
          </a:lnSpc>
          <a:spcBef>
            <a:spcPct val="0"/>
          </a:spcBef>
          <a:spcAft>
            <a:spcPct val="0"/>
          </a:spcAft>
          <a:buNone/>
          <a:tabLst/>
          <a:defRPr kumimoji="0" lang="en-US" sz="1600" b="1" i="0" u="none" strike="noStrike" baseline="0">
            <a:solidFill>
              <a:schemeClr val="tx1">
                <a:alpha val="100000"/>
              </a:schemeClr>
            </a:solidFill>
            <a:effectLst/>
            <a:latin typeface="Arial"/>
          </a:defRPr>
        </a:defPPr>
      </a:lstStyle>
    </a:lnDef>
    <a:txDef>
      <a:spPr bwMode="auto">
        <a:noFill/>
        <a:ln w="9525">
          <a:noFill/>
          <a:miter lim="800000"/>
          <a:headEnd/>
          <a:tailEnd/>
        </a:ln>
      </a:spPr>
      <a:bodyPr wrap="none">
        <a:spAutoFit/>
      </a:bodyPr>
      <a:lstStyle>
        <a:defPPr>
          <a:defRPr sz="1800" dirty="0">
            <a:solidFill>
              <a:srgbClr val="002060"/>
            </a:solidFill>
            <a:latin typeface="Tekton Pro" pitchFamily="34" charset="0"/>
          </a:defRPr>
        </a:defPPr>
      </a:lstStyle>
    </a:txDef>
  </a:objectDefaults>
  <a:extraClrSchemeLst>
    <a:extraClrScheme>
      <a:clrScheme name="Watermark 1">
        <a:dk1>
          <a:srgbClr val="000000"/>
        </a:dk1>
        <a:lt1>
          <a:srgbClr val="FFFFFF"/>
        </a:lt1>
        <a:dk2>
          <a:srgbClr val="000000"/>
        </a:dk2>
        <a:lt2>
          <a:srgbClr val="808080"/>
        </a:lt2>
        <a:accent1>
          <a:srgbClr val="CCCCFF"/>
        </a:accent1>
        <a:accent2>
          <a:srgbClr val="D9D8EC"/>
        </a:accent2>
        <a:accent3>
          <a:srgbClr val="FFFFFF"/>
        </a:accent3>
        <a:accent4>
          <a:srgbClr val="000000"/>
        </a:accent4>
        <a:accent5>
          <a:srgbClr val="E2E2FF"/>
        </a:accent5>
        <a:accent6>
          <a:srgbClr val="C4C4D6"/>
        </a:accent6>
        <a:hlink>
          <a:srgbClr val="6767FF"/>
        </a:hlink>
        <a:folHlink>
          <a:srgbClr val="9933FF"/>
        </a:folHlink>
      </a:clrScheme>
      <a:clrMap bg1="lt1" tx1="dk1" bg2="lt2" tx2="dk2" accent1="accent1" accent2="accent2" accent3="accent3" accent4="accent4" accent5="accent5" accent6="accent6" hlink="hlink" folHlink="folHlink"/>
    </a:extraClrScheme>
    <a:extraClrScheme>
      <a:clrScheme name="Watermark 2">
        <a:dk1>
          <a:srgbClr val="000000"/>
        </a:dk1>
        <a:lt1>
          <a:srgbClr val="FFFFFF"/>
        </a:lt1>
        <a:dk2>
          <a:srgbClr val="666633"/>
        </a:dk2>
        <a:lt2>
          <a:srgbClr val="5F5F5F"/>
        </a:lt2>
        <a:accent1>
          <a:srgbClr val="FFCC00"/>
        </a:accent1>
        <a:accent2>
          <a:srgbClr val="EFF0B2"/>
        </a:accent2>
        <a:accent3>
          <a:srgbClr val="FFFFFF"/>
        </a:accent3>
        <a:accent4>
          <a:srgbClr val="000000"/>
        </a:accent4>
        <a:accent5>
          <a:srgbClr val="FFE2AA"/>
        </a:accent5>
        <a:accent6>
          <a:srgbClr val="D9D9A1"/>
        </a:accent6>
        <a:hlink>
          <a:srgbClr val="808000"/>
        </a:hlink>
        <a:folHlink>
          <a:srgbClr val="CCCC00"/>
        </a:folHlink>
      </a:clrScheme>
      <a:clrMap bg1="lt1" tx1="dk1" bg2="lt2" tx2="dk2" accent1="accent1" accent2="accent2" accent3="accent3" accent4="accent4" accent5="accent5" accent6="accent6" hlink="hlink" folHlink="folHlink"/>
    </a:extraClrScheme>
    <a:extraClrScheme>
      <a:clrScheme name="Watermark 3">
        <a:dk1>
          <a:srgbClr val="000000"/>
        </a:dk1>
        <a:lt1>
          <a:srgbClr val="FFFFFF"/>
        </a:lt1>
        <a:dk2>
          <a:srgbClr val="000000"/>
        </a:dk2>
        <a:lt2>
          <a:srgbClr val="666699"/>
        </a:lt2>
        <a:accent1>
          <a:srgbClr val="9BB0CB"/>
        </a:accent1>
        <a:accent2>
          <a:srgbClr val="D1E0CE"/>
        </a:accent2>
        <a:accent3>
          <a:srgbClr val="FFFFFF"/>
        </a:accent3>
        <a:accent4>
          <a:srgbClr val="000000"/>
        </a:accent4>
        <a:accent5>
          <a:srgbClr val="CBD4E2"/>
        </a:accent5>
        <a:accent6>
          <a:srgbClr val="BDCBBA"/>
        </a:accent6>
        <a:hlink>
          <a:srgbClr val="8EA642"/>
        </a:hlink>
        <a:folHlink>
          <a:srgbClr val="CCCC00"/>
        </a:folHlink>
      </a:clrScheme>
      <a:clrMap bg1="lt1" tx1="dk1" bg2="lt2" tx2="dk2" accent1="accent1" accent2="accent2" accent3="accent3" accent4="accent4" accent5="accent5" accent6="accent6" hlink="hlink" folHlink="folHlink"/>
    </a:extraClrScheme>
    <a:extraClrScheme>
      <a:clrScheme name="Watermark 4">
        <a:dk1>
          <a:srgbClr val="333300"/>
        </a:dk1>
        <a:lt1>
          <a:srgbClr val="FFFFCC"/>
        </a:lt1>
        <a:dk2>
          <a:srgbClr val="336600"/>
        </a:dk2>
        <a:lt2>
          <a:srgbClr val="FFFFCC"/>
        </a:lt2>
        <a:accent1>
          <a:srgbClr val="99CC00"/>
        </a:accent1>
        <a:accent2>
          <a:srgbClr val="669900"/>
        </a:accent2>
        <a:accent3>
          <a:srgbClr val="ADB8AA"/>
        </a:accent3>
        <a:accent4>
          <a:srgbClr val="DADAAE"/>
        </a:accent4>
        <a:accent5>
          <a:srgbClr val="CAE2AA"/>
        </a:accent5>
        <a:accent6>
          <a:srgbClr val="5C8A00"/>
        </a:accent6>
        <a:hlink>
          <a:srgbClr val="CC9900"/>
        </a:hlink>
        <a:folHlink>
          <a:srgbClr val="FFCC00"/>
        </a:folHlink>
      </a:clrScheme>
      <a:clrMap bg1="dk2" tx1="lt1" bg2="dk1" tx2="lt2" accent1="accent1" accent2="accent2" accent3="accent3" accent4="accent4" accent5="accent5" accent6="accent6" hlink="hlink" folHlink="folHlink"/>
    </a:extraClrScheme>
    <a:extraClrScheme>
      <a:clrScheme name="Watermark 5">
        <a:dk1>
          <a:srgbClr val="424458"/>
        </a:dk1>
        <a:lt1>
          <a:srgbClr val="FFFFFF"/>
        </a:lt1>
        <a:dk2>
          <a:srgbClr val="004A48"/>
        </a:dk2>
        <a:lt2>
          <a:srgbClr val="FFFFFF"/>
        </a:lt2>
        <a:accent1>
          <a:srgbClr val="83B200"/>
        </a:accent1>
        <a:accent2>
          <a:srgbClr val="006260"/>
        </a:accent2>
        <a:accent3>
          <a:srgbClr val="AAB1B1"/>
        </a:accent3>
        <a:accent4>
          <a:srgbClr val="DADADA"/>
        </a:accent4>
        <a:accent5>
          <a:srgbClr val="C1D5AA"/>
        </a:accent5>
        <a:accent6>
          <a:srgbClr val="005856"/>
        </a:accent6>
        <a:hlink>
          <a:srgbClr val="6666FF"/>
        </a:hlink>
        <a:folHlink>
          <a:srgbClr val="B2B2B2"/>
        </a:folHlink>
      </a:clrScheme>
      <a:clrMap bg1="dk2" tx1="lt1" bg2="dk1" tx2="lt2" accent1="accent1" accent2="accent2" accent3="accent3" accent4="accent4" accent5="accent5" accent6="accent6" hlink="hlink" folHlink="folHlink"/>
    </a:extraClrScheme>
    <a:extraClrScheme>
      <a:clrScheme name="Watermark 6">
        <a:dk1>
          <a:srgbClr val="000000"/>
        </a:dk1>
        <a:lt1>
          <a:srgbClr val="FFFFFF"/>
        </a:lt1>
        <a:dk2>
          <a:srgbClr val="1C2046"/>
        </a:dk2>
        <a:lt2>
          <a:srgbClr val="FFFFFF"/>
        </a:lt2>
        <a:accent1>
          <a:srgbClr val="00CCFF"/>
        </a:accent1>
        <a:accent2>
          <a:srgbClr val="2D226E"/>
        </a:accent2>
        <a:accent3>
          <a:srgbClr val="ABABB0"/>
        </a:accent3>
        <a:accent4>
          <a:srgbClr val="DADADA"/>
        </a:accent4>
        <a:accent5>
          <a:srgbClr val="AAE2FF"/>
        </a:accent5>
        <a:accent6>
          <a:srgbClr val="281E63"/>
        </a:accent6>
        <a:hlink>
          <a:srgbClr val="666699"/>
        </a:hlink>
        <a:folHlink>
          <a:srgbClr val="9999FF"/>
        </a:folHlink>
      </a:clrScheme>
      <a:clrMap bg1="dk2" tx1="lt1" bg2="dk1" tx2="lt2" accent1="accent1" accent2="accent2" accent3="accent3" accent4="accent4" accent5="accent5" accent6="accent6" hlink="hlink" folHlink="folHlink"/>
    </a:extraClrScheme>
    <a:extraClrScheme>
      <a:clrScheme name="Watermark 7">
        <a:dk1>
          <a:srgbClr val="424458"/>
        </a:dk1>
        <a:lt1>
          <a:srgbClr val="FFFFFF"/>
        </a:lt1>
        <a:dk2>
          <a:srgbClr val="000066"/>
        </a:dk2>
        <a:lt2>
          <a:srgbClr val="FFFFFF"/>
        </a:lt2>
        <a:accent1>
          <a:srgbClr val="6666FF"/>
        </a:accent1>
        <a:accent2>
          <a:srgbClr val="333399"/>
        </a:accent2>
        <a:accent3>
          <a:srgbClr val="AAAAB8"/>
        </a:accent3>
        <a:accent4>
          <a:srgbClr val="DADADA"/>
        </a:accent4>
        <a:accent5>
          <a:srgbClr val="B8B8FF"/>
        </a:accent5>
        <a:accent6>
          <a:srgbClr val="2D2D8A"/>
        </a:accent6>
        <a:hlink>
          <a:srgbClr val="FF9900"/>
        </a:hlink>
        <a:folHlink>
          <a:srgbClr val="CCCC00"/>
        </a:folHlink>
      </a:clrScheme>
      <a:clrMap bg1="dk2" tx1="lt1" bg2="dk1" tx2="lt2" accent1="accent1" accent2="accent2" accent3="accent3" accent4="accent4" accent5="accent5" accent6="accent6" hlink="hlink" folHlink="folHlink"/>
    </a:extraClrScheme>
    <a:extraClrScheme>
      <a:clrScheme name="Watermark 8">
        <a:dk1>
          <a:srgbClr val="1C1C1C"/>
        </a:dk1>
        <a:lt1>
          <a:srgbClr val="FFFFCC"/>
        </a:lt1>
        <a:dk2>
          <a:srgbClr val="390B20"/>
        </a:dk2>
        <a:lt2>
          <a:srgbClr val="FFFFCC"/>
        </a:lt2>
        <a:accent1>
          <a:srgbClr val="FF916F"/>
        </a:accent1>
        <a:accent2>
          <a:srgbClr val="561450"/>
        </a:accent2>
        <a:accent3>
          <a:srgbClr val="AEAAAB"/>
        </a:accent3>
        <a:accent4>
          <a:srgbClr val="DADAAE"/>
        </a:accent4>
        <a:accent5>
          <a:srgbClr val="FFC7BB"/>
        </a:accent5>
        <a:accent6>
          <a:srgbClr val="4D1148"/>
        </a:accent6>
        <a:hlink>
          <a:srgbClr val="637D95"/>
        </a:hlink>
        <a:folHlink>
          <a:srgbClr val="FFCC00"/>
        </a:folHlink>
      </a:clrScheme>
      <a:clrMap bg1="dk2" tx1="lt1" bg2="dk1" tx2="lt2" accent1="accent1" accent2="accent2" accent3="accent3" accent4="accent4" accent5="accent5" accent6="accent6" hlink="hlink" folHlink="folHlink"/>
    </a:extraClrScheme>
    <a:extraClrScheme>
      <a:clrScheme name="Watermark 9">
        <a:dk1>
          <a:srgbClr val="4C0000"/>
        </a:dk1>
        <a:lt1>
          <a:srgbClr val="FFFFFF"/>
        </a:lt1>
        <a:dk2>
          <a:srgbClr val="722104"/>
        </a:dk2>
        <a:lt2>
          <a:srgbClr val="FFFFFF"/>
        </a:lt2>
        <a:accent1>
          <a:srgbClr val="CC6600"/>
        </a:accent1>
        <a:accent2>
          <a:srgbClr val="8A2E00"/>
        </a:accent2>
        <a:accent3>
          <a:srgbClr val="BCABAA"/>
        </a:accent3>
        <a:accent4>
          <a:srgbClr val="DADADA"/>
        </a:accent4>
        <a:accent5>
          <a:srgbClr val="E2B8AA"/>
        </a:accent5>
        <a:accent6>
          <a:srgbClr val="7D2900"/>
        </a:accent6>
        <a:hlink>
          <a:srgbClr val="FFCC00"/>
        </a:hlink>
        <a:folHlink>
          <a:srgbClr val="FF9900"/>
        </a:folHlink>
      </a:clrScheme>
      <a:clrMap bg1="dk2" tx1="lt1" bg2="dk1" tx2="lt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865B9DCC8F7FB4A82840FBDE1FC983A" ma:contentTypeVersion="0" ma:contentTypeDescription="Create a new document." ma:contentTypeScope="" ma:versionID="ecd0916681f32cda70880b341f4a8911">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2D498799-B0FC-4B7A-8396-BFC34D805990}">
  <ds:schemaRefs>
    <ds:schemaRef ds:uri="http://purl.org/dc/terms/"/>
    <ds:schemaRef ds:uri="http://purl.org/dc/elements/1.1/"/>
    <ds:schemaRef ds:uri="http://schemas.openxmlformats.org/package/2006/metadata/core-properties"/>
    <ds:schemaRef ds:uri="http://purl.org/dc/dcmitype/"/>
    <ds:schemaRef ds:uri="http://schemas.microsoft.com/office/2006/documentManagement/typ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1685463B-57CE-4CE4-B1CF-FE44EB79BFA3}">
  <ds:schemaRefs>
    <ds:schemaRef ds:uri="http://schemas.microsoft.com/sharepoint/v3/contenttype/forms"/>
  </ds:schemaRefs>
</ds:datastoreItem>
</file>

<file path=customXml/itemProps3.xml><?xml version="1.0" encoding="utf-8"?>
<ds:datastoreItem xmlns:ds="http://schemas.openxmlformats.org/officeDocument/2006/customXml" ds:itemID="{1DEB1AF8-B785-4B22-89EC-168618F34A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otalTime>4613</TotalTime>
  <Words>4001</Words>
  <Application>Microsoft Macintosh PowerPoint</Application>
  <PresentationFormat>On-screen Show (16:9)</PresentationFormat>
  <Paragraphs>644</Paragraphs>
  <Slides>50</Slides>
  <Notes>29</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50</vt:i4>
      </vt:variant>
    </vt:vector>
  </HeadingPairs>
  <TitlesOfParts>
    <vt:vector size="75" baseType="lpstr">
      <vt:lpstr>Arial</vt:lpstr>
      <vt:lpstr>Calibri</vt:lpstr>
      <vt:lpstr>Calibri Light</vt:lpstr>
      <vt:lpstr>Cambria</vt:lpstr>
      <vt:lpstr>Consolas</vt:lpstr>
      <vt:lpstr>Courier New</vt:lpstr>
      <vt:lpstr>Lucida Grande</vt:lpstr>
      <vt:lpstr>Myriad Pro</vt:lpstr>
      <vt:lpstr>Segoe Pro Semibold</vt:lpstr>
      <vt:lpstr>Segoe UI</vt:lpstr>
      <vt:lpstr>Segoe UI Light</vt:lpstr>
      <vt:lpstr>Segoe UI Semibold</vt:lpstr>
      <vt:lpstr>Segoe UI Semilight</vt:lpstr>
      <vt:lpstr>Verdana</vt:lpstr>
      <vt:lpstr>Wingdings</vt:lpstr>
      <vt:lpstr>SQLintersection</vt:lpstr>
      <vt:lpstr>1_WHITE TEMPLATE</vt:lpstr>
      <vt:lpstr>WHITE TEMPLATE</vt:lpstr>
      <vt:lpstr>2_Azure PPT Template - 2018</vt:lpstr>
      <vt:lpstr>1_SQLintersection</vt:lpstr>
      <vt:lpstr>2_White Template</vt:lpstr>
      <vt:lpstr>3_White Template</vt:lpstr>
      <vt:lpstr>2_SQLintersection</vt:lpstr>
      <vt:lpstr>3_SQLintersection</vt:lpstr>
      <vt:lpstr>think-cell Slide</vt:lpstr>
      <vt:lpstr> SHIELDS UP:  SECURING YOUR AZURE DEPLOYMENTS</vt:lpstr>
      <vt:lpstr>PowerPoint Presentation</vt:lpstr>
      <vt:lpstr>PowerPoint Presentation</vt:lpstr>
      <vt:lpstr>PowerPoint Presentation</vt:lpstr>
      <vt:lpstr>Security Responsibilities Transfer to Cloud</vt:lpstr>
      <vt:lpstr>CIS Benchmark</vt:lpstr>
      <vt:lpstr>Security  Control Planes in Azure</vt:lpstr>
      <vt:lpstr>Identity</vt:lpstr>
      <vt:lpstr>Identity is the Control Plane of most concern</vt:lpstr>
      <vt:lpstr>One identity and access management</vt:lpstr>
      <vt:lpstr>PowerPoint Presentation</vt:lpstr>
      <vt:lpstr>Contoso Identity Logical Configuration</vt:lpstr>
      <vt:lpstr>Azure AD Objects</vt:lpstr>
      <vt:lpstr>RBAC in AKS</vt:lpstr>
      <vt:lpstr>Governance</vt:lpstr>
      <vt:lpstr>Azure Subscriptions</vt:lpstr>
      <vt:lpstr>Management Groups</vt:lpstr>
      <vt:lpstr>Azure Policy</vt:lpstr>
      <vt:lpstr>Azure Blueprints</vt:lpstr>
      <vt:lpstr>Tools</vt:lpstr>
      <vt:lpstr>Cloud Native Security</vt:lpstr>
      <vt:lpstr>Azure Security Center + Azure Defender  = Microsoft Defender for Cloud</vt:lpstr>
      <vt:lpstr>Microsoft Defender for Cloud: Continuously Assess</vt:lpstr>
      <vt:lpstr>Microsoft Defender for Cloud: Secure</vt:lpstr>
      <vt:lpstr>Azure Sentinel</vt:lpstr>
      <vt:lpstr>Azure Sentinel</vt:lpstr>
      <vt:lpstr>Key Vault Data Types</vt:lpstr>
      <vt:lpstr>Resource Configuration</vt:lpstr>
      <vt:lpstr>RBAC Scopes &amp; Inheritance</vt:lpstr>
      <vt:lpstr>Protect Data at Rest with Encryption </vt:lpstr>
      <vt:lpstr>Azure Storage Service Encryption</vt:lpstr>
      <vt:lpstr>Storage Threat Protection</vt:lpstr>
      <vt:lpstr>Storage &amp; Azure AD</vt:lpstr>
      <vt:lpstr>SQL PaaS Firewalls</vt:lpstr>
      <vt:lpstr>SQL Advanced Data Security</vt:lpstr>
      <vt:lpstr>AKS Security</vt:lpstr>
      <vt:lpstr>Azure Container Registry</vt:lpstr>
      <vt:lpstr>Networking</vt:lpstr>
      <vt:lpstr>Azure DDoS Protection Standard</vt:lpstr>
      <vt:lpstr>Azure Front Door</vt:lpstr>
      <vt:lpstr>Azure Web Application Firewall</vt:lpstr>
      <vt:lpstr>Azure Firewall</vt:lpstr>
      <vt:lpstr>NSG Rules</vt:lpstr>
      <vt:lpstr>Stateful Firewall Rules using NSGs</vt:lpstr>
      <vt:lpstr>Service Endpoints</vt:lpstr>
      <vt:lpstr>Azure Private Link Highly secure and private connectivity solution for Azure Platform</vt:lpstr>
      <vt:lpstr>What is Azure ExpressRoute?</vt:lpstr>
      <vt:lpstr>User defined rout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SHIELDS UP:  SECURING YOUR AZURE DEPLOYMENTS</dc:title>
  <dc:creator>Dan Patrick</dc:creator>
  <cp:lastModifiedBy>Dan Patrick</cp:lastModifiedBy>
  <cp:revision>21</cp:revision>
  <dcterms:created xsi:type="dcterms:W3CDTF">2019-11-21T04:17:51Z</dcterms:created>
  <dcterms:modified xsi:type="dcterms:W3CDTF">2021-12-08T21:58:12Z</dcterms:modified>
</cp:coreProperties>
</file>